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71" r:id="rId15"/>
    <p:sldId id="270" r:id="rId16"/>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008C"/>
    <a:srgbClr val="0C0288"/>
    <a:srgbClr val="35439B"/>
    <a:srgbClr val="1B91AD"/>
    <a:srgbClr val="188098"/>
    <a:srgbClr val="3020FC"/>
    <a:srgbClr val="1FA5C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7" d="100"/>
          <a:sy n="67" d="100"/>
        </p:scale>
        <p:origin x="840"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B7BF55F-5848-483C-BB2E-80D15D160B72}" type="datetimeFigureOut">
              <a:rPr lang="en-US" smtClean="0"/>
              <a:t>5/22/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09CA9FB-905F-4D75-BE07-C65151226A7D}" type="slidenum">
              <a:rPr lang="en-US" smtClean="0"/>
              <a:t>‹#›</a:t>
            </a:fld>
            <a:endParaRPr lang="en-US"/>
          </a:p>
        </p:txBody>
      </p:sp>
    </p:spTree>
    <p:extLst>
      <p:ext uri="{BB962C8B-B14F-4D97-AF65-F5344CB8AC3E}">
        <p14:creationId xmlns:p14="http://schemas.microsoft.com/office/powerpoint/2010/main" val="260481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1825625"/>
            <a:ext cx="10515600" cy="4351338"/>
          </a:xfrm>
          <a:prstGeom prst="rect">
            <a:avLst/>
          </a:prstGeo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B7BF55F-5848-483C-BB2E-80D15D160B72}" type="datetimeFigureOut">
              <a:rPr lang="en-US" smtClean="0"/>
              <a:t>5/22/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09CA9FB-905F-4D75-BE07-C65151226A7D}" type="slidenum">
              <a:rPr lang="en-US" smtClean="0"/>
              <a:t>‹#›</a:t>
            </a:fld>
            <a:endParaRPr lang="en-US"/>
          </a:p>
        </p:txBody>
      </p:sp>
    </p:spTree>
    <p:extLst>
      <p:ext uri="{BB962C8B-B14F-4D97-AF65-F5344CB8AC3E}">
        <p14:creationId xmlns:p14="http://schemas.microsoft.com/office/powerpoint/2010/main" val="13648514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B7BF55F-5848-483C-BB2E-80D15D160B72}" type="datetimeFigureOut">
              <a:rPr lang="en-US" smtClean="0"/>
              <a:t>5/22/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09CA9FB-905F-4D75-BE07-C65151226A7D}" type="slidenum">
              <a:rPr lang="en-US" smtClean="0"/>
              <a:t>‹#›</a:t>
            </a:fld>
            <a:endParaRPr lang="en-US"/>
          </a:p>
        </p:txBody>
      </p:sp>
    </p:spTree>
    <p:extLst>
      <p:ext uri="{BB962C8B-B14F-4D97-AF65-F5344CB8AC3E}">
        <p14:creationId xmlns:p14="http://schemas.microsoft.com/office/powerpoint/2010/main" val="12446665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B7BF55F-5848-483C-BB2E-80D15D160B72}" type="datetimeFigureOut">
              <a:rPr lang="en-US" smtClean="0"/>
              <a:t>5/22/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09CA9FB-905F-4D75-BE07-C65151226A7D}" type="slidenum">
              <a:rPr lang="en-US" smtClean="0"/>
              <a:t>‹#›</a:t>
            </a:fld>
            <a:endParaRPr lang="en-US"/>
          </a:p>
        </p:txBody>
      </p:sp>
    </p:spTree>
    <p:extLst>
      <p:ext uri="{BB962C8B-B14F-4D97-AF65-F5344CB8AC3E}">
        <p14:creationId xmlns:p14="http://schemas.microsoft.com/office/powerpoint/2010/main" val="34496052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B7BF55F-5848-483C-BB2E-80D15D160B72}" type="datetimeFigureOut">
              <a:rPr lang="en-US" smtClean="0"/>
              <a:t>5/22/2020</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09CA9FB-905F-4D75-BE07-C65151226A7D}" type="slidenum">
              <a:rPr lang="en-US" smtClean="0"/>
              <a:t>‹#›</a:t>
            </a:fld>
            <a:endParaRPr lang="en-US"/>
          </a:p>
        </p:txBody>
      </p:sp>
    </p:spTree>
    <p:extLst>
      <p:ext uri="{BB962C8B-B14F-4D97-AF65-F5344CB8AC3E}">
        <p14:creationId xmlns:p14="http://schemas.microsoft.com/office/powerpoint/2010/main" val="14688793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BB7BF55F-5848-483C-BB2E-80D15D160B72}" type="datetimeFigureOut">
              <a:rPr lang="en-US" smtClean="0"/>
              <a:t>5/22/2020</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809CA9FB-905F-4D75-BE07-C65151226A7D}" type="slidenum">
              <a:rPr lang="en-US" smtClean="0"/>
              <a:t>‹#›</a:t>
            </a:fld>
            <a:endParaRPr lang="en-US"/>
          </a:p>
        </p:txBody>
      </p:sp>
    </p:spTree>
    <p:extLst>
      <p:ext uri="{BB962C8B-B14F-4D97-AF65-F5344CB8AC3E}">
        <p14:creationId xmlns:p14="http://schemas.microsoft.com/office/powerpoint/2010/main" val="28141553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BB7BF55F-5848-483C-BB2E-80D15D160B72}" type="datetimeFigureOut">
              <a:rPr lang="en-US" smtClean="0"/>
              <a:t>5/22/2020</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809CA9FB-905F-4D75-BE07-C65151226A7D}" type="slidenum">
              <a:rPr lang="en-US" smtClean="0"/>
              <a:t>‹#›</a:t>
            </a:fld>
            <a:endParaRPr lang="en-US"/>
          </a:p>
        </p:txBody>
      </p:sp>
    </p:spTree>
    <p:extLst>
      <p:ext uri="{BB962C8B-B14F-4D97-AF65-F5344CB8AC3E}">
        <p14:creationId xmlns:p14="http://schemas.microsoft.com/office/powerpoint/2010/main" val="2067416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B7BF55F-5848-483C-BB2E-80D15D160B72}" type="datetimeFigureOut">
              <a:rPr lang="en-US" smtClean="0"/>
              <a:t>5/22/2020</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809CA9FB-905F-4D75-BE07-C65151226A7D}" type="slidenum">
              <a:rPr lang="en-US" smtClean="0"/>
              <a:t>‹#›</a:t>
            </a:fld>
            <a:endParaRPr lang="en-US"/>
          </a:p>
        </p:txBody>
      </p:sp>
    </p:spTree>
    <p:extLst>
      <p:ext uri="{BB962C8B-B14F-4D97-AF65-F5344CB8AC3E}">
        <p14:creationId xmlns:p14="http://schemas.microsoft.com/office/powerpoint/2010/main" val="111551008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BB7BF55F-5848-483C-BB2E-80D15D160B72}" type="datetimeFigureOut">
              <a:rPr lang="en-US" smtClean="0"/>
              <a:t>5/22/2020</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809CA9FB-905F-4D75-BE07-C65151226A7D}" type="slidenum">
              <a:rPr lang="en-US" smtClean="0"/>
              <a:t>‹#›</a:t>
            </a:fld>
            <a:endParaRPr lang="en-US"/>
          </a:p>
        </p:txBody>
      </p:sp>
    </p:spTree>
    <p:extLst>
      <p:ext uri="{BB962C8B-B14F-4D97-AF65-F5344CB8AC3E}">
        <p14:creationId xmlns:p14="http://schemas.microsoft.com/office/powerpoint/2010/main" val="196210378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BB7BF55F-5848-483C-BB2E-80D15D160B72}" type="datetimeFigureOut">
              <a:rPr lang="en-US" smtClean="0"/>
              <a:t>5/22/2020</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809CA9FB-905F-4D75-BE07-C65151226A7D}" type="slidenum">
              <a:rPr lang="en-US" smtClean="0"/>
              <a:t>‹#›</a:t>
            </a:fld>
            <a:endParaRPr lang="en-US"/>
          </a:p>
        </p:txBody>
      </p:sp>
    </p:spTree>
    <p:extLst>
      <p:ext uri="{BB962C8B-B14F-4D97-AF65-F5344CB8AC3E}">
        <p14:creationId xmlns:p14="http://schemas.microsoft.com/office/powerpoint/2010/main" val="28429701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BB7BF55F-5848-483C-BB2E-80D15D160B72}" type="datetimeFigureOut">
              <a:rPr lang="en-US" smtClean="0"/>
              <a:t>5/22/2020</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809CA9FB-905F-4D75-BE07-C65151226A7D}" type="slidenum">
              <a:rPr lang="en-US" smtClean="0"/>
              <a:t>‹#›</a:t>
            </a:fld>
            <a:endParaRPr lang="en-US"/>
          </a:p>
        </p:txBody>
      </p:sp>
    </p:spTree>
    <p:extLst>
      <p:ext uri="{BB962C8B-B14F-4D97-AF65-F5344CB8AC3E}">
        <p14:creationId xmlns:p14="http://schemas.microsoft.com/office/powerpoint/2010/main" val="27545514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4"/>
            </p:custDataLst>
            <p:extLst>
              <p:ext uri="{D42A27DB-BD31-4B8C-83A1-F6EECF244321}">
                <p14:modId xmlns:p14="http://schemas.microsoft.com/office/powerpoint/2010/main" val="3235307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3" name="think-cell Slide" r:id="rId16" imgW="421" imgH="420" progId="TCLayout.ActiveDocument.1">
                  <p:embed/>
                </p:oleObj>
              </mc:Choice>
              <mc:Fallback>
                <p:oleObj name="think-cell Slide" r:id="rId16" imgW="421" imgH="420"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9" name="Rectangle 8"/>
          <p:cNvSpPr/>
          <p:nvPr userDrawn="1"/>
        </p:nvSpPr>
        <p:spPr>
          <a:xfrm flipH="1">
            <a:off x="-23940" y="0"/>
            <a:ext cx="12215939" cy="6895402"/>
          </a:xfrm>
          <a:prstGeom prst="rect">
            <a:avLst/>
          </a:prstGeom>
          <a:solidFill>
            <a:srgbClr val="4F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Google Shape;384;p35"/>
          <p:cNvSpPr/>
          <p:nvPr userDrawn="1"/>
        </p:nvSpPr>
        <p:spPr>
          <a:xfrm rot="10800000">
            <a:off x="-1391366" y="-2974509"/>
            <a:ext cx="10149947" cy="11497569"/>
          </a:xfrm>
          <a:custGeom>
            <a:avLst/>
            <a:gdLst/>
            <a:ahLst/>
            <a:cxnLst/>
            <a:rect l="l" t="t" r="r" b="b"/>
            <a:pathLst>
              <a:path w="170947" h="209542" extrusionOk="0">
                <a:moveTo>
                  <a:pt x="149198" y="0"/>
                </a:moveTo>
                <a:cubicBezTo>
                  <a:pt x="149198" y="0"/>
                  <a:pt x="149198" y="1"/>
                  <a:pt x="149197" y="1"/>
                </a:cubicBezTo>
                <a:lnTo>
                  <a:pt x="149197" y="1"/>
                </a:lnTo>
                <a:cubicBezTo>
                  <a:pt x="149198" y="1"/>
                  <a:pt x="149198" y="0"/>
                  <a:pt x="149198" y="0"/>
                </a:cubicBezTo>
                <a:close/>
                <a:moveTo>
                  <a:pt x="149197" y="1"/>
                </a:moveTo>
                <a:cubicBezTo>
                  <a:pt x="148175" y="1652"/>
                  <a:pt x="137691" y="3022"/>
                  <a:pt x="135496" y="3707"/>
                </a:cubicBezTo>
                <a:cubicBezTo>
                  <a:pt x="130770" y="5200"/>
                  <a:pt x="126097" y="6886"/>
                  <a:pt x="121530" y="8792"/>
                </a:cubicBezTo>
                <a:cubicBezTo>
                  <a:pt x="112404" y="12604"/>
                  <a:pt x="103638" y="17304"/>
                  <a:pt x="95539" y="22987"/>
                </a:cubicBezTo>
                <a:cubicBezTo>
                  <a:pt x="70840" y="40343"/>
                  <a:pt x="57208" y="66360"/>
                  <a:pt x="50602" y="95284"/>
                </a:cubicBezTo>
                <a:cubicBezTo>
                  <a:pt x="47291" y="109751"/>
                  <a:pt x="43971" y="124507"/>
                  <a:pt x="34845" y="136585"/>
                </a:cubicBezTo>
                <a:cubicBezTo>
                  <a:pt x="26096" y="148162"/>
                  <a:pt x="13711" y="157059"/>
                  <a:pt x="0" y="161794"/>
                </a:cubicBezTo>
                <a:cubicBezTo>
                  <a:pt x="11612" y="189497"/>
                  <a:pt x="38244" y="207925"/>
                  <a:pt x="68249" y="209541"/>
                </a:cubicBezTo>
                <a:cubicBezTo>
                  <a:pt x="69496" y="200292"/>
                  <a:pt x="70787" y="190885"/>
                  <a:pt x="74687" y="182409"/>
                </a:cubicBezTo>
                <a:cubicBezTo>
                  <a:pt x="78543" y="174029"/>
                  <a:pt x="84797" y="166932"/>
                  <a:pt x="91815" y="160933"/>
                </a:cubicBezTo>
                <a:cubicBezTo>
                  <a:pt x="107336" y="147643"/>
                  <a:pt x="126457" y="139431"/>
                  <a:pt x="143717" y="128513"/>
                </a:cubicBezTo>
                <a:cubicBezTo>
                  <a:pt x="149224" y="125034"/>
                  <a:pt x="154609" y="121213"/>
                  <a:pt x="158869" y="116286"/>
                </a:cubicBezTo>
                <a:cubicBezTo>
                  <a:pt x="167793" y="105974"/>
                  <a:pt x="170946" y="91297"/>
                  <a:pt x="168294" y="77919"/>
                </a:cubicBezTo>
                <a:cubicBezTo>
                  <a:pt x="165553" y="64138"/>
                  <a:pt x="157288" y="52192"/>
                  <a:pt x="151508" y="39377"/>
                </a:cubicBezTo>
                <a:cubicBezTo>
                  <a:pt x="145720" y="26562"/>
                  <a:pt x="141803" y="11964"/>
                  <a:pt x="149197" y="1"/>
                </a:cubicBezTo>
                <a:close/>
              </a:path>
            </a:pathLst>
          </a:custGeom>
          <a:solidFill>
            <a:srgbClr val="0C0288">
              <a:alpha val="27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1" name="Google Shape;383;p35"/>
          <p:cNvSpPr/>
          <p:nvPr userDrawn="1"/>
        </p:nvSpPr>
        <p:spPr>
          <a:xfrm flipH="1">
            <a:off x="2279968" y="-2807223"/>
            <a:ext cx="12627532" cy="11030975"/>
          </a:xfrm>
          <a:custGeom>
            <a:avLst/>
            <a:gdLst/>
            <a:ahLst/>
            <a:cxnLst/>
            <a:rect l="l" t="t" r="r" b="b"/>
            <a:pathLst>
              <a:path w="177684" h="167962" extrusionOk="0">
                <a:moveTo>
                  <a:pt x="167268" y="0"/>
                </a:moveTo>
                <a:cubicBezTo>
                  <a:pt x="150845" y="0"/>
                  <a:pt x="134397" y="2432"/>
                  <a:pt x="119080" y="8267"/>
                </a:cubicBezTo>
                <a:cubicBezTo>
                  <a:pt x="104297" y="13924"/>
                  <a:pt x="91139" y="23138"/>
                  <a:pt x="80757" y="35084"/>
                </a:cubicBezTo>
                <a:cubicBezTo>
                  <a:pt x="69426" y="48145"/>
                  <a:pt x="63401" y="64675"/>
                  <a:pt x="52711" y="78228"/>
                </a:cubicBezTo>
                <a:cubicBezTo>
                  <a:pt x="42979" y="90578"/>
                  <a:pt x="29979" y="100328"/>
                  <a:pt x="14678" y="104456"/>
                </a:cubicBezTo>
                <a:cubicBezTo>
                  <a:pt x="13598" y="104749"/>
                  <a:pt x="3161" y="106845"/>
                  <a:pt x="577" y="106845"/>
                </a:cubicBezTo>
                <a:cubicBezTo>
                  <a:pt x="219" y="106845"/>
                  <a:pt x="11" y="106805"/>
                  <a:pt x="1" y="106714"/>
                </a:cubicBezTo>
                <a:lnTo>
                  <a:pt x="1" y="106714"/>
                </a:lnTo>
                <a:cubicBezTo>
                  <a:pt x="3128" y="134812"/>
                  <a:pt x="22276" y="158528"/>
                  <a:pt x="48925" y="167962"/>
                </a:cubicBezTo>
                <a:cubicBezTo>
                  <a:pt x="52509" y="159942"/>
                  <a:pt x="56172" y="151800"/>
                  <a:pt x="61951" y="145177"/>
                </a:cubicBezTo>
                <a:cubicBezTo>
                  <a:pt x="67661" y="138633"/>
                  <a:pt x="75188" y="133899"/>
                  <a:pt x="83111" y="130342"/>
                </a:cubicBezTo>
                <a:cubicBezTo>
                  <a:pt x="100652" y="122471"/>
                  <a:pt x="120099" y="120144"/>
                  <a:pt x="138588" y="114874"/>
                </a:cubicBezTo>
                <a:cubicBezTo>
                  <a:pt x="144482" y="113187"/>
                  <a:pt x="150358" y="111176"/>
                  <a:pt x="155514" y="107864"/>
                </a:cubicBezTo>
                <a:cubicBezTo>
                  <a:pt x="166309" y="100925"/>
                  <a:pt x="173064" y="88514"/>
                  <a:pt x="174214" y="75734"/>
                </a:cubicBezTo>
                <a:cubicBezTo>
                  <a:pt x="175400" y="62559"/>
                  <a:pt x="171122" y="49576"/>
                  <a:pt x="169304" y="36471"/>
                </a:cubicBezTo>
                <a:cubicBezTo>
                  <a:pt x="167486" y="23366"/>
                  <a:pt x="167829" y="9154"/>
                  <a:pt x="177684" y="318"/>
                </a:cubicBezTo>
                <a:cubicBezTo>
                  <a:pt x="174220" y="109"/>
                  <a:pt x="170744" y="0"/>
                  <a:pt x="167268" y="0"/>
                </a:cubicBezTo>
                <a:close/>
              </a:path>
            </a:pathLst>
          </a:custGeom>
          <a:solidFill>
            <a:srgbClr val="1B91AD">
              <a:alpha val="89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2" name="Google Shape;385;p35"/>
          <p:cNvSpPr/>
          <p:nvPr userDrawn="1"/>
        </p:nvSpPr>
        <p:spPr>
          <a:xfrm rot="10800000" flipH="1">
            <a:off x="1707859" y="1515141"/>
            <a:ext cx="12970057" cy="6745637"/>
          </a:xfrm>
          <a:custGeom>
            <a:avLst/>
            <a:gdLst/>
            <a:ahLst/>
            <a:cxnLst/>
            <a:rect l="l" t="t" r="r" b="b"/>
            <a:pathLst>
              <a:path w="198606" h="111774" extrusionOk="0">
                <a:moveTo>
                  <a:pt x="34042" y="0"/>
                </a:moveTo>
                <a:cubicBezTo>
                  <a:pt x="32003" y="0"/>
                  <a:pt x="25832" y="6399"/>
                  <a:pt x="24550" y="7604"/>
                </a:cubicBezTo>
                <a:cubicBezTo>
                  <a:pt x="21283" y="10669"/>
                  <a:pt x="18296" y="14034"/>
                  <a:pt x="15652" y="17652"/>
                </a:cubicBezTo>
                <a:cubicBezTo>
                  <a:pt x="10330" y="24890"/>
                  <a:pt x="6359" y="33032"/>
                  <a:pt x="3953" y="41693"/>
                </a:cubicBezTo>
                <a:cubicBezTo>
                  <a:pt x="0" y="55958"/>
                  <a:pt x="272" y="72286"/>
                  <a:pt x="6474" y="85892"/>
                </a:cubicBezTo>
                <a:cubicBezTo>
                  <a:pt x="15125" y="104861"/>
                  <a:pt x="35362" y="111773"/>
                  <a:pt x="56209" y="111773"/>
                </a:cubicBezTo>
                <a:cubicBezTo>
                  <a:pt x="71620" y="111773"/>
                  <a:pt x="87365" y="107996"/>
                  <a:pt x="99009" y="102519"/>
                </a:cubicBezTo>
                <a:cubicBezTo>
                  <a:pt x="109821" y="97434"/>
                  <a:pt x="119562" y="90073"/>
                  <a:pt x="130138" y="84329"/>
                </a:cubicBezTo>
                <a:cubicBezTo>
                  <a:pt x="144323" y="76631"/>
                  <a:pt x="161113" y="69719"/>
                  <a:pt x="177631" y="69719"/>
                </a:cubicBezTo>
                <a:cubicBezTo>
                  <a:pt x="184750" y="69719"/>
                  <a:pt x="191818" y="71003"/>
                  <a:pt x="198606" y="74061"/>
                </a:cubicBezTo>
                <a:cubicBezTo>
                  <a:pt x="196709" y="50582"/>
                  <a:pt x="195593" y="27499"/>
                  <a:pt x="193696" y="4011"/>
                </a:cubicBezTo>
                <a:cubicBezTo>
                  <a:pt x="187150" y="3523"/>
                  <a:pt x="180552" y="3326"/>
                  <a:pt x="173926" y="3326"/>
                </a:cubicBezTo>
                <a:cubicBezTo>
                  <a:pt x="153964" y="3326"/>
                  <a:pt x="133753" y="5113"/>
                  <a:pt x="114002" y="6102"/>
                </a:cubicBezTo>
                <a:cubicBezTo>
                  <a:pt x="107276" y="6439"/>
                  <a:pt x="100441" y="6638"/>
                  <a:pt x="93567" y="6638"/>
                </a:cubicBezTo>
                <a:cubicBezTo>
                  <a:pt x="73556" y="6638"/>
                  <a:pt x="53211" y="4947"/>
                  <a:pt x="34239" y="24"/>
                </a:cubicBezTo>
                <a:cubicBezTo>
                  <a:pt x="34178" y="8"/>
                  <a:pt x="34112" y="0"/>
                  <a:pt x="34042" y="0"/>
                </a:cubicBezTo>
                <a:close/>
              </a:path>
            </a:pathLst>
          </a:custGeom>
          <a:solidFill>
            <a:schemeClr val="bg1">
              <a:alpha val="23000"/>
            </a:schemeClr>
          </a:solidFill>
          <a:ln>
            <a:noFill/>
          </a:ln>
        </p:spPr>
        <p:txBody>
          <a:bodyPr spcFirstLastPara="1" wrap="square" lIns="91425" tIns="91425" rIns="91425" bIns="91425" anchor="ctr" anchorCtr="0">
            <a:noAutofit/>
          </a:bodyPr>
          <a:lstStyle/>
          <a:p>
            <a:pPr>
              <a:buClr>
                <a:srgbClr val="000000"/>
              </a:buClr>
              <a:buFont typeface="Arial"/>
              <a:buNone/>
            </a:pPr>
            <a:r>
              <a:rPr lang="en" sz="1400" kern="0">
                <a:solidFill>
                  <a:srgbClr val="000000"/>
                </a:solidFill>
                <a:latin typeface="Arial"/>
                <a:cs typeface="Arial"/>
                <a:sym typeface="Arial"/>
              </a:rPr>
              <a:t> </a:t>
            </a:r>
            <a:endParaRPr sz="1400" kern="0">
              <a:solidFill>
                <a:srgbClr val="000000"/>
              </a:solidFill>
              <a:latin typeface="Arial"/>
              <a:cs typeface="Arial"/>
              <a:sym typeface="Arial"/>
            </a:endParaRPr>
          </a:p>
        </p:txBody>
      </p:sp>
      <p:sp>
        <p:nvSpPr>
          <p:cNvPr id="13" name="Google Shape;386;p35"/>
          <p:cNvSpPr/>
          <p:nvPr userDrawn="1"/>
        </p:nvSpPr>
        <p:spPr>
          <a:xfrm rot="10800000" flipH="1">
            <a:off x="1891739" y="-248244"/>
            <a:ext cx="10321275" cy="3389321"/>
          </a:xfrm>
          <a:custGeom>
            <a:avLst/>
            <a:gdLst/>
            <a:ahLst/>
            <a:cxnLst/>
            <a:rect l="l" t="t" r="r" b="b"/>
            <a:pathLst>
              <a:path w="140117" h="46864" extrusionOk="0">
                <a:moveTo>
                  <a:pt x="98865" y="1"/>
                </a:moveTo>
                <a:cubicBezTo>
                  <a:pt x="82730" y="1"/>
                  <a:pt x="66831" y="5230"/>
                  <a:pt x="51876" y="11536"/>
                </a:cubicBezTo>
                <a:cubicBezTo>
                  <a:pt x="32491" y="19722"/>
                  <a:pt x="13431" y="30219"/>
                  <a:pt x="1" y="46424"/>
                </a:cubicBezTo>
                <a:cubicBezTo>
                  <a:pt x="37972" y="46424"/>
                  <a:pt x="75592" y="46864"/>
                  <a:pt x="113564" y="46864"/>
                </a:cubicBezTo>
                <a:cubicBezTo>
                  <a:pt x="122575" y="46855"/>
                  <a:pt x="130762" y="45388"/>
                  <a:pt x="139589" y="43596"/>
                </a:cubicBezTo>
                <a:cubicBezTo>
                  <a:pt x="140116" y="32423"/>
                  <a:pt x="138755" y="20346"/>
                  <a:pt x="131421" y="11905"/>
                </a:cubicBezTo>
                <a:cubicBezTo>
                  <a:pt x="124850" y="4333"/>
                  <a:pt x="114530" y="1022"/>
                  <a:pt x="104543" y="223"/>
                </a:cubicBezTo>
                <a:cubicBezTo>
                  <a:pt x="102648" y="73"/>
                  <a:pt x="100755" y="1"/>
                  <a:pt x="98865" y="1"/>
                </a:cubicBezTo>
                <a:close/>
              </a:path>
            </a:pathLst>
          </a:custGeom>
          <a:solidFill>
            <a:srgbClr val="4F008C">
              <a:alpha val="48040"/>
            </a:srgbClr>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 name="Rectangle 13"/>
          <p:cNvSpPr/>
          <p:nvPr userDrawn="1"/>
        </p:nvSpPr>
        <p:spPr>
          <a:xfrm>
            <a:off x="12186811" y="-264372"/>
            <a:ext cx="5848899" cy="876108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800100" y="-3848135"/>
            <a:ext cx="16018857" cy="384813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2342081" y="6870370"/>
            <a:ext cx="16018857" cy="269360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5872676" y="-552839"/>
            <a:ext cx="5848899" cy="876108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544293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8" Type="http://schemas.openxmlformats.org/officeDocument/2006/relationships/hyperlink" Target="https://onix-systems.com/blog/top-10-applications-of-ar-and-vr-in-business" TargetMode="External"/><Relationship Id="rId13" Type="http://schemas.openxmlformats.org/officeDocument/2006/relationships/hyperlink" Target="https://www.entrepreneur.com/article/337824" TargetMode="External"/><Relationship Id="rId18" Type="http://schemas.openxmlformats.org/officeDocument/2006/relationships/hyperlink" Target="https://me.pcmag.com/consumer/9919/ar-vs-vr-whats-the-difference" TargetMode="External"/><Relationship Id="rId3" Type="http://schemas.openxmlformats.org/officeDocument/2006/relationships/slideLayout" Target="../slideLayouts/slideLayout7.xml"/><Relationship Id="rId21" Type="http://schemas.openxmlformats.org/officeDocument/2006/relationships/hyperlink" Target="https://digiday.com/marketing/ikea-using-augmented-reality/" TargetMode="External"/><Relationship Id="rId7" Type="http://schemas.openxmlformats.org/officeDocument/2006/relationships/hyperlink" Target="https://www.zdnet.com/article/the-business-guide-to-ar-and-vr-everything-you-need-to-know/" TargetMode="External"/><Relationship Id="rId12" Type="http://schemas.openxmlformats.org/officeDocument/2006/relationships/hyperlink" Target="https://blogs.cisco.com/datacenter/internet-of-things-iot-data-continues-to-explode-exponentially-who-is-using-that-data-and-how" TargetMode="External"/><Relationship Id="rId17" Type="http://schemas.openxmlformats.org/officeDocument/2006/relationships/hyperlink" Target="https://www.fi.edu/difference-between-ar-vr-and-mr" TargetMode="External"/><Relationship Id="rId2" Type="http://schemas.openxmlformats.org/officeDocument/2006/relationships/tags" Target="../tags/tag17.xml"/><Relationship Id="rId16" Type="http://schemas.openxmlformats.org/officeDocument/2006/relationships/hyperlink" Target="https://reports.valuates.com/market-reports/ALLI-Auto-4H304/augmented-and-virtual-reality-market" TargetMode="External"/><Relationship Id="rId20" Type="http://schemas.openxmlformats.org/officeDocument/2006/relationships/hyperlink" Target="http://www.moonshotio.com/2018/06/07/ikea-place-augmented-reality-app-success/" TargetMode="External"/><Relationship Id="rId1" Type="http://schemas.openxmlformats.org/officeDocument/2006/relationships/vmlDrawing" Target="../drawings/vmlDrawing15.vml"/><Relationship Id="rId6" Type="http://schemas.openxmlformats.org/officeDocument/2006/relationships/image" Target="../media/image11.png"/><Relationship Id="rId11" Type="http://schemas.openxmlformats.org/officeDocument/2006/relationships/hyperlink" Target="https://readwrite.com/2019/02/06/6-ways-to-implement-ar-vr-into-your-business-today/" TargetMode="External"/><Relationship Id="rId5" Type="http://schemas.openxmlformats.org/officeDocument/2006/relationships/image" Target="../media/image1.emf"/><Relationship Id="rId15" Type="http://schemas.openxmlformats.org/officeDocument/2006/relationships/hyperlink" Target="https://www.statista.com/topics/2532/virtual-reality-vr/" TargetMode="External"/><Relationship Id="rId10" Type="http://schemas.openxmlformats.org/officeDocument/2006/relationships/hyperlink" Target="http://www.cs.unc.edu/~azuma/ARpresence.pdf" TargetMode="External"/><Relationship Id="rId19" Type="http://schemas.openxmlformats.org/officeDocument/2006/relationships/hyperlink" Target="https://www.marketsandmarkets.com/Market-Reports/reality-applications-market-458.html" TargetMode="External"/><Relationship Id="rId4" Type="http://schemas.openxmlformats.org/officeDocument/2006/relationships/oleObject" Target="../embeddings/oleObject15.bin"/><Relationship Id="rId9" Type="http://schemas.openxmlformats.org/officeDocument/2006/relationships/hyperlink" Target="https://mfth.journals.ekb.eg/article_71071_f85b10149d837864ad66bbf2b113b482.pdf" TargetMode="External"/><Relationship Id="rId14" Type="http://schemas.openxmlformats.org/officeDocument/2006/relationships/hyperlink" Target="https://www.prnewswire.com/news-releases/augmented-reality-and-virtual-reality-ar--vr-market-size-is-expected-to-reach-usd-571-42-billion-by-2025--valuates-reports-301004582.html" TargetMode="Externa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8.xml"/><Relationship Id="rId1" Type="http://schemas.openxmlformats.org/officeDocument/2006/relationships/vmlDrawing" Target="../drawings/vmlDrawing16.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7.xml"/><Relationship Id="rId7" Type="http://schemas.openxmlformats.org/officeDocument/2006/relationships/image" Target="../media/image6.pn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microsoft.com/office/2007/relationships/hdphoto" Target="../media/hdphoto2.wdp"/><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024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8"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TextBox 17">
            <a:extLst>
              <a:ext uri="{FF2B5EF4-FFF2-40B4-BE49-F238E27FC236}">
                <a16:creationId xmlns:a16="http://schemas.microsoft.com/office/drawing/2014/main" id="{3AF04C87-1218-4886-90A2-EC2F80D75277}"/>
              </a:ext>
            </a:extLst>
          </p:cNvPr>
          <p:cNvSpPr txBox="1"/>
          <p:nvPr/>
        </p:nvSpPr>
        <p:spPr>
          <a:xfrm>
            <a:off x="5115456" y="2951140"/>
            <a:ext cx="6443582" cy="615553"/>
          </a:xfrm>
          <a:prstGeom prst="rect">
            <a:avLst/>
          </a:prstGeom>
          <a:noFill/>
        </p:spPr>
        <p:txBody>
          <a:bodyPr wrap="square" lIns="0" rIns="0" rtlCol="0">
            <a:spAutoFit/>
          </a:bodyPr>
          <a:lstStyle/>
          <a:p>
            <a:pPr algn="r"/>
            <a:r>
              <a:rPr lang="ar-SA" sz="3400" dirty="0" smtClean="0">
                <a:solidFill>
                  <a:schemeClr val="bg1"/>
                </a:solidFill>
                <a:latin typeface="Tahoma" panose="020B0604030504040204" pitchFamily="34" charset="0"/>
                <a:ea typeface="Tahoma" panose="020B0604030504040204" pitchFamily="34" charset="0"/>
                <a:cs typeface="+mj-cs"/>
              </a:rPr>
              <a:t>حقيبة تدريبية:</a:t>
            </a:r>
            <a:endParaRPr lang="en-GB" sz="3400" dirty="0">
              <a:solidFill>
                <a:schemeClr val="bg1"/>
              </a:solidFill>
              <a:latin typeface="Tahoma" panose="020B0604030504040204" pitchFamily="34" charset="0"/>
              <a:ea typeface="Tahoma" panose="020B0604030504040204" pitchFamily="34" charset="0"/>
              <a:cs typeface="+mj-cs"/>
            </a:endParaRPr>
          </a:p>
        </p:txBody>
      </p:sp>
      <p:sp>
        <p:nvSpPr>
          <p:cNvPr id="19" name="TextBox 18">
            <a:extLst>
              <a:ext uri="{FF2B5EF4-FFF2-40B4-BE49-F238E27FC236}">
                <a16:creationId xmlns:a16="http://schemas.microsoft.com/office/drawing/2014/main" id="{3AF04C87-1218-4886-90A2-EC2F80D75277}"/>
              </a:ext>
            </a:extLst>
          </p:cNvPr>
          <p:cNvSpPr txBox="1"/>
          <p:nvPr/>
        </p:nvSpPr>
        <p:spPr>
          <a:xfrm>
            <a:off x="4871758" y="3538214"/>
            <a:ext cx="6687280" cy="769441"/>
          </a:xfrm>
          <a:prstGeom prst="rect">
            <a:avLst/>
          </a:prstGeom>
          <a:noFill/>
        </p:spPr>
        <p:txBody>
          <a:bodyPr wrap="square" lIns="0" rIns="0" rtlCol="0">
            <a:spAutoFit/>
          </a:bodyPr>
          <a:lstStyle/>
          <a:p>
            <a:pPr algn="r"/>
            <a:r>
              <a:rPr lang="ar-SA" sz="4400" b="1" dirty="0" smtClean="0">
                <a:solidFill>
                  <a:schemeClr val="bg1"/>
                </a:solidFill>
                <a:cs typeface="+mj-cs"/>
              </a:rPr>
              <a:t>الواقع </a:t>
            </a:r>
            <a:r>
              <a:rPr lang="ar-SA" sz="4400" b="1" dirty="0">
                <a:solidFill>
                  <a:schemeClr val="bg1"/>
                </a:solidFill>
              </a:rPr>
              <a:t>الافتراضي</a:t>
            </a:r>
            <a:r>
              <a:rPr lang="ar-SA" sz="4400" b="1" dirty="0" smtClean="0">
                <a:solidFill>
                  <a:schemeClr val="bg1"/>
                </a:solidFill>
                <a:cs typeface="+mj-cs"/>
              </a:rPr>
              <a:t> وَالواقع </a:t>
            </a:r>
            <a:r>
              <a:rPr lang="ar-SA" sz="4400" b="1" dirty="0" smtClean="0">
                <a:solidFill>
                  <a:schemeClr val="bg1"/>
                </a:solidFill>
              </a:rPr>
              <a:t>المعزز </a:t>
            </a:r>
            <a:endParaRPr lang="en-GB" sz="4400" b="1" dirty="0">
              <a:solidFill>
                <a:schemeClr val="bg1"/>
              </a:solidFill>
              <a:cs typeface="+mj-cs"/>
            </a:endParaRPr>
          </a:p>
        </p:txBody>
      </p:sp>
      <p:pic>
        <p:nvPicPr>
          <p:cNvPr id="23" name="Google Shape;104;p24"/>
          <p:cNvPicPr preferRelativeResize="0"/>
          <p:nvPr/>
        </p:nvPicPr>
        <p:blipFill rotWithShape="1">
          <a:blip r:embed="rId6">
            <a:alphaModFix/>
          </a:blip>
          <a:srcRect l="6664" t="4858" r="6220" b="5495"/>
          <a:stretch/>
        </p:blipFill>
        <p:spPr>
          <a:xfrm>
            <a:off x="276756" y="1071653"/>
            <a:ext cx="4972050" cy="5276658"/>
          </a:xfrm>
          <a:prstGeom prst="rect">
            <a:avLst/>
          </a:prstGeom>
          <a:noFill/>
          <a:ln>
            <a:noFill/>
          </a:ln>
        </p:spPr>
      </p:pic>
    </p:spTree>
    <p:extLst>
      <p:ext uri="{BB962C8B-B14F-4D97-AF65-F5344CB8AC3E}">
        <p14:creationId xmlns:p14="http://schemas.microsoft.com/office/powerpoint/2010/main" val="13715483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168112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8" name="think-cell Slide" r:id="rId4" imgW="421" imgH="420" progId="TCLayout.ActiveDocument.1">
                  <p:embed/>
                </p:oleObj>
              </mc:Choice>
              <mc:Fallback>
                <p:oleObj name="think-cell Slide" r:id="rId4" imgW="421" imgH="420" progId="TCLayout.ActiveDocument.1">
                  <p:embed/>
                  <p:pic>
                    <p:nvPicPr>
                      <p:cNvPr id="15" name="Object 1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a:off x="7159467" y="648752"/>
            <a:ext cx="4116833" cy="646331"/>
          </a:xfrm>
          <a:prstGeom prst="rect">
            <a:avLst/>
          </a:prstGeom>
        </p:spPr>
        <p:txBody>
          <a:bodyPr wrap="none">
            <a:spAutoFit/>
          </a:bodyPr>
          <a:lstStyle/>
          <a:p>
            <a:pPr algn="r" rtl="1">
              <a:spcBef>
                <a:spcPts val="0"/>
              </a:spcBef>
              <a:spcAft>
                <a:spcPts val="0"/>
              </a:spcAft>
            </a:pPr>
            <a:r>
              <a:rPr lang="ar-SA" sz="3600" b="1" dirty="0" smtClean="0">
                <a:solidFill>
                  <a:schemeClr val="bg1"/>
                </a:solidFill>
                <a:latin typeface="Arial" panose="020B0604020202020204" pitchFamily="34" charset="0"/>
                <a:cs typeface="+mj-cs"/>
              </a:rPr>
              <a:t>تبني التقنية لتحليل البيانات</a:t>
            </a:r>
            <a:endParaRPr lang="ar-SA" sz="3600" b="1" dirty="0" smtClean="0">
              <a:solidFill>
                <a:schemeClr val="bg1"/>
              </a:solidFill>
              <a:effectLst/>
              <a:cs typeface="+mj-cs"/>
            </a:endParaRPr>
          </a:p>
        </p:txBody>
      </p:sp>
      <p:sp>
        <p:nvSpPr>
          <p:cNvPr id="4" name="Rectangle 3"/>
          <p:cNvSpPr/>
          <p:nvPr/>
        </p:nvSpPr>
        <p:spPr>
          <a:xfrm>
            <a:off x="4876800" y="1887311"/>
            <a:ext cx="6145305" cy="2790508"/>
          </a:xfrm>
          <a:prstGeom prst="rect">
            <a:avLst/>
          </a:prstGeom>
        </p:spPr>
        <p:txBody>
          <a:bodyPr wrap="square">
            <a:spAutoFit/>
          </a:bodyPr>
          <a:lstStyle/>
          <a:p>
            <a:pPr algn="r" rtl="1">
              <a:spcBef>
                <a:spcPts val="0"/>
              </a:spcBef>
              <a:spcAft>
                <a:spcPts val="1600"/>
              </a:spcAft>
            </a:pPr>
            <a:r>
              <a:rPr lang="ar-SA" b="1" dirty="0" smtClean="0">
                <a:solidFill>
                  <a:schemeClr val="bg1"/>
                </a:solidFill>
                <a:latin typeface="Arial" panose="020B0604020202020204" pitchFamily="34" charset="0"/>
              </a:rPr>
              <a:t>قبل عصر انترنت الأشياء والأدوات التحليلية، كانت البيانات تتسق معًا في صفحة واحدة ويسهل عرضها عبر رسوم بيانية بسيطة. أما الآن مع عصر البيانات الضخمة، 5 </a:t>
            </a:r>
            <a:r>
              <a:rPr lang="ar-SA" b="1" dirty="0" err="1" smtClean="0">
                <a:solidFill>
                  <a:schemeClr val="bg1"/>
                </a:solidFill>
                <a:latin typeface="Arial" panose="020B0604020202020204" pitchFamily="34" charset="0"/>
              </a:rPr>
              <a:t>كوينتيليون</a:t>
            </a:r>
            <a:r>
              <a:rPr lang="ar-SA" b="1" dirty="0" smtClean="0">
                <a:solidFill>
                  <a:schemeClr val="bg1"/>
                </a:solidFill>
                <a:latin typeface="Arial" panose="020B0604020202020204" pitchFamily="34" charset="0"/>
              </a:rPr>
              <a:t> بايت من البيانات يتم إنتاجها كل يوم بسبب تقنية انترنت الأشياء، لكن 1% فقط منها هي ما يتم تحليله والاستفادة منه، ولهذا أصبحت مهمة قراءة البيانات تتطلب مختصًا لتطبيق أنماط ونماذج لاستخراج معلومات مفيدة من قواعد البيانات العملاقة.</a:t>
            </a:r>
          </a:p>
          <a:p>
            <a:pPr algn="r" rtl="1">
              <a:spcBef>
                <a:spcPts val="0"/>
              </a:spcBef>
              <a:spcAft>
                <a:spcPts val="1600"/>
              </a:spcAft>
            </a:pPr>
            <a:r>
              <a:rPr lang="ar-SA" b="1" dirty="0" smtClean="0">
                <a:solidFill>
                  <a:schemeClr val="bg1"/>
                </a:solidFill>
                <a:latin typeface="Arial" panose="020B0604020202020204" pitchFamily="34" charset="0"/>
              </a:rPr>
              <a:t>تقنية الواقع الافتراضي والواقع المعزز قد تأخذ تحليل البيانات من شكله ثنائي الأبعاد لمستوى ثلاثي الأبعاد يلائم حجم البيانات المستخرجة، كما أنها تسمح بالتفاعل معها بشكل أكبر ورؤية المتغيرات مباشرة.</a:t>
            </a:r>
            <a:endParaRPr lang="ar-SA" b="1" dirty="0">
              <a:solidFill>
                <a:schemeClr val="bg1"/>
              </a:solidFill>
              <a:latin typeface="Arial" panose="020B0604020202020204" pitchFamily="34" charset="0"/>
            </a:endParaRPr>
          </a:p>
        </p:txBody>
      </p:sp>
      <p:pic>
        <p:nvPicPr>
          <p:cNvPr id="243" name="Google Shape;254;p25"/>
          <p:cNvPicPr preferRelativeResize="0"/>
          <p:nvPr/>
        </p:nvPicPr>
        <p:blipFill rotWithShape="1">
          <a:blip r:embed="rId6">
            <a:alphaModFix/>
          </a:blip>
          <a:srcRect l="13539" t="1994" b="4345"/>
          <a:stretch/>
        </p:blipFill>
        <p:spPr>
          <a:xfrm>
            <a:off x="-350283" y="-48126"/>
            <a:ext cx="4633524" cy="7197275"/>
          </a:xfrm>
          <a:prstGeom prst="rect">
            <a:avLst/>
          </a:prstGeom>
          <a:noFill/>
          <a:ln>
            <a:noFill/>
          </a:ln>
        </p:spPr>
      </p:pic>
    </p:spTree>
    <p:extLst>
      <p:ext uri="{BB962C8B-B14F-4D97-AF65-F5344CB8AC3E}">
        <p14:creationId xmlns:p14="http://schemas.microsoft.com/office/powerpoint/2010/main" val="38942606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113151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2" name="think-cell Slide" r:id="rId4" imgW="421" imgH="420" progId="TCLayout.ActiveDocument.1">
                  <p:embed/>
                </p:oleObj>
              </mc:Choice>
              <mc:Fallback>
                <p:oleObj name="think-cell Slide" r:id="rId4" imgW="421" imgH="420" progId="TCLayout.ActiveDocument.1">
                  <p:embed/>
                  <p:pic>
                    <p:nvPicPr>
                      <p:cNvPr id="15" name="Object 1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a:off x="10041667" y="648752"/>
            <a:ext cx="1234633" cy="646331"/>
          </a:xfrm>
          <a:prstGeom prst="rect">
            <a:avLst/>
          </a:prstGeom>
        </p:spPr>
        <p:txBody>
          <a:bodyPr wrap="none">
            <a:spAutoFit/>
          </a:bodyPr>
          <a:lstStyle/>
          <a:p>
            <a:pPr algn="r" rtl="1">
              <a:spcBef>
                <a:spcPts val="0"/>
              </a:spcBef>
              <a:spcAft>
                <a:spcPts val="0"/>
              </a:spcAft>
            </a:pPr>
            <a:r>
              <a:rPr lang="ar-SA" sz="3600" b="1" dirty="0" smtClean="0">
                <a:solidFill>
                  <a:schemeClr val="bg1"/>
                </a:solidFill>
                <a:latin typeface="Arial" panose="020B0604020202020204" pitchFamily="34" charset="0"/>
                <a:cs typeface="+mj-cs"/>
              </a:rPr>
              <a:t>الأهمية</a:t>
            </a:r>
            <a:endParaRPr lang="ar-SA" sz="3600" b="1" dirty="0" smtClean="0">
              <a:solidFill>
                <a:schemeClr val="bg1"/>
              </a:solidFill>
              <a:effectLst/>
              <a:cs typeface="+mj-cs"/>
            </a:endParaRPr>
          </a:p>
        </p:txBody>
      </p:sp>
      <p:sp>
        <p:nvSpPr>
          <p:cNvPr id="4" name="Rectangle 3"/>
          <p:cNvSpPr/>
          <p:nvPr/>
        </p:nvSpPr>
        <p:spPr>
          <a:xfrm>
            <a:off x="3593432" y="1887311"/>
            <a:ext cx="7428673" cy="3960058"/>
          </a:xfrm>
          <a:prstGeom prst="rect">
            <a:avLst/>
          </a:prstGeom>
        </p:spPr>
        <p:txBody>
          <a:bodyPr wrap="square">
            <a:spAutoFit/>
          </a:bodyPr>
          <a:lstStyle/>
          <a:p>
            <a:pPr algn="r" rtl="1">
              <a:spcBef>
                <a:spcPts val="0"/>
              </a:spcBef>
              <a:spcAft>
                <a:spcPts val="1600"/>
              </a:spcAft>
            </a:pPr>
            <a:r>
              <a:rPr lang="ar-SA" b="1" dirty="0" smtClean="0">
                <a:solidFill>
                  <a:schemeClr val="bg1"/>
                </a:solidFill>
                <a:latin typeface="Arial" panose="020B0604020202020204" pitchFamily="34" charset="0"/>
              </a:rPr>
              <a:t>تدريب بلا مخاطر:</a:t>
            </a:r>
          </a:p>
          <a:p>
            <a:pPr algn="r" rtl="1">
              <a:spcBef>
                <a:spcPts val="0"/>
              </a:spcBef>
              <a:spcAft>
                <a:spcPts val="1600"/>
              </a:spcAft>
            </a:pPr>
            <a:r>
              <a:rPr lang="ar-SA" dirty="0" smtClean="0">
                <a:solidFill>
                  <a:schemeClr val="bg1"/>
                </a:solidFill>
                <a:latin typeface="Arial" panose="020B0604020202020204" pitchFamily="34" charset="0"/>
              </a:rPr>
              <a:t>تزود تقنية الواقع الافتراضي والواقع المعزز بحلول ذات تكلفة أقل ومستوى أمان أعلى لأغراض التدريب وتطوير المهارات، حيث تقوم باستنساخ المواقف الحقيقية باستخدام التقنيات. على سبيل المثال، من المكلف استخدام طائرة حقيقية لتدريب طيار في الطيران المدني أو العسكري. وبالمثل، مشاركة أشخاص في تدريب طلاب الطب والتمريض يعتبر غير أخلاقي وضار.</a:t>
            </a:r>
          </a:p>
          <a:p>
            <a:pPr algn="r" rtl="1">
              <a:spcBef>
                <a:spcPts val="0"/>
              </a:spcBef>
              <a:spcAft>
                <a:spcPts val="1600"/>
              </a:spcAft>
            </a:pPr>
            <a:r>
              <a:rPr lang="ar-SA" b="1" dirty="0" smtClean="0">
                <a:solidFill>
                  <a:schemeClr val="bg1"/>
                </a:solidFill>
                <a:latin typeface="Arial" panose="020B0604020202020204" pitchFamily="34" charset="0"/>
              </a:rPr>
              <a:t>تجارب عملاء مميزة وتميز تنافسي:</a:t>
            </a:r>
          </a:p>
          <a:p>
            <a:pPr algn="r" rtl="1">
              <a:spcBef>
                <a:spcPts val="0"/>
              </a:spcBef>
              <a:spcAft>
                <a:spcPts val="1600"/>
              </a:spcAft>
            </a:pPr>
            <a:r>
              <a:rPr lang="ar-SA" dirty="0" smtClean="0">
                <a:solidFill>
                  <a:schemeClr val="bg1"/>
                </a:solidFill>
                <a:latin typeface="Arial" panose="020B0604020202020204" pitchFamily="34" charset="0"/>
              </a:rPr>
              <a:t>العملاء بشكل عام يفضلون تجربة الأشياء الجديدة والمبتكرة، نلاحظ ذلك في تطبيق سناب تشاب حين قام بتقديم تقنية الواقع المعزز من ضمن خيارات التصوير سبب ذلك زيادة في عدد المستخدمين. أيضًا لعبة بوكيمون قو اكتسبت ما يزيد عن 28 مليون مستخدم فقط في أول شهر منذ انطلاقة اللعبة. </a:t>
            </a:r>
          </a:p>
          <a:p>
            <a:pPr algn="r" rtl="1">
              <a:spcBef>
                <a:spcPts val="0"/>
              </a:spcBef>
              <a:spcAft>
                <a:spcPts val="1600"/>
              </a:spcAft>
            </a:pPr>
            <a:r>
              <a:rPr lang="ar-SA" dirty="0" smtClean="0">
                <a:solidFill>
                  <a:schemeClr val="bg1"/>
                </a:solidFill>
                <a:latin typeface="Arial" panose="020B0604020202020204" pitchFamily="34" charset="0"/>
              </a:rPr>
              <a:t>يقر 72% من الأشخاص حسب احصائية أجرتها </a:t>
            </a:r>
            <a:r>
              <a:rPr lang="ar-SA" dirty="0" err="1" smtClean="0">
                <a:solidFill>
                  <a:schemeClr val="bg1"/>
                </a:solidFill>
                <a:latin typeface="Arial" panose="020B0604020202020204" pitchFamily="34" charset="0"/>
              </a:rPr>
              <a:t>انتربرنور</a:t>
            </a:r>
            <a:r>
              <a:rPr lang="ar-SA" dirty="0" smtClean="0">
                <a:solidFill>
                  <a:schemeClr val="bg1"/>
                </a:solidFill>
                <a:latin typeface="Arial" panose="020B0604020202020204" pitchFamily="34" charset="0"/>
              </a:rPr>
              <a:t> الهند بأنهم ينتهون بشراء منتج ما فقط بسبب التجربة المميزة التي حظوا بها.</a:t>
            </a:r>
          </a:p>
        </p:txBody>
      </p:sp>
      <p:pic>
        <p:nvPicPr>
          <p:cNvPr id="29" name="Google Shape;1277;p40"/>
          <p:cNvPicPr preferRelativeResize="0"/>
          <p:nvPr/>
        </p:nvPicPr>
        <p:blipFill rotWithShape="1">
          <a:blip r:embed="rId6">
            <a:alphaModFix/>
          </a:blip>
          <a:srcRect l="38900" t="-2030" r="25895" b="2030"/>
          <a:stretch/>
        </p:blipFill>
        <p:spPr>
          <a:xfrm>
            <a:off x="265910" y="1279041"/>
            <a:ext cx="3327522" cy="5153843"/>
          </a:xfrm>
          <a:prstGeom prst="rect">
            <a:avLst/>
          </a:prstGeom>
          <a:noFill/>
          <a:ln>
            <a:noFill/>
          </a:ln>
        </p:spPr>
      </p:pic>
    </p:spTree>
    <p:extLst>
      <p:ext uri="{BB962C8B-B14F-4D97-AF65-F5344CB8AC3E}">
        <p14:creationId xmlns:p14="http://schemas.microsoft.com/office/powerpoint/2010/main" val="164548936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113151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5" name="think-cell Slide" r:id="rId4" imgW="421" imgH="420" progId="TCLayout.ActiveDocument.1">
                  <p:embed/>
                </p:oleObj>
              </mc:Choice>
              <mc:Fallback>
                <p:oleObj name="think-cell Slide" r:id="rId4" imgW="421" imgH="420" progId="TCLayout.ActiveDocument.1">
                  <p:embed/>
                  <p:pic>
                    <p:nvPicPr>
                      <p:cNvPr id="15" name="Object 1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a:off x="8970861" y="648752"/>
            <a:ext cx="2305439" cy="646331"/>
          </a:xfrm>
          <a:prstGeom prst="rect">
            <a:avLst/>
          </a:prstGeom>
        </p:spPr>
        <p:txBody>
          <a:bodyPr wrap="none">
            <a:spAutoFit/>
          </a:bodyPr>
          <a:lstStyle/>
          <a:p>
            <a:pPr algn="r" rtl="1">
              <a:spcBef>
                <a:spcPts val="0"/>
              </a:spcBef>
              <a:spcAft>
                <a:spcPts val="0"/>
              </a:spcAft>
            </a:pPr>
            <a:r>
              <a:rPr lang="ar-SA" sz="3600" b="1" dirty="0" smtClean="0">
                <a:solidFill>
                  <a:schemeClr val="bg1"/>
                </a:solidFill>
                <a:latin typeface="Arial" panose="020B0604020202020204" pitchFamily="34" charset="0"/>
                <a:cs typeface="+mj-cs"/>
              </a:rPr>
              <a:t>مستقبل التقنية</a:t>
            </a:r>
            <a:endParaRPr lang="ar-SA" sz="3600" b="1" dirty="0" smtClean="0">
              <a:solidFill>
                <a:schemeClr val="bg1"/>
              </a:solidFill>
              <a:effectLst/>
              <a:cs typeface="+mj-cs"/>
            </a:endParaRPr>
          </a:p>
        </p:txBody>
      </p:sp>
      <p:sp>
        <p:nvSpPr>
          <p:cNvPr id="4" name="Rectangle 3"/>
          <p:cNvSpPr/>
          <p:nvPr/>
        </p:nvSpPr>
        <p:spPr>
          <a:xfrm>
            <a:off x="1175420" y="1887311"/>
            <a:ext cx="9846686" cy="923330"/>
          </a:xfrm>
          <a:prstGeom prst="rect">
            <a:avLst/>
          </a:prstGeom>
        </p:spPr>
        <p:txBody>
          <a:bodyPr wrap="square">
            <a:spAutoFit/>
          </a:bodyPr>
          <a:lstStyle/>
          <a:p>
            <a:pPr algn="r" rtl="1">
              <a:spcBef>
                <a:spcPts val="0"/>
              </a:spcBef>
              <a:spcAft>
                <a:spcPts val="1600"/>
              </a:spcAft>
            </a:pPr>
            <a:r>
              <a:rPr lang="ar-SA" b="1" dirty="0" smtClean="0">
                <a:solidFill>
                  <a:schemeClr val="bg1"/>
                </a:solidFill>
                <a:latin typeface="Arial" panose="020B0604020202020204" pitchFamily="34" charset="0"/>
              </a:rPr>
              <a:t>ألعاب الواقع الافتراضي هي الأعلى رواجًا واستهلاكًا بين تطبيقات تقنية الواقع الافتراضي،  بحلول عام 2023 من المتوقع أن يبلغ حجم المصروفات على الألعاب والفيديو لوحدها ما يقارب ال21 مليار دولار. وفي حال تحسين كفاءة التقنية، قد ينمو عدد المستخدمين بحلول عام 2023 إلى ثلاث أضعاف العدد الحالي.</a:t>
            </a:r>
            <a:endParaRPr lang="ar-SA" dirty="0" smtClean="0">
              <a:solidFill>
                <a:schemeClr val="bg1"/>
              </a:solidFill>
              <a:latin typeface="Arial" panose="020B0604020202020204" pitchFamily="34" charset="0"/>
            </a:endParaRPr>
          </a:p>
        </p:txBody>
      </p:sp>
      <p:grpSp>
        <p:nvGrpSpPr>
          <p:cNvPr id="6" name="Google Shape;3346;p45"/>
          <p:cNvGrpSpPr/>
          <p:nvPr/>
        </p:nvGrpSpPr>
        <p:grpSpPr>
          <a:xfrm>
            <a:off x="978568" y="2679032"/>
            <a:ext cx="5293892" cy="4000560"/>
            <a:chOff x="2836550" y="918325"/>
            <a:chExt cx="2094425" cy="1560700"/>
          </a:xfrm>
        </p:grpSpPr>
        <p:sp>
          <p:nvSpPr>
            <p:cNvPr id="7" name="Google Shape;3347;p45"/>
            <p:cNvSpPr/>
            <p:nvPr/>
          </p:nvSpPr>
          <p:spPr>
            <a:xfrm>
              <a:off x="2836550" y="2289800"/>
              <a:ext cx="2094425" cy="1175"/>
            </a:xfrm>
            <a:custGeom>
              <a:avLst/>
              <a:gdLst/>
              <a:ahLst/>
              <a:cxnLst/>
              <a:rect l="l" t="t" r="r" b="b"/>
              <a:pathLst>
                <a:path w="83777" h="47" extrusionOk="0">
                  <a:moveTo>
                    <a:pt x="1" y="1"/>
                  </a:moveTo>
                  <a:lnTo>
                    <a:pt x="1" y="47"/>
                  </a:lnTo>
                  <a:lnTo>
                    <a:pt x="83777" y="47"/>
                  </a:lnTo>
                  <a:lnTo>
                    <a:pt x="83777" y="1"/>
                  </a:lnTo>
                  <a:close/>
                </a:path>
              </a:pathLst>
            </a:custGeom>
            <a:solidFill>
              <a:srgbClr val="EBEBE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8" name="Google Shape;3348;p45"/>
            <p:cNvSpPr/>
            <p:nvPr/>
          </p:nvSpPr>
          <p:spPr>
            <a:xfrm>
              <a:off x="4582275" y="2357250"/>
              <a:ext cx="138800" cy="1175"/>
            </a:xfrm>
            <a:custGeom>
              <a:avLst/>
              <a:gdLst/>
              <a:ahLst/>
              <a:cxnLst/>
              <a:rect l="l" t="t" r="r" b="b"/>
              <a:pathLst>
                <a:path w="5552" h="47" extrusionOk="0">
                  <a:moveTo>
                    <a:pt x="0" y="0"/>
                  </a:moveTo>
                  <a:lnTo>
                    <a:pt x="0" y="46"/>
                  </a:lnTo>
                  <a:lnTo>
                    <a:pt x="5552" y="46"/>
                  </a:lnTo>
                  <a:lnTo>
                    <a:pt x="5552" y="0"/>
                  </a:lnTo>
                  <a:close/>
                </a:path>
              </a:pathLst>
            </a:custGeom>
            <a:solidFill>
              <a:srgbClr val="EBEBE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9" name="Google Shape;3349;p45"/>
            <p:cNvSpPr/>
            <p:nvPr/>
          </p:nvSpPr>
          <p:spPr>
            <a:xfrm>
              <a:off x="4187550" y="2368750"/>
              <a:ext cx="36400" cy="950"/>
            </a:xfrm>
            <a:custGeom>
              <a:avLst/>
              <a:gdLst/>
              <a:ahLst/>
              <a:cxnLst/>
              <a:rect l="l" t="t" r="r" b="b"/>
              <a:pathLst>
                <a:path w="1456" h="38" extrusionOk="0">
                  <a:moveTo>
                    <a:pt x="1" y="0"/>
                  </a:moveTo>
                  <a:lnTo>
                    <a:pt x="1" y="37"/>
                  </a:lnTo>
                  <a:lnTo>
                    <a:pt x="1455" y="37"/>
                  </a:lnTo>
                  <a:lnTo>
                    <a:pt x="1455" y="0"/>
                  </a:lnTo>
                  <a:close/>
                </a:path>
              </a:pathLst>
            </a:custGeom>
            <a:solidFill>
              <a:srgbClr val="EBEBE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0" name="Google Shape;3350;p45"/>
            <p:cNvSpPr/>
            <p:nvPr/>
          </p:nvSpPr>
          <p:spPr>
            <a:xfrm>
              <a:off x="4497575" y="2318350"/>
              <a:ext cx="80575" cy="1175"/>
            </a:xfrm>
            <a:custGeom>
              <a:avLst/>
              <a:gdLst/>
              <a:ahLst/>
              <a:cxnLst/>
              <a:rect l="l" t="t" r="r" b="b"/>
              <a:pathLst>
                <a:path w="3223" h="47" extrusionOk="0">
                  <a:moveTo>
                    <a:pt x="0" y="0"/>
                  </a:moveTo>
                  <a:lnTo>
                    <a:pt x="0" y="46"/>
                  </a:lnTo>
                  <a:lnTo>
                    <a:pt x="3223" y="46"/>
                  </a:lnTo>
                  <a:lnTo>
                    <a:pt x="3223" y="0"/>
                  </a:lnTo>
                  <a:close/>
                </a:path>
              </a:pathLst>
            </a:custGeom>
            <a:solidFill>
              <a:srgbClr val="EBEBE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 name="Google Shape;3351;p45"/>
            <p:cNvSpPr/>
            <p:nvPr/>
          </p:nvSpPr>
          <p:spPr>
            <a:xfrm>
              <a:off x="3056350" y="2325475"/>
              <a:ext cx="180925" cy="950"/>
            </a:xfrm>
            <a:custGeom>
              <a:avLst/>
              <a:gdLst/>
              <a:ahLst/>
              <a:cxnLst/>
              <a:rect l="l" t="t" r="r" b="b"/>
              <a:pathLst>
                <a:path w="7237" h="38" extrusionOk="0">
                  <a:moveTo>
                    <a:pt x="0" y="1"/>
                  </a:moveTo>
                  <a:lnTo>
                    <a:pt x="0" y="37"/>
                  </a:lnTo>
                  <a:lnTo>
                    <a:pt x="7236" y="37"/>
                  </a:lnTo>
                  <a:lnTo>
                    <a:pt x="7236" y="1"/>
                  </a:lnTo>
                  <a:close/>
                </a:path>
              </a:pathLst>
            </a:custGeom>
            <a:solidFill>
              <a:srgbClr val="EBEBE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 name="Google Shape;3352;p45"/>
            <p:cNvSpPr/>
            <p:nvPr/>
          </p:nvSpPr>
          <p:spPr>
            <a:xfrm>
              <a:off x="3274525" y="2325475"/>
              <a:ext cx="26500" cy="950"/>
            </a:xfrm>
            <a:custGeom>
              <a:avLst/>
              <a:gdLst/>
              <a:ahLst/>
              <a:cxnLst/>
              <a:rect l="l" t="t" r="r" b="b"/>
              <a:pathLst>
                <a:path w="1060" h="38" extrusionOk="0">
                  <a:moveTo>
                    <a:pt x="1" y="1"/>
                  </a:moveTo>
                  <a:lnTo>
                    <a:pt x="1" y="37"/>
                  </a:lnTo>
                  <a:lnTo>
                    <a:pt x="1060" y="37"/>
                  </a:lnTo>
                  <a:lnTo>
                    <a:pt x="1060" y="1"/>
                  </a:lnTo>
                  <a:close/>
                </a:path>
              </a:pathLst>
            </a:custGeom>
            <a:solidFill>
              <a:srgbClr val="EBEBE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 name="Google Shape;3353;p45"/>
            <p:cNvSpPr/>
            <p:nvPr/>
          </p:nvSpPr>
          <p:spPr>
            <a:xfrm>
              <a:off x="3387300" y="2343200"/>
              <a:ext cx="392225" cy="950"/>
            </a:xfrm>
            <a:custGeom>
              <a:avLst/>
              <a:gdLst/>
              <a:ahLst/>
              <a:cxnLst/>
              <a:rect l="l" t="t" r="r" b="b"/>
              <a:pathLst>
                <a:path w="15689" h="38" extrusionOk="0">
                  <a:moveTo>
                    <a:pt x="1" y="0"/>
                  </a:moveTo>
                  <a:lnTo>
                    <a:pt x="1" y="37"/>
                  </a:lnTo>
                  <a:lnTo>
                    <a:pt x="15688" y="37"/>
                  </a:lnTo>
                  <a:lnTo>
                    <a:pt x="15688" y="0"/>
                  </a:lnTo>
                  <a:close/>
                </a:path>
              </a:pathLst>
            </a:custGeom>
            <a:solidFill>
              <a:srgbClr val="EBEBE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 name="Google Shape;3354;p45"/>
            <p:cNvSpPr/>
            <p:nvPr/>
          </p:nvSpPr>
          <p:spPr>
            <a:xfrm>
              <a:off x="2996500" y="918325"/>
              <a:ext cx="856675" cy="1184850"/>
            </a:xfrm>
            <a:custGeom>
              <a:avLst/>
              <a:gdLst/>
              <a:ahLst/>
              <a:cxnLst/>
              <a:rect l="l" t="t" r="r" b="b"/>
              <a:pathLst>
                <a:path w="34267" h="47394" extrusionOk="0">
                  <a:moveTo>
                    <a:pt x="33309" y="46"/>
                  </a:moveTo>
                  <a:cubicBezTo>
                    <a:pt x="33815" y="46"/>
                    <a:pt x="34220" y="451"/>
                    <a:pt x="34229" y="958"/>
                  </a:cubicBezTo>
                  <a:lnTo>
                    <a:pt x="34229" y="46436"/>
                  </a:lnTo>
                  <a:cubicBezTo>
                    <a:pt x="34220" y="46933"/>
                    <a:pt x="33815" y="47347"/>
                    <a:pt x="33309" y="47347"/>
                  </a:cubicBezTo>
                  <a:lnTo>
                    <a:pt x="958" y="47347"/>
                  </a:lnTo>
                  <a:cubicBezTo>
                    <a:pt x="452" y="47347"/>
                    <a:pt x="47" y="46933"/>
                    <a:pt x="47" y="46436"/>
                  </a:cubicBezTo>
                  <a:lnTo>
                    <a:pt x="47" y="958"/>
                  </a:lnTo>
                  <a:cubicBezTo>
                    <a:pt x="47" y="451"/>
                    <a:pt x="452" y="46"/>
                    <a:pt x="958" y="46"/>
                  </a:cubicBezTo>
                  <a:close/>
                  <a:moveTo>
                    <a:pt x="958" y="0"/>
                  </a:moveTo>
                  <a:cubicBezTo>
                    <a:pt x="434" y="0"/>
                    <a:pt x="1" y="433"/>
                    <a:pt x="1" y="958"/>
                  </a:cubicBezTo>
                  <a:lnTo>
                    <a:pt x="1" y="46436"/>
                  </a:lnTo>
                  <a:cubicBezTo>
                    <a:pt x="1" y="46961"/>
                    <a:pt x="434" y="47393"/>
                    <a:pt x="958" y="47393"/>
                  </a:cubicBezTo>
                  <a:lnTo>
                    <a:pt x="33309" y="47393"/>
                  </a:lnTo>
                  <a:cubicBezTo>
                    <a:pt x="33843" y="47393"/>
                    <a:pt x="34266" y="46961"/>
                    <a:pt x="34266" y="46436"/>
                  </a:cubicBezTo>
                  <a:lnTo>
                    <a:pt x="34266" y="958"/>
                  </a:lnTo>
                  <a:cubicBezTo>
                    <a:pt x="34266" y="433"/>
                    <a:pt x="33843" y="0"/>
                    <a:pt x="33309" y="0"/>
                  </a:cubicBezTo>
                  <a:close/>
                </a:path>
              </a:pathLst>
            </a:custGeom>
            <a:solidFill>
              <a:srgbClr val="EBEBE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 name="Google Shape;3355;p45"/>
            <p:cNvSpPr/>
            <p:nvPr/>
          </p:nvSpPr>
          <p:spPr>
            <a:xfrm>
              <a:off x="3902400" y="918325"/>
              <a:ext cx="856650" cy="1184850"/>
            </a:xfrm>
            <a:custGeom>
              <a:avLst/>
              <a:gdLst/>
              <a:ahLst/>
              <a:cxnLst/>
              <a:rect l="l" t="t" r="r" b="b"/>
              <a:pathLst>
                <a:path w="34266" h="47394" extrusionOk="0">
                  <a:moveTo>
                    <a:pt x="33308" y="46"/>
                  </a:moveTo>
                  <a:cubicBezTo>
                    <a:pt x="33815" y="46"/>
                    <a:pt x="34220" y="451"/>
                    <a:pt x="34229" y="958"/>
                  </a:cubicBezTo>
                  <a:lnTo>
                    <a:pt x="34229" y="46436"/>
                  </a:lnTo>
                  <a:cubicBezTo>
                    <a:pt x="34220" y="46933"/>
                    <a:pt x="33815" y="47347"/>
                    <a:pt x="33308" y="47347"/>
                  </a:cubicBezTo>
                  <a:lnTo>
                    <a:pt x="958" y="47347"/>
                  </a:lnTo>
                  <a:cubicBezTo>
                    <a:pt x="451" y="47347"/>
                    <a:pt x="46" y="46933"/>
                    <a:pt x="46" y="46436"/>
                  </a:cubicBezTo>
                  <a:lnTo>
                    <a:pt x="46" y="958"/>
                  </a:lnTo>
                  <a:cubicBezTo>
                    <a:pt x="46" y="451"/>
                    <a:pt x="451" y="46"/>
                    <a:pt x="958" y="46"/>
                  </a:cubicBezTo>
                  <a:close/>
                  <a:moveTo>
                    <a:pt x="958" y="0"/>
                  </a:moveTo>
                  <a:cubicBezTo>
                    <a:pt x="433" y="0"/>
                    <a:pt x="0" y="433"/>
                    <a:pt x="0" y="958"/>
                  </a:cubicBezTo>
                  <a:lnTo>
                    <a:pt x="0" y="46436"/>
                  </a:lnTo>
                  <a:cubicBezTo>
                    <a:pt x="0" y="46961"/>
                    <a:pt x="433" y="47393"/>
                    <a:pt x="958" y="47393"/>
                  </a:cubicBezTo>
                  <a:lnTo>
                    <a:pt x="33317" y="47393"/>
                  </a:lnTo>
                  <a:cubicBezTo>
                    <a:pt x="33842" y="47384"/>
                    <a:pt x="34266" y="46961"/>
                    <a:pt x="34266" y="46436"/>
                  </a:cubicBezTo>
                  <a:lnTo>
                    <a:pt x="34266" y="958"/>
                  </a:lnTo>
                  <a:cubicBezTo>
                    <a:pt x="34266" y="433"/>
                    <a:pt x="33842" y="0"/>
                    <a:pt x="33308" y="0"/>
                  </a:cubicBezTo>
                  <a:close/>
                </a:path>
              </a:pathLst>
            </a:custGeom>
            <a:solidFill>
              <a:srgbClr val="EBEBE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 name="Google Shape;3356;p45"/>
            <p:cNvSpPr/>
            <p:nvPr/>
          </p:nvSpPr>
          <p:spPr>
            <a:xfrm>
              <a:off x="3594225" y="1717175"/>
              <a:ext cx="96225" cy="572650"/>
            </a:xfrm>
            <a:custGeom>
              <a:avLst/>
              <a:gdLst/>
              <a:ahLst/>
              <a:cxnLst/>
              <a:rect l="l" t="t" r="r" b="b"/>
              <a:pathLst>
                <a:path w="3849" h="22906" extrusionOk="0">
                  <a:moveTo>
                    <a:pt x="0" y="1"/>
                  </a:moveTo>
                  <a:lnTo>
                    <a:pt x="0" y="22906"/>
                  </a:lnTo>
                  <a:lnTo>
                    <a:pt x="3848" y="22906"/>
                  </a:lnTo>
                  <a:lnTo>
                    <a:pt x="3848" y="1"/>
                  </a:ln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 name="Google Shape;3357;p45"/>
            <p:cNvSpPr/>
            <p:nvPr/>
          </p:nvSpPr>
          <p:spPr>
            <a:xfrm>
              <a:off x="3594225" y="2237800"/>
              <a:ext cx="37525" cy="52025"/>
            </a:xfrm>
            <a:custGeom>
              <a:avLst/>
              <a:gdLst/>
              <a:ahLst/>
              <a:cxnLst/>
              <a:rect l="l" t="t" r="r" b="b"/>
              <a:pathLst>
                <a:path w="1501" h="2081" extrusionOk="0">
                  <a:moveTo>
                    <a:pt x="0" y="0"/>
                  </a:moveTo>
                  <a:lnTo>
                    <a:pt x="0" y="2081"/>
                  </a:lnTo>
                  <a:lnTo>
                    <a:pt x="737" y="2081"/>
                  </a:lnTo>
                  <a:lnTo>
                    <a:pt x="1501" y="0"/>
                  </a:lnTo>
                  <a:close/>
                </a:path>
              </a:pathLst>
            </a:custGeom>
            <a:solidFill>
              <a:srgbClr val="F0F0F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 name="Google Shape;3358;p45"/>
            <p:cNvSpPr/>
            <p:nvPr/>
          </p:nvSpPr>
          <p:spPr>
            <a:xfrm>
              <a:off x="4078000" y="1717175"/>
              <a:ext cx="96450" cy="572650"/>
            </a:xfrm>
            <a:custGeom>
              <a:avLst/>
              <a:gdLst/>
              <a:ahLst/>
              <a:cxnLst/>
              <a:rect l="l" t="t" r="r" b="b"/>
              <a:pathLst>
                <a:path w="3858" h="22906" extrusionOk="0">
                  <a:moveTo>
                    <a:pt x="1" y="1"/>
                  </a:moveTo>
                  <a:lnTo>
                    <a:pt x="1" y="22906"/>
                  </a:lnTo>
                  <a:lnTo>
                    <a:pt x="3858" y="22906"/>
                  </a:lnTo>
                  <a:lnTo>
                    <a:pt x="3858" y="1"/>
                  </a:ln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 name="Google Shape;3359;p45"/>
            <p:cNvSpPr/>
            <p:nvPr/>
          </p:nvSpPr>
          <p:spPr>
            <a:xfrm>
              <a:off x="3594225" y="1717175"/>
              <a:ext cx="499900" cy="540900"/>
            </a:xfrm>
            <a:custGeom>
              <a:avLst/>
              <a:gdLst/>
              <a:ahLst/>
              <a:cxnLst/>
              <a:rect l="l" t="t" r="r" b="b"/>
              <a:pathLst>
                <a:path w="19996" h="21636" extrusionOk="0">
                  <a:moveTo>
                    <a:pt x="0" y="1"/>
                  </a:moveTo>
                  <a:lnTo>
                    <a:pt x="0" y="21635"/>
                  </a:lnTo>
                  <a:lnTo>
                    <a:pt x="19996" y="21635"/>
                  </a:lnTo>
                  <a:lnTo>
                    <a:pt x="19996" y="1"/>
                  </a:lnTo>
                  <a:close/>
                </a:path>
              </a:pathLst>
            </a:custGeom>
            <a:solidFill>
              <a:srgbClr val="F0F0F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 name="Google Shape;3360;p45"/>
            <p:cNvSpPr/>
            <p:nvPr/>
          </p:nvSpPr>
          <p:spPr>
            <a:xfrm>
              <a:off x="3608500" y="1731450"/>
              <a:ext cx="471375" cy="102450"/>
            </a:xfrm>
            <a:custGeom>
              <a:avLst/>
              <a:gdLst/>
              <a:ahLst/>
              <a:cxnLst/>
              <a:rect l="l" t="t" r="r" b="b"/>
              <a:pathLst>
                <a:path w="18855" h="4098" extrusionOk="0">
                  <a:moveTo>
                    <a:pt x="0" y="1"/>
                  </a:moveTo>
                  <a:lnTo>
                    <a:pt x="0" y="4097"/>
                  </a:lnTo>
                  <a:lnTo>
                    <a:pt x="18854" y="4097"/>
                  </a:lnTo>
                  <a:lnTo>
                    <a:pt x="18854" y="1"/>
                  </a:ln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 name="Google Shape;3361;p45"/>
            <p:cNvSpPr/>
            <p:nvPr/>
          </p:nvSpPr>
          <p:spPr>
            <a:xfrm>
              <a:off x="3608500" y="1845600"/>
              <a:ext cx="229475" cy="347325"/>
            </a:xfrm>
            <a:custGeom>
              <a:avLst/>
              <a:gdLst/>
              <a:ahLst/>
              <a:cxnLst/>
              <a:rect l="l" t="t" r="r" b="b"/>
              <a:pathLst>
                <a:path w="9179" h="13893" extrusionOk="0">
                  <a:moveTo>
                    <a:pt x="0" y="1"/>
                  </a:moveTo>
                  <a:lnTo>
                    <a:pt x="0" y="13893"/>
                  </a:lnTo>
                  <a:lnTo>
                    <a:pt x="9179" y="13893"/>
                  </a:lnTo>
                  <a:lnTo>
                    <a:pt x="9179" y="1"/>
                  </a:ln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3" name="Google Shape;3362;p45"/>
            <p:cNvSpPr/>
            <p:nvPr/>
          </p:nvSpPr>
          <p:spPr>
            <a:xfrm>
              <a:off x="3850375" y="1845600"/>
              <a:ext cx="229500" cy="347325"/>
            </a:xfrm>
            <a:custGeom>
              <a:avLst/>
              <a:gdLst/>
              <a:ahLst/>
              <a:cxnLst/>
              <a:rect l="l" t="t" r="r" b="b"/>
              <a:pathLst>
                <a:path w="9180" h="13893" extrusionOk="0">
                  <a:moveTo>
                    <a:pt x="1" y="1"/>
                  </a:moveTo>
                  <a:lnTo>
                    <a:pt x="1" y="13893"/>
                  </a:lnTo>
                  <a:lnTo>
                    <a:pt x="9179" y="13893"/>
                  </a:lnTo>
                  <a:lnTo>
                    <a:pt x="9179" y="1"/>
                  </a:ln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4" name="Google Shape;3363;p45"/>
            <p:cNvSpPr/>
            <p:nvPr/>
          </p:nvSpPr>
          <p:spPr>
            <a:xfrm>
              <a:off x="3863725" y="1866100"/>
              <a:ext cx="38000" cy="32600"/>
            </a:xfrm>
            <a:custGeom>
              <a:avLst/>
              <a:gdLst/>
              <a:ahLst/>
              <a:cxnLst/>
              <a:rect l="l" t="t" r="r" b="b"/>
              <a:pathLst>
                <a:path w="1520" h="1304" extrusionOk="0">
                  <a:moveTo>
                    <a:pt x="866" y="0"/>
                  </a:moveTo>
                  <a:cubicBezTo>
                    <a:pt x="286" y="0"/>
                    <a:pt x="1" y="700"/>
                    <a:pt x="406" y="1114"/>
                  </a:cubicBezTo>
                  <a:cubicBezTo>
                    <a:pt x="540" y="1245"/>
                    <a:pt x="703" y="1304"/>
                    <a:pt x="864" y="1304"/>
                  </a:cubicBezTo>
                  <a:cubicBezTo>
                    <a:pt x="1199" y="1304"/>
                    <a:pt x="1520" y="1046"/>
                    <a:pt x="1520" y="654"/>
                  </a:cubicBezTo>
                  <a:cubicBezTo>
                    <a:pt x="1520" y="295"/>
                    <a:pt x="1225" y="0"/>
                    <a:pt x="866" y="0"/>
                  </a:cubicBezTo>
                  <a:close/>
                </a:path>
              </a:pathLst>
            </a:custGeom>
            <a:solidFill>
              <a:srgbClr val="FAFA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5" name="Google Shape;3364;p45"/>
            <p:cNvSpPr/>
            <p:nvPr/>
          </p:nvSpPr>
          <p:spPr>
            <a:xfrm>
              <a:off x="3786625" y="1866100"/>
              <a:ext cx="32475" cy="32475"/>
            </a:xfrm>
            <a:custGeom>
              <a:avLst/>
              <a:gdLst/>
              <a:ahLst/>
              <a:cxnLst/>
              <a:rect l="l" t="t" r="r" b="b"/>
              <a:pathLst>
                <a:path w="1299" h="1299" extrusionOk="0">
                  <a:moveTo>
                    <a:pt x="654" y="0"/>
                  </a:moveTo>
                  <a:cubicBezTo>
                    <a:pt x="295" y="0"/>
                    <a:pt x="1" y="295"/>
                    <a:pt x="1" y="654"/>
                  </a:cubicBezTo>
                  <a:cubicBezTo>
                    <a:pt x="1" y="1013"/>
                    <a:pt x="295" y="1298"/>
                    <a:pt x="654" y="1298"/>
                  </a:cubicBezTo>
                  <a:cubicBezTo>
                    <a:pt x="1013" y="1298"/>
                    <a:pt x="1299" y="1013"/>
                    <a:pt x="1299" y="654"/>
                  </a:cubicBezTo>
                  <a:cubicBezTo>
                    <a:pt x="1299" y="295"/>
                    <a:pt x="1013" y="0"/>
                    <a:pt x="654" y="0"/>
                  </a:cubicBezTo>
                  <a:close/>
                </a:path>
              </a:pathLst>
            </a:custGeom>
            <a:solidFill>
              <a:srgbClr val="FAFA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6" name="Google Shape;3365;p45"/>
            <p:cNvSpPr/>
            <p:nvPr/>
          </p:nvSpPr>
          <p:spPr>
            <a:xfrm>
              <a:off x="4056600" y="2237800"/>
              <a:ext cx="37525" cy="52025"/>
            </a:xfrm>
            <a:custGeom>
              <a:avLst/>
              <a:gdLst/>
              <a:ahLst/>
              <a:cxnLst/>
              <a:rect l="l" t="t" r="r" b="b"/>
              <a:pathLst>
                <a:path w="1501" h="2081" extrusionOk="0">
                  <a:moveTo>
                    <a:pt x="0" y="0"/>
                  </a:moveTo>
                  <a:lnTo>
                    <a:pt x="765" y="2081"/>
                  </a:lnTo>
                  <a:lnTo>
                    <a:pt x="1501" y="2081"/>
                  </a:lnTo>
                  <a:lnTo>
                    <a:pt x="1501" y="0"/>
                  </a:lnTo>
                  <a:close/>
                </a:path>
              </a:pathLst>
            </a:custGeom>
            <a:solidFill>
              <a:srgbClr val="F0F0F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7" name="Google Shape;3366;p45"/>
            <p:cNvSpPr/>
            <p:nvPr/>
          </p:nvSpPr>
          <p:spPr>
            <a:xfrm>
              <a:off x="3825750" y="1767125"/>
              <a:ext cx="32475" cy="32700"/>
            </a:xfrm>
            <a:custGeom>
              <a:avLst/>
              <a:gdLst/>
              <a:ahLst/>
              <a:cxnLst/>
              <a:rect l="l" t="t" r="r" b="b"/>
              <a:pathLst>
                <a:path w="1299" h="1308" extrusionOk="0">
                  <a:moveTo>
                    <a:pt x="654" y="1"/>
                  </a:moveTo>
                  <a:cubicBezTo>
                    <a:pt x="286" y="1"/>
                    <a:pt x="1" y="295"/>
                    <a:pt x="1" y="654"/>
                  </a:cubicBezTo>
                  <a:cubicBezTo>
                    <a:pt x="1" y="1013"/>
                    <a:pt x="286" y="1308"/>
                    <a:pt x="654" y="1308"/>
                  </a:cubicBezTo>
                  <a:cubicBezTo>
                    <a:pt x="1013" y="1308"/>
                    <a:pt x="1299" y="1013"/>
                    <a:pt x="1299" y="654"/>
                  </a:cubicBezTo>
                  <a:cubicBezTo>
                    <a:pt x="1299" y="295"/>
                    <a:pt x="1013" y="1"/>
                    <a:pt x="654" y="1"/>
                  </a:cubicBezTo>
                  <a:close/>
                </a:path>
              </a:pathLst>
            </a:custGeom>
            <a:solidFill>
              <a:srgbClr val="FAFA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8" name="Google Shape;3367;p45"/>
            <p:cNvSpPr/>
            <p:nvPr/>
          </p:nvSpPr>
          <p:spPr>
            <a:xfrm>
              <a:off x="4116200" y="1717175"/>
              <a:ext cx="96225" cy="572650"/>
            </a:xfrm>
            <a:custGeom>
              <a:avLst/>
              <a:gdLst/>
              <a:ahLst/>
              <a:cxnLst/>
              <a:rect l="l" t="t" r="r" b="b"/>
              <a:pathLst>
                <a:path w="3849" h="22906" extrusionOk="0">
                  <a:moveTo>
                    <a:pt x="1" y="1"/>
                  </a:moveTo>
                  <a:lnTo>
                    <a:pt x="1" y="22906"/>
                  </a:lnTo>
                  <a:lnTo>
                    <a:pt x="3849" y="22906"/>
                  </a:lnTo>
                  <a:lnTo>
                    <a:pt x="3849" y="1"/>
                  </a:ln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0" name="Google Shape;3368;p45"/>
            <p:cNvSpPr/>
            <p:nvPr/>
          </p:nvSpPr>
          <p:spPr>
            <a:xfrm>
              <a:off x="4116200" y="2237800"/>
              <a:ext cx="37550" cy="52025"/>
            </a:xfrm>
            <a:custGeom>
              <a:avLst/>
              <a:gdLst/>
              <a:ahLst/>
              <a:cxnLst/>
              <a:rect l="l" t="t" r="r" b="b"/>
              <a:pathLst>
                <a:path w="1502" h="2081" extrusionOk="0">
                  <a:moveTo>
                    <a:pt x="1" y="0"/>
                  </a:moveTo>
                  <a:lnTo>
                    <a:pt x="1" y="2081"/>
                  </a:lnTo>
                  <a:lnTo>
                    <a:pt x="737" y="2081"/>
                  </a:lnTo>
                  <a:lnTo>
                    <a:pt x="1501" y="0"/>
                  </a:lnTo>
                  <a:close/>
                </a:path>
              </a:pathLst>
            </a:custGeom>
            <a:solidFill>
              <a:srgbClr val="F0F0F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1" name="Google Shape;3369;p45"/>
            <p:cNvSpPr/>
            <p:nvPr/>
          </p:nvSpPr>
          <p:spPr>
            <a:xfrm>
              <a:off x="4600000" y="1717175"/>
              <a:ext cx="96225" cy="572650"/>
            </a:xfrm>
            <a:custGeom>
              <a:avLst/>
              <a:gdLst/>
              <a:ahLst/>
              <a:cxnLst/>
              <a:rect l="l" t="t" r="r" b="b"/>
              <a:pathLst>
                <a:path w="3849" h="22906" extrusionOk="0">
                  <a:moveTo>
                    <a:pt x="0" y="1"/>
                  </a:moveTo>
                  <a:lnTo>
                    <a:pt x="0" y="22906"/>
                  </a:lnTo>
                  <a:lnTo>
                    <a:pt x="3848" y="22906"/>
                  </a:lnTo>
                  <a:lnTo>
                    <a:pt x="3848" y="1"/>
                  </a:ln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2" name="Google Shape;3370;p45"/>
            <p:cNvSpPr/>
            <p:nvPr/>
          </p:nvSpPr>
          <p:spPr>
            <a:xfrm>
              <a:off x="4116200" y="1717175"/>
              <a:ext cx="499925" cy="540900"/>
            </a:xfrm>
            <a:custGeom>
              <a:avLst/>
              <a:gdLst/>
              <a:ahLst/>
              <a:cxnLst/>
              <a:rect l="l" t="t" r="r" b="b"/>
              <a:pathLst>
                <a:path w="19997" h="21636" extrusionOk="0">
                  <a:moveTo>
                    <a:pt x="1" y="1"/>
                  </a:moveTo>
                  <a:lnTo>
                    <a:pt x="1" y="21635"/>
                  </a:lnTo>
                  <a:lnTo>
                    <a:pt x="19997" y="21635"/>
                  </a:lnTo>
                  <a:lnTo>
                    <a:pt x="19997" y="1"/>
                  </a:lnTo>
                  <a:close/>
                </a:path>
              </a:pathLst>
            </a:custGeom>
            <a:solidFill>
              <a:srgbClr val="F0F0F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3" name="Google Shape;3371;p45"/>
            <p:cNvSpPr/>
            <p:nvPr/>
          </p:nvSpPr>
          <p:spPr>
            <a:xfrm>
              <a:off x="4130475" y="1731450"/>
              <a:ext cx="229500" cy="461475"/>
            </a:xfrm>
            <a:custGeom>
              <a:avLst/>
              <a:gdLst/>
              <a:ahLst/>
              <a:cxnLst/>
              <a:rect l="l" t="t" r="r" b="b"/>
              <a:pathLst>
                <a:path w="9180" h="18459" extrusionOk="0">
                  <a:moveTo>
                    <a:pt x="1" y="1"/>
                  </a:moveTo>
                  <a:lnTo>
                    <a:pt x="1" y="18459"/>
                  </a:lnTo>
                  <a:lnTo>
                    <a:pt x="9179" y="18459"/>
                  </a:lnTo>
                  <a:lnTo>
                    <a:pt x="9179" y="1"/>
                  </a:ln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4" name="Google Shape;3372;p45"/>
            <p:cNvSpPr/>
            <p:nvPr/>
          </p:nvSpPr>
          <p:spPr>
            <a:xfrm>
              <a:off x="4372375" y="1731450"/>
              <a:ext cx="229475" cy="461475"/>
            </a:xfrm>
            <a:custGeom>
              <a:avLst/>
              <a:gdLst/>
              <a:ahLst/>
              <a:cxnLst/>
              <a:rect l="l" t="t" r="r" b="b"/>
              <a:pathLst>
                <a:path w="9179" h="18459" extrusionOk="0">
                  <a:moveTo>
                    <a:pt x="0" y="1"/>
                  </a:moveTo>
                  <a:lnTo>
                    <a:pt x="0" y="18459"/>
                  </a:lnTo>
                  <a:lnTo>
                    <a:pt x="9179" y="18459"/>
                  </a:lnTo>
                  <a:lnTo>
                    <a:pt x="9179" y="1"/>
                  </a:ln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5" name="Google Shape;3373;p45"/>
            <p:cNvSpPr/>
            <p:nvPr/>
          </p:nvSpPr>
          <p:spPr>
            <a:xfrm>
              <a:off x="4391000" y="1751925"/>
              <a:ext cx="32725" cy="32475"/>
            </a:xfrm>
            <a:custGeom>
              <a:avLst/>
              <a:gdLst/>
              <a:ahLst/>
              <a:cxnLst/>
              <a:rect l="l" t="t" r="r" b="b"/>
              <a:pathLst>
                <a:path w="1309" h="1299" extrusionOk="0">
                  <a:moveTo>
                    <a:pt x="655" y="1"/>
                  </a:moveTo>
                  <a:cubicBezTo>
                    <a:pt x="296" y="1"/>
                    <a:pt x="1" y="296"/>
                    <a:pt x="1" y="655"/>
                  </a:cubicBezTo>
                  <a:cubicBezTo>
                    <a:pt x="1" y="1014"/>
                    <a:pt x="296" y="1299"/>
                    <a:pt x="655" y="1299"/>
                  </a:cubicBezTo>
                  <a:cubicBezTo>
                    <a:pt x="1014" y="1299"/>
                    <a:pt x="1308" y="1014"/>
                    <a:pt x="1308" y="655"/>
                  </a:cubicBezTo>
                  <a:cubicBezTo>
                    <a:pt x="1308" y="296"/>
                    <a:pt x="1014" y="1"/>
                    <a:pt x="655" y="1"/>
                  </a:cubicBezTo>
                  <a:close/>
                </a:path>
              </a:pathLst>
            </a:custGeom>
            <a:solidFill>
              <a:srgbClr val="FAFA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6" name="Google Shape;3374;p45"/>
            <p:cNvSpPr/>
            <p:nvPr/>
          </p:nvSpPr>
          <p:spPr>
            <a:xfrm>
              <a:off x="4308625" y="1751925"/>
              <a:ext cx="32475" cy="32475"/>
            </a:xfrm>
            <a:custGeom>
              <a:avLst/>
              <a:gdLst/>
              <a:ahLst/>
              <a:cxnLst/>
              <a:rect l="l" t="t" r="r" b="b"/>
              <a:pathLst>
                <a:path w="1299" h="1299" extrusionOk="0">
                  <a:moveTo>
                    <a:pt x="654" y="1"/>
                  </a:moveTo>
                  <a:cubicBezTo>
                    <a:pt x="295" y="1"/>
                    <a:pt x="0" y="296"/>
                    <a:pt x="0" y="655"/>
                  </a:cubicBezTo>
                  <a:cubicBezTo>
                    <a:pt x="0" y="1014"/>
                    <a:pt x="295" y="1299"/>
                    <a:pt x="654" y="1299"/>
                  </a:cubicBezTo>
                  <a:cubicBezTo>
                    <a:pt x="1013" y="1299"/>
                    <a:pt x="1298" y="1014"/>
                    <a:pt x="1298" y="655"/>
                  </a:cubicBezTo>
                  <a:cubicBezTo>
                    <a:pt x="1298" y="296"/>
                    <a:pt x="1013" y="1"/>
                    <a:pt x="654" y="1"/>
                  </a:cubicBezTo>
                  <a:close/>
                </a:path>
              </a:pathLst>
            </a:custGeom>
            <a:solidFill>
              <a:srgbClr val="FAFA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7" name="Google Shape;3375;p45"/>
            <p:cNvSpPr/>
            <p:nvPr/>
          </p:nvSpPr>
          <p:spPr>
            <a:xfrm>
              <a:off x="4578575" y="2237800"/>
              <a:ext cx="37550" cy="52025"/>
            </a:xfrm>
            <a:custGeom>
              <a:avLst/>
              <a:gdLst/>
              <a:ahLst/>
              <a:cxnLst/>
              <a:rect l="l" t="t" r="r" b="b"/>
              <a:pathLst>
                <a:path w="1502" h="2081" extrusionOk="0">
                  <a:moveTo>
                    <a:pt x="1" y="0"/>
                  </a:moveTo>
                  <a:lnTo>
                    <a:pt x="765" y="2081"/>
                  </a:lnTo>
                  <a:lnTo>
                    <a:pt x="1502" y="2081"/>
                  </a:lnTo>
                  <a:lnTo>
                    <a:pt x="1502" y="0"/>
                  </a:lnTo>
                  <a:close/>
                </a:path>
              </a:pathLst>
            </a:custGeom>
            <a:solidFill>
              <a:srgbClr val="F0F0F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8" name="Google Shape;3376;p45"/>
            <p:cNvSpPr/>
            <p:nvPr/>
          </p:nvSpPr>
          <p:spPr>
            <a:xfrm>
              <a:off x="3631050" y="1262625"/>
              <a:ext cx="89325" cy="30650"/>
            </a:xfrm>
            <a:custGeom>
              <a:avLst/>
              <a:gdLst/>
              <a:ahLst/>
              <a:cxnLst/>
              <a:rect l="l" t="t" r="r" b="b"/>
              <a:pathLst>
                <a:path w="3573" h="1226" extrusionOk="0">
                  <a:moveTo>
                    <a:pt x="0" y="1"/>
                  </a:moveTo>
                  <a:lnTo>
                    <a:pt x="2762" y="1225"/>
                  </a:lnTo>
                  <a:lnTo>
                    <a:pt x="3572" y="1225"/>
                  </a:lnTo>
                  <a:lnTo>
                    <a:pt x="3305" y="1"/>
                  </a:ln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9" name="Google Shape;3377;p45"/>
            <p:cNvSpPr/>
            <p:nvPr/>
          </p:nvSpPr>
          <p:spPr>
            <a:xfrm>
              <a:off x="3619300" y="1262625"/>
              <a:ext cx="89325" cy="30650"/>
            </a:xfrm>
            <a:custGeom>
              <a:avLst/>
              <a:gdLst/>
              <a:ahLst/>
              <a:cxnLst/>
              <a:rect l="l" t="t" r="r" b="b"/>
              <a:pathLst>
                <a:path w="3573" h="1226" extrusionOk="0">
                  <a:moveTo>
                    <a:pt x="1" y="1"/>
                  </a:moveTo>
                  <a:lnTo>
                    <a:pt x="2772" y="1225"/>
                  </a:lnTo>
                  <a:lnTo>
                    <a:pt x="3573" y="1225"/>
                  </a:lnTo>
                  <a:lnTo>
                    <a:pt x="811" y="1"/>
                  </a:lnTo>
                  <a:close/>
                </a:path>
              </a:pathLst>
            </a:custGeom>
            <a:solidFill>
              <a:srgbClr val="F5F5F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0" name="Google Shape;3378;p45"/>
            <p:cNvSpPr/>
            <p:nvPr/>
          </p:nvSpPr>
          <p:spPr>
            <a:xfrm>
              <a:off x="3142200" y="1262625"/>
              <a:ext cx="89325" cy="30650"/>
            </a:xfrm>
            <a:custGeom>
              <a:avLst/>
              <a:gdLst/>
              <a:ahLst/>
              <a:cxnLst/>
              <a:rect l="l" t="t" r="r" b="b"/>
              <a:pathLst>
                <a:path w="3573" h="1226" extrusionOk="0">
                  <a:moveTo>
                    <a:pt x="0" y="1"/>
                  </a:moveTo>
                  <a:lnTo>
                    <a:pt x="2762" y="1225"/>
                  </a:lnTo>
                  <a:lnTo>
                    <a:pt x="3572" y="1225"/>
                  </a:lnTo>
                  <a:lnTo>
                    <a:pt x="3296" y="1"/>
                  </a:ln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1" name="Google Shape;3379;p45"/>
            <p:cNvSpPr/>
            <p:nvPr/>
          </p:nvSpPr>
          <p:spPr>
            <a:xfrm>
              <a:off x="3130700" y="1262625"/>
              <a:ext cx="89075" cy="30650"/>
            </a:xfrm>
            <a:custGeom>
              <a:avLst/>
              <a:gdLst/>
              <a:ahLst/>
              <a:cxnLst/>
              <a:rect l="l" t="t" r="r" b="b"/>
              <a:pathLst>
                <a:path w="3563" h="1226" extrusionOk="0">
                  <a:moveTo>
                    <a:pt x="0" y="1"/>
                  </a:moveTo>
                  <a:lnTo>
                    <a:pt x="2762" y="1225"/>
                  </a:lnTo>
                  <a:lnTo>
                    <a:pt x="3563" y="1225"/>
                  </a:lnTo>
                  <a:lnTo>
                    <a:pt x="801" y="1"/>
                  </a:lnTo>
                  <a:close/>
                </a:path>
              </a:pathLst>
            </a:custGeom>
            <a:solidFill>
              <a:srgbClr val="F5F5F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2" name="Google Shape;3380;p45"/>
            <p:cNvSpPr/>
            <p:nvPr/>
          </p:nvSpPr>
          <p:spPr>
            <a:xfrm>
              <a:off x="3635650" y="1231100"/>
              <a:ext cx="134425" cy="31550"/>
            </a:xfrm>
            <a:custGeom>
              <a:avLst/>
              <a:gdLst/>
              <a:ahLst/>
              <a:cxnLst/>
              <a:rect l="l" t="t" r="r" b="b"/>
              <a:pathLst>
                <a:path w="5377" h="1262" extrusionOk="0">
                  <a:moveTo>
                    <a:pt x="0" y="0"/>
                  </a:moveTo>
                  <a:lnTo>
                    <a:pt x="0" y="1262"/>
                  </a:lnTo>
                  <a:lnTo>
                    <a:pt x="5377" y="1262"/>
                  </a:lnTo>
                  <a:lnTo>
                    <a:pt x="5377" y="0"/>
                  </a:ln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3" name="Google Shape;3381;p45"/>
            <p:cNvSpPr/>
            <p:nvPr/>
          </p:nvSpPr>
          <p:spPr>
            <a:xfrm>
              <a:off x="3079600" y="1231325"/>
              <a:ext cx="556075" cy="31325"/>
            </a:xfrm>
            <a:custGeom>
              <a:avLst/>
              <a:gdLst/>
              <a:ahLst/>
              <a:cxnLst/>
              <a:rect l="l" t="t" r="r" b="b"/>
              <a:pathLst>
                <a:path w="22243" h="1253" extrusionOk="0">
                  <a:moveTo>
                    <a:pt x="0" y="1"/>
                  </a:moveTo>
                  <a:lnTo>
                    <a:pt x="0" y="1253"/>
                  </a:lnTo>
                  <a:lnTo>
                    <a:pt x="22242" y="1253"/>
                  </a:lnTo>
                  <a:lnTo>
                    <a:pt x="22242" y="1"/>
                  </a:lnTo>
                  <a:close/>
                </a:path>
              </a:pathLst>
            </a:custGeom>
            <a:solidFill>
              <a:srgbClr val="F5F5F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4" name="Google Shape;3382;p45"/>
            <p:cNvSpPr/>
            <p:nvPr/>
          </p:nvSpPr>
          <p:spPr>
            <a:xfrm>
              <a:off x="3163825" y="1164825"/>
              <a:ext cx="444675" cy="66300"/>
            </a:xfrm>
            <a:custGeom>
              <a:avLst/>
              <a:gdLst/>
              <a:ahLst/>
              <a:cxnLst/>
              <a:rect l="l" t="t" r="r" b="b"/>
              <a:pathLst>
                <a:path w="17787" h="2652" extrusionOk="0">
                  <a:moveTo>
                    <a:pt x="1" y="0"/>
                  </a:moveTo>
                  <a:cubicBezTo>
                    <a:pt x="1" y="1455"/>
                    <a:pt x="3214" y="2651"/>
                    <a:pt x="7126" y="2651"/>
                  </a:cubicBezTo>
                  <a:lnTo>
                    <a:pt x="10661" y="2651"/>
                  </a:lnTo>
                  <a:cubicBezTo>
                    <a:pt x="14583" y="2651"/>
                    <a:pt x="17787" y="1464"/>
                    <a:pt x="17787" y="0"/>
                  </a:cubicBezTo>
                  <a:close/>
                </a:path>
              </a:pathLst>
            </a:custGeom>
            <a:solidFill>
              <a:srgbClr val="F0F0F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5" name="Google Shape;3383;p45"/>
            <p:cNvSpPr/>
            <p:nvPr/>
          </p:nvSpPr>
          <p:spPr>
            <a:xfrm>
              <a:off x="3163825" y="1118775"/>
              <a:ext cx="444675" cy="66325"/>
            </a:xfrm>
            <a:custGeom>
              <a:avLst/>
              <a:gdLst/>
              <a:ahLst/>
              <a:cxnLst/>
              <a:rect l="l" t="t" r="r" b="b"/>
              <a:pathLst>
                <a:path w="17787" h="2653" extrusionOk="0">
                  <a:moveTo>
                    <a:pt x="1" y="1"/>
                  </a:moveTo>
                  <a:cubicBezTo>
                    <a:pt x="1" y="1455"/>
                    <a:pt x="3214" y="2652"/>
                    <a:pt x="7126" y="2652"/>
                  </a:cubicBezTo>
                  <a:lnTo>
                    <a:pt x="10661" y="2652"/>
                  </a:lnTo>
                  <a:cubicBezTo>
                    <a:pt x="14583" y="2652"/>
                    <a:pt x="17787" y="1465"/>
                    <a:pt x="17787" y="1"/>
                  </a:cubicBezTo>
                  <a:close/>
                </a:path>
              </a:pathLst>
            </a:custGeom>
            <a:solidFill>
              <a:srgbClr val="F0F0F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6" name="Google Shape;3384;p45"/>
            <p:cNvSpPr/>
            <p:nvPr/>
          </p:nvSpPr>
          <p:spPr>
            <a:xfrm>
              <a:off x="4520125" y="1262625"/>
              <a:ext cx="89100" cy="30650"/>
            </a:xfrm>
            <a:custGeom>
              <a:avLst/>
              <a:gdLst/>
              <a:ahLst/>
              <a:cxnLst/>
              <a:rect l="l" t="t" r="r" b="b"/>
              <a:pathLst>
                <a:path w="3564" h="1226" extrusionOk="0">
                  <a:moveTo>
                    <a:pt x="1" y="1"/>
                  </a:moveTo>
                  <a:lnTo>
                    <a:pt x="2762" y="1225"/>
                  </a:lnTo>
                  <a:lnTo>
                    <a:pt x="3563" y="1225"/>
                  </a:lnTo>
                  <a:lnTo>
                    <a:pt x="3296" y="1"/>
                  </a:ln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7" name="Google Shape;3385;p45"/>
            <p:cNvSpPr/>
            <p:nvPr/>
          </p:nvSpPr>
          <p:spPr>
            <a:xfrm>
              <a:off x="4508400" y="1262625"/>
              <a:ext cx="89325" cy="30650"/>
            </a:xfrm>
            <a:custGeom>
              <a:avLst/>
              <a:gdLst/>
              <a:ahLst/>
              <a:cxnLst/>
              <a:rect l="l" t="t" r="r" b="b"/>
              <a:pathLst>
                <a:path w="3573" h="1226" extrusionOk="0">
                  <a:moveTo>
                    <a:pt x="0" y="1"/>
                  </a:moveTo>
                  <a:lnTo>
                    <a:pt x="2762" y="1225"/>
                  </a:lnTo>
                  <a:lnTo>
                    <a:pt x="3572" y="1225"/>
                  </a:lnTo>
                  <a:lnTo>
                    <a:pt x="810" y="1"/>
                  </a:lnTo>
                  <a:close/>
                </a:path>
              </a:pathLst>
            </a:custGeom>
            <a:solidFill>
              <a:srgbClr val="F5F5F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8" name="Google Shape;3386;p45"/>
            <p:cNvSpPr/>
            <p:nvPr/>
          </p:nvSpPr>
          <p:spPr>
            <a:xfrm>
              <a:off x="4031275" y="1262625"/>
              <a:ext cx="89100" cy="30650"/>
            </a:xfrm>
            <a:custGeom>
              <a:avLst/>
              <a:gdLst/>
              <a:ahLst/>
              <a:cxnLst/>
              <a:rect l="l" t="t" r="r" b="b"/>
              <a:pathLst>
                <a:path w="3564" h="1226" extrusionOk="0">
                  <a:moveTo>
                    <a:pt x="1" y="1"/>
                  </a:moveTo>
                  <a:lnTo>
                    <a:pt x="2763" y="1225"/>
                  </a:lnTo>
                  <a:lnTo>
                    <a:pt x="3564" y="1225"/>
                  </a:lnTo>
                  <a:lnTo>
                    <a:pt x="3297" y="1"/>
                  </a:ln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9" name="Google Shape;3387;p45"/>
            <p:cNvSpPr/>
            <p:nvPr/>
          </p:nvSpPr>
          <p:spPr>
            <a:xfrm>
              <a:off x="4019550" y="1262625"/>
              <a:ext cx="89325" cy="30650"/>
            </a:xfrm>
            <a:custGeom>
              <a:avLst/>
              <a:gdLst/>
              <a:ahLst/>
              <a:cxnLst/>
              <a:rect l="l" t="t" r="r" b="b"/>
              <a:pathLst>
                <a:path w="3573" h="1226" extrusionOk="0">
                  <a:moveTo>
                    <a:pt x="0" y="1"/>
                  </a:moveTo>
                  <a:lnTo>
                    <a:pt x="2762" y="1225"/>
                  </a:lnTo>
                  <a:lnTo>
                    <a:pt x="3572" y="1225"/>
                  </a:lnTo>
                  <a:lnTo>
                    <a:pt x="810" y="1"/>
                  </a:lnTo>
                  <a:close/>
                </a:path>
              </a:pathLst>
            </a:custGeom>
            <a:solidFill>
              <a:srgbClr val="F5F5F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50" name="Google Shape;3388;p45"/>
            <p:cNvSpPr/>
            <p:nvPr/>
          </p:nvSpPr>
          <p:spPr>
            <a:xfrm>
              <a:off x="4524725" y="1231100"/>
              <a:ext cx="134450" cy="31550"/>
            </a:xfrm>
            <a:custGeom>
              <a:avLst/>
              <a:gdLst/>
              <a:ahLst/>
              <a:cxnLst/>
              <a:rect l="l" t="t" r="r" b="b"/>
              <a:pathLst>
                <a:path w="5378" h="1262" extrusionOk="0">
                  <a:moveTo>
                    <a:pt x="1" y="0"/>
                  </a:moveTo>
                  <a:lnTo>
                    <a:pt x="1" y="1262"/>
                  </a:lnTo>
                  <a:lnTo>
                    <a:pt x="5377" y="1262"/>
                  </a:lnTo>
                  <a:lnTo>
                    <a:pt x="5377" y="0"/>
                  </a:ln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51" name="Google Shape;3389;p45"/>
            <p:cNvSpPr/>
            <p:nvPr/>
          </p:nvSpPr>
          <p:spPr>
            <a:xfrm>
              <a:off x="3968675" y="1231325"/>
              <a:ext cx="556075" cy="31325"/>
            </a:xfrm>
            <a:custGeom>
              <a:avLst/>
              <a:gdLst/>
              <a:ahLst/>
              <a:cxnLst/>
              <a:rect l="l" t="t" r="r" b="b"/>
              <a:pathLst>
                <a:path w="22243" h="1253" extrusionOk="0">
                  <a:moveTo>
                    <a:pt x="1" y="1"/>
                  </a:moveTo>
                  <a:lnTo>
                    <a:pt x="1" y="1253"/>
                  </a:lnTo>
                  <a:lnTo>
                    <a:pt x="22243" y="1253"/>
                  </a:lnTo>
                  <a:lnTo>
                    <a:pt x="22243" y="1"/>
                  </a:lnTo>
                  <a:close/>
                </a:path>
              </a:pathLst>
            </a:custGeom>
            <a:solidFill>
              <a:srgbClr val="F5F5F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52" name="Google Shape;3390;p45"/>
            <p:cNvSpPr/>
            <p:nvPr/>
          </p:nvSpPr>
          <p:spPr>
            <a:xfrm>
              <a:off x="4099875" y="1106125"/>
              <a:ext cx="208075" cy="125225"/>
            </a:xfrm>
            <a:custGeom>
              <a:avLst/>
              <a:gdLst/>
              <a:ahLst/>
              <a:cxnLst/>
              <a:rect l="l" t="t" r="r" b="b"/>
              <a:pathLst>
                <a:path w="8323" h="5009" extrusionOk="0">
                  <a:moveTo>
                    <a:pt x="856" y="1"/>
                  </a:moveTo>
                  <a:cubicBezTo>
                    <a:pt x="0" y="1796"/>
                    <a:pt x="635" y="3950"/>
                    <a:pt x="2329" y="5009"/>
                  </a:cubicBezTo>
                  <a:lnTo>
                    <a:pt x="6472" y="5009"/>
                  </a:lnTo>
                  <a:cubicBezTo>
                    <a:pt x="7623" y="4291"/>
                    <a:pt x="8323" y="3029"/>
                    <a:pt x="8323" y="1676"/>
                  </a:cubicBezTo>
                  <a:cubicBezTo>
                    <a:pt x="8323" y="1096"/>
                    <a:pt x="8194" y="525"/>
                    <a:pt x="7945" y="1"/>
                  </a:cubicBezTo>
                  <a:close/>
                </a:path>
              </a:pathLst>
            </a:custGeom>
            <a:solidFill>
              <a:srgbClr val="F0F0F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53" name="Google Shape;3391;p45"/>
            <p:cNvSpPr/>
            <p:nvPr/>
          </p:nvSpPr>
          <p:spPr>
            <a:xfrm>
              <a:off x="4292275" y="1121325"/>
              <a:ext cx="43525" cy="54325"/>
            </a:xfrm>
            <a:custGeom>
              <a:avLst/>
              <a:gdLst/>
              <a:ahLst/>
              <a:cxnLst/>
              <a:rect l="l" t="t" r="r" b="b"/>
              <a:pathLst>
                <a:path w="1741" h="2173" extrusionOk="0">
                  <a:moveTo>
                    <a:pt x="249" y="0"/>
                  </a:moveTo>
                  <a:cubicBezTo>
                    <a:pt x="249" y="0"/>
                    <a:pt x="1" y="783"/>
                    <a:pt x="341" y="1381"/>
                  </a:cubicBezTo>
                  <a:cubicBezTo>
                    <a:pt x="691" y="1979"/>
                    <a:pt x="1492" y="2173"/>
                    <a:pt x="1492" y="2173"/>
                  </a:cubicBezTo>
                  <a:cubicBezTo>
                    <a:pt x="1492" y="2173"/>
                    <a:pt x="1740" y="1390"/>
                    <a:pt x="1400" y="792"/>
                  </a:cubicBezTo>
                  <a:cubicBezTo>
                    <a:pt x="1059" y="194"/>
                    <a:pt x="249" y="0"/>
                    <a:pt x="249" y="0"/>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54" name="Google Shape;3392;p45"/>
            <p:cNvSpPr/>
            <p:nvPr/>
          </p:nvSpPr>
          <p:spPr>
            <a:xfrm>
              <a:off x="4269725" y="1154225"/>
              <a:ext cx="34075" cy="61950"/>
            </a:xfrm>
            <a:custGeom>
              <a:avLst/>
              <a:gdLst/>
              <a:ahLst/>
              <a:cxnLst/>
              <a:rect l="l" t="t" r="r" b="b"/>
              <a:pathLst>
                <a:path w="1363" h="2478" extrusionOk="0">
                  <a:moveTo>
                    <a:pt x="838" y="1"/>
                  </a:moveTo>
                  <a:cubicBezTo>
                    <a:pt x="838" y="1"/>
                    <a:pt x="166" y="479"/>
                    <a:pt x="83" y="1161"/>
                  </a:cubicBezTo>
                  <a:cubicBezTo>
                    <a:pt x="0" y="1851"/>
                    <a:pt x="534" y="2477"/>
                    <a:pt x="534" y="2477"/>
                  </a:cubicBezTo>
                  <a:cubicBezTo>
                    <a:pt x="534" y="2477"/>
                    <a:pt x="1197" y="1998"/>
                    <a:pt x="1280" y="1308"/>
                  </a:cubicBezTo>
                  <a:cubicBezTo>
                    <a:pt x="1363" y="627"/>
                    <a:pt x="838" y="1"/>
                    <a:pt x="838" y="1"/>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55" name="Google Shape;3393;p45"/>
            <p:cNvSpPr/>
            <p:nvPr/>
          </p:nvSpPr>
          <p:spPr>
            <a:xfrm>
              <a:off x="4333250" y="1151700"/>
              <a:ext cx="36150" cy="61250"/>
            </a:xfrm>
            <a:custGeom>
              <a:avLst/>
              <a:gdLst/>
              <a:ahLst/>
              <a:cxnLst/>
              <a:rect l="l" t="t" r="r" b="b"/>
              <a:pathLst>
                <a:path w="1446" h="2450" extrusionOk="0">
                  <a:moveTo>
                    <a:pt x="479" y="0"/>
                  </a:moveTo>
                  <a:cubicBezTo>
                    <a:pt x="479" y="0"/>
                    <a:pt x="0" y="663"/>
                    <a:pt x="138" y="1344"/>
                  </a:cubicBezTo>
                  <a:cubicBezTo>
                    <a:pt x="267" y="2017"/>
                    <a:pt x="967" y="2449"/>
                    <a:pt x="967" y="2449"/>
                  </a:cubicBezTo>
                  <a:cubicBezTo>
                    <a:pt x="967" y="2449"/>
                    <a:pt x="1446" y="1786"/>
                    <a:pt x="1317" y="1105"/>
                  </a:cubicBezTo>
                  <a:cubicBezTo>
                    <a:pt x="1179" y="433"/>
                    <a:pt x="479" y="0"/>
                    <a:pt x="479" y="0"/>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56" name="Google Shape;3394;p45"/>
            <p:cNvSpPr/>
            <p:nvPr/>
          </p:nvSpPr>
          <p:spPr>
            <a:xfrm>
              <a:off x="4324500" y="1077125"/>
              <a:ext cx="34325" cy="62175"/>
            </a:xfrm>
            <a:custGeom>
              <a:avLst/>
              <a:gdLst/>
              <a:ahLst/>
              <a:cxnLst/>
              <a:rect l="l" t="t" r="r" b="b"/>
              <a:pathLst>
                <a:path w="1373" h="2487" extrusionOk="0">
                  <a:moveTo>
                    <a:pt x="838" y="1"/>
                  </a:moveTo>
                  <a:cubicBezTo>
                    <a:pt x="838" y="1"/>
                    <a:pt x="175" y="489"/>
                    <a:pt x="83" y="1170"/>
                  </a:cubicBezTo>
                  <a:cubicBezTo>
                    <a:pt x="0" y="1851"/>
                    <a:pt x="534" y="2486"/>
                    <a:pt x="534" y="2486"/>
                  </a:cubicBezTo>
                  <a:cubicBezTo>
                    <a:pt x="534" y="2486"/>
                    <a:pt x="1197" y="2008"/>
                    <a:pt x="1289" y="1317"/>
                  </a:cubicBezTo>
                  <a:cubicBezTo>
                    <a:pt x="1372" y="636"/>
                    <a:pt x="838" y="1"/>
                    <a:pt x="838" y="1"/>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57" name="Google Shape;3395;p45"/>
            <p:cNvSpPr/>
            <p:nvPr/>
          </p:nvSpPr>
          <p:spPr>
            <a:xfrm>
              <a:off x="4292725" y="1180000"/>
              <a:ext cx="42150" cy="56425"/>
            </a:xfrm>
            <a:custGeom>
              <a:avLst/>
              <a:gdLst/>
              <a:ahLst/>
              <a:cxnLst/>
              <a:rect l="l" t="t" r="r" b="b"/>
              <a:pathLst>
                <a:path w="1686" h="2257" extrusionOk="0">
                  <a:moveTo>
                    <a:pt x="1382" y="1"/>
                  </a:moveTo>
                  <a:cubicBezTo>
                    <a:pt x="1382" y="1"/>
                    <a:pt x="609" y="249"/>
                    <a:pt x="305" y="875"/>
                  </a:cubicBezTo>
                  <a:cubicBezTo>
                    <a:pt x="1" y="1492"/>
                    <a:pt x="305" y="2256"/>
                    <a:pt x="305" y="2256"/>
                  </a:cubicBezTo>
                  <a:cubicBezTo>
                    <a:pt x="305" y="2256"/>
                    <a:pt x="1087" y="2017"/>
                    <a:pt x="1382" y="1391"/>
                  </a:cubicBezTo>
                  <a:cubicBezTo>
                    <a:pt x="1686" y="774"/>
                    <a:pt x="1382" y="1"/>
                    <a:pt x="1382" y="1"/>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58" name="Google Shape;3396;p45"/>
            <p:cNvSpPr/>
            <p:nvPr/>
          </p:nvSpPr>
          <p:spPr>
            <a:xfrm>
              <a:off x="4185950" y="1077300"/>
              <a:ext cx="51575" cy="37525"/>
            </a:xfrm>
            <a:custGeom>
              <a:avLst/>
              <a:gdLst/>
              <a:ahLst/>
              <a:cxnLst/>
              <a:rect l="l" t="t" r="r" b="b"/>
              <a:pathLst>
                <a:path w="2063" h="1501" extrusionOk="0">
                  <a:moveTo>
                    <a:pt x="1631" y="0"/>
                  </a:moveTo>
                  <a:cubicBezTo>
                    <a:pt x="1353" y="0"/>
                    <a:pt x="990" y="48"/>
                    <a:pt x="691" y="251"/>
                  </a:cubicBezTo>
                  <a:cubicBezTo>
                    <a:pt x="120" y="647"/>
                    <a:pt x="0" y="1457"/>
                    <a:pt x="0" y="1457"/>
                  </a:cubicBezTo>
                  <a:cubicBezTo>
                    <a:pt x="0" y="1457"/>
                    <a:pt x="184" y="1500"/>
                    <a:pt x="440" y="1500"/>
                  </a:cubicBezTo>
                  <a:cubicBezTo>
                    <a:pt x="714" y="1500"/>
                    <a:pt x="1072" y="1451"/>
                    <a:pt x="1372" y="1246"/>
                  </a:cubicBezTo>
                  <a:cubicBezTo>
                    <a:pt x="1943" y="850"/>
                    <a:pt x="2062" y="40"/>
                    <a:pt x="2062" y="40"/>
                  </a:cubicBezTo>
                  <a:cubicBezTo>
                    <a:pt x="2062" y="40"/>
                    <a:pt x="1882" y="0"/>
                    <a:pt x="1631" y="0"/>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59" name="Google Shape;3397;p45"/>
            <p:cNvSpPr/>
            <p:nvPr/>
          </p:nvSpPr>
          <p:spPr>
            <a:xfrm>
              <a:off x="4237500" y="1061250"/>
              <a:ext cx="37775" cy="60550"/>
            </a:xfrm>
            <a:custGeom>
              <a:avLst/>
              <a:gdLst/>
              <a:ahLst/>
              <a:cxnLst/>
              <a:rect l="l" t="t" r="r" b="b"/>
              <a:pathLst>
                <a:path w="1511" h="2422" extrusionOk="0">
                  <a:moveTo>
                    <a:pt x="1068" y="0"/>
                  </a:moveTo>
                  <a:cubicBezTo>
                    <a:pt x="1068" y="0"/>
                    <a:pt x="341" y="387"/>
                    <a:pt x="166" y="1059"/>
                  </a:cubicBezTo>
                  <a:cubicBezTo>
                    <a:pt x="0" y="1731"/>
                    <a:pt x="442" y="2422"/>
                    <a:pt x="442" y="2422"/>
                  </a:cubicBezTo>
                  <a:cubicBezTo>
                    <a:pt x="442" y="2422"/>
                    <a:pt x="1170" y="2026"/>
                    <a:pt x="1335" y="1363"/>
                  </a:cubicBezTo>
                  <a:cubicBezTo>
                    <a:pt x="1510" y="691"/>
                    <a:pt x="1068" y="0"/>
                    <a:pt x="1068" y="0"/>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60" name="Google Shape;3398;p45"/>
            <p:cNvSpPr/>
            <p:nvPr/>
          </p:nvSpPr>
          <p:spPr>
            <a:xfrm>
              <a:off x="4273175" y="1053425"/>
              <a:ext cx="44675" cy="51350"/>
            </a:xfrm>
            <a:custGeom>
              <a:avLst/>
              <a:gdLst/>
              <a:ahLst/>
              <a:cxnLst/>
              <a:rect l="l" t="t" r="r" b="b"/>
              <a:pathLst>
                <a:path w="1787" h="2054" extrusionOk="0">
                  <a:moveTo>
                    <a:pt x="175" y="0"/>
                  </a:moveTo>
                  <a:cubicBezTo>
                    <a:pt x="175" y="0"/>
                    <a:pt x="0" y="811"/>
                    <a:pt x="396" y="1372"/>
                  </a:cubicBezTo>
                  <a:cubicBezTo>
                    <a:pt x="792" y="1934"/>
                    <a:pt x="1611" y="2053"/>
                    <a:pt x="1611" y="2053"/>
                  </a:cubicBezTo>
                  <a:cubicBezTo>
                    <a:pt x="1611" y="2053"/>
                    <a:pt x="1786" y="1252"/>
                    <a:pt x="1391" y="682"/>
                  </a:cubicBezTo>
                  <a:cubicBezTo>
                    <a:pt x="995" y="120"/>
                    <a:pt x="175" y="0"/>
                    <a:pt x="175" y="0"/>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61" name="Google Shape;3399;p45"/>
            <p:cNvSpPr/>
            <p:nvPr/>
          </p:nvSpPr>
          <p:spPr>
            <a:xfrm>
              <a:off x="4294125" y="1049950"/>
              <a:ext cx="57550" cy="32800"/>
            </a:xfrm>
            <a:custGeom>
              <a:avLst/>
              <a:gdLst/>
              <a:ahLst/>
              <a:cxnLst/>
              <a:rect l="l" t="t" r="r" b="b"/>
              <a:pathLst>
                <a:path w="2302" h="1312" extrusionOk="0">
                  <a:moveTo>
                    <a:pt x="837" y="0"/>
                  </a:moveTo>
                  <a:cubicBezTo>
                    <a:pt x="385" y="0"/>
                    <a:pt x="0" y="176"/>
                    <a:pt x="0" y="176"/>
                  </a:cubicBezTo>
                  <a:cubicBezTo>
                    <a:pt x="0" y="176"/>
                    <a:pt x="286" y="940"/>
                    <a:pt x="921" y="1207"/>
                  </a:cubicBezTo>
                  <a:cubicBezTo>
                    <a:pt x="1101" y="1284"/>
                    <a:pt x="1291" y="1311"/>
                    <a:pt x="1471" y="1311"/>
                  </a:cubicBezTo>
                  <a:cubicBezTo>
                    <a:pt x="1918" y="1311"/>
                    <a:pt x="2302" y="1143"/>
                    <a:pt x="2302" y="1143"/>
                  </a:cubicBezTo>
                  <a:cubicBezTo>
                    <a:pt x="2302" y="1143"/>
                    <a:pt x="2016" y="370"/>
                    <a:pt x="1381" y="103"/>
                  </a:cubicBezTo>
                  <a:cubicBezTo>
                    <a:pt x="1202" y="27"/>
                    <a:pt x="1015" y="0"/>
                    <a:pt x="837" y="0"/>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62" name="Google Shape;3400;p45"/>
            <p:cNvSpPr/>
            <p:nvPr/>
          </p:nvSpPr>
          <p:spPr>
            <a:xfrm>
              <a:off x="4271100" y="1079200"/>
              <a:ext cx="31325" cy="62400"/>
            </a:xfrm>
            <a:custGeom>
              <a:avLst/>
              <a:gdLst/>
              <a:ahLst/>
              <a:cxnLst/>
              <a:rect l="l" t="t" r="r" b="b"/>
              <a:pathLst>
                <a:path w="1253" h="2496" extrusionOk="0">
                  <a:moveTo>
                    <a:pt x="663" y="0"/>
                  </a:moveTo>
                  <a:cubicBezTo>
                    <a:pt x="663" y="0"/>
                    <a:pt x="47" y="544"/>
                    <a:pt x="19" y="1234"/>
                  </a:cubicBezTo>
                  <a:cubicBezTo>
                    <a:pt x="1" y="1925"/>
                    <a:pt x="590" y="2495"/>
                    <a:pt x="590" y="2495"/>
                  </a:cubicBezTo>
                  <a:cubicBezTo>
                    <a:pt x="590" y="2495"/>
                    <a:pt x="1207" y="1952"/>
                    <a:pt x="1225" y="1262"/>
                  </a:cubicBezTo>
                  <a:cubicBezTo>
                    <a:pt x="1253" y="571"/>
                    <a:pt x="663" y="0"/>
                    <a:pt x="663" y="0"/>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63" name="Google Shape;3401;p45"/>
            <p:cNvSpPr/>
            <p:nvPr/>
          </p:nvSpPr>
          <p:spPr>
            <a:xfrm>
              <a:off x="4315300" y="1304525"/>
              <a:ext cx="34550" cy="61925"/>
            </a:xfrm>
            <a:custGeom>
              <a:avLst/>
              <a:gdLst/>
              <a:ahLst/>
              <a:cxnLst/>
              <a:rect l="l" t="t" r="r" b="b"/>
              <a:pathLst>
                <a:path w="1382" h="2477" extrusionOk="0">
                  <a:moveTo>
                    <a:pt x="847" y="0"/>
                  </a:moveTo>
                  <a:cubicBezTo>
                    <a:pt x="847" y="0"/>
                    <a:pt x="184" y="479"/>
                    <a:pt x="92" y="1160"/>
                  </a:cubicBezTo>
                  <a:cubicBezTo>
                    <a:pt x="0" y="1851"/>
                    <a:pt x="534" y="2477"/>
                    <a:pt x="534" y="2477"/>
                  </a:cubicBezTo>
                  <a:cubicBezTo>
                    <a:pt x="534" y="2477"/>
                    <a:pt x="1197" y="2007"/>
                    <a:pt x="1289" y="1317"/>
                  </a:cubicBezTo>
                  <a:cubicBezTo>
                    <a:pt x="1381" y="635"/>
                    <a:pt x="847" y="0"/>
                    <a:pt x="847" y="0"/>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64" name="Google Shape;3402;p45"/>
            <p:cNvSpPr/>
            <p:nvPr/>
          </p:nvSpPr>
          <p:spPr>
            <a:xfrm>
              <a:off x="4275700" y="1291400"/>
              <a:ext cx="32250" cy="62400"/>
            </a:xfrm>
            <a:custGeom>
              <a:avLst/>
              <a:gdLst/>
              <a:ahLst/>
              <a:cxnLst/>
              <a:rect l="l" t="t" r="r" b="b"/>
              <a:pathLst>
                <a:path w="1290" h="2496" extrusionOk="0">
                  <a:moveTo>
                    <a:pt x="562" y="0"/>
                  </a:moveTo>
                  <a:cubicBezTo>
                    <a:pt x="562" y="0"/>
                    <a:pt x="1" y="599"/>
                    <a:pt x="37" y="1289"/>
                  </a:cubicBezTo>
                  <a:cubicBezTo>
                    <a:pt x="84" y="1971"/>
                    <a:pt x="719" y="2495"/>
                    <a:pt x="719" y="2495"/>
                  </a:cubicBezTo>
                  <a:cubicBezTo>
                    <a:pt x="719" y="2495"/>
                    <a:pt x="1290" y="1906"/>
                    <a:pt x="1244" y="1216"/>
                  </a:cubicBezTo>
                  <a:cubicBezTo>
                    <a:pt x="1207" y="525"/>
                    <a:pt x="562" y="0"/>
                    <a:pt x="562" y="0"/>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65" name="Google Shape;3403;p45"/>
            <p:cNvSpPr/>
            <p:nvPr/>
          </p:nvSpPr>
          <p:spPr>
            <a:xfrm>
              <a:off x="4267425" y="1222575"/>
              <a:ext cx="42375" cy="56200"/>
            </a:xfrm>
            <a:custGeom>
              <a:avLst/>
              <a:gdLst/>
              <a:ahLst/>
              <a:cxnLst/>
              <a:rect l="l" t="t" r="r" b="b"/>
              <a:pathLst>
                <a:path w="1695" h="2248" extrusionOk="0">
                  <a:moveTo>
                    <a:pt x="1390" y="1"/>
                  </a:moveTo>
                  <a:cubicBezTo>
                    <a:pt x="1390" y="1"/>
                    <a:pt x="599" y="240"/>
                    <a:pt x="304" y="866"/>
                  </a:cubicBezTo>
                  <a:cubicBezTo>
                    <a:pt x="0" y="1483"/>
                    <a:pt x="304" y="2247"/>
                    <a:pt x="304" y="2247"/>
                  </a:cubicBezTo>
                  <a:cubicBezTo>
                    <a:pt x="304" y="2247"/>
                    <a:pt x="1087" y="2008"/>
                    <a:pt x="1390" y="1391"/>
                  </a:cubicBezTo>
                  <a:cubicBezTo>
                    <a:pt x="1694" y="774"/>
                    <a:pt x="1390" y="1"/>
                    <a:pt x="1390" y="1"/>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66" name="Google Shape;3404;p45"/>
            <p:cNvSpPr/>
            <p:nvPr/>
          </p:nvSpPr>
          <p:spPr>
            <a:xfrm>
              <a:off x="4355800" y="1297600"/>
              <a:ext cx="45825" cy="44925"/>
            </a:xfrm>
            <a:custGeom>
              <a:avLst/>
              <a:gdLst/>
              <a:ahLst/>
              <a:cxnLst/>
              <a:rect l="l" t="t" r="r" b="b"/>
              <a:pathLst>
                <a:path w="1833" h="1797" extrusionOk="0">
                  <a:moveTo>
                    <a:pt x="1775" y="1"/>
                  </a:moveTo>
                  <a:cubicBezTo>
                    <a:pt x="1675" y="1"/>
                    <a:pt x="934" y="17"/>
                    <a:pt x="488" y="480"/>
                  </a:cubicBezTo>
                  <a:cubicBezTo>
                    <a:pt x="0" y="977"/>
                    <a:pt x="46" y="1796"/>
                    <a:pt x="46" y="1796"/>
                  </a:cubicBezTo>
                  <a:cubicBezTo>
                    <a:pt x="46" y="1796"/>
                    <a:pt x="50" y="1796"/>
                    <a:pt x="58" y="1796"/>
                  </a:cubicBezTo>
                  <a:cubicBezTo>
                    <a:pt x="158" y="1796"/>
                    <a:pt x="899" y="1780"/>
                    <a:pt x="1354" y="1318"/>
                  </a:cubicBezTo>
                  <a:cubicBezTo>
                    <a:pt x="1832" y="830"/>
                    <a:pt x="1786" y="1"/>
                    <a:pt x="1786" y="1"/>
                  </a:cubicBezTo>
                  <a:cubicBezTo>
                    <a:pt x="1786" y="1"/>
                    <a:pt x="1783" y="1"/>
                    <a:pt x="1775" y="1"/>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67" name="Google Shape;3405;p45"/>
            <p:cNvSpPr/>
            <p:nvPr/>
          </p:nvSpPr>
          <p:spPr>
            <a:xfrm>
              <a:off x="4280775" y="1347775"/>
              <a:ext cx="37300" cy="44000"/>
            </a:xfrm>
            <a:custGeom>
              <a:avLst/>
              <a:gdLst/>
              <a:ahLst/>
              <a:cxnLst/>
              <a:rect l="l" t="t" r="r" b="b"/>
              <a:pathLst>
                <a:path w="1492" h="1760" extrusionOk="0">
                  <a:moveTo>
                    <a:pt x="1326" y="1"/>
                  </a:moveTo>
                  <a:lnTo>
                    <a:pt x="1326" y="1"/>
                  </a:lnTo>
                  <a:cubicBezTo>
                    <a:pt x="1326" y="1"/>
                    <a:pt x="645" y="111"/>
                    <a:pt x="322" y="599"/>
                  </a:cubicBezTo>
                  <a:cubicBezTo>
                    <a:pt x="0" y="1087"/>
                    <a:pt x="157" y="1759"/>
                    <a:pt x="157" y="1759"/>
                  </a:cubicBezTo>
                  <a:cubicBezTo>
                    <a:pt x="157" y="1759"/>
                    <a:pt x="847" y="1649"/>
                    <a:pt x="1169" y="1161"/>
                  </a:cubicBezTo>
                  <a:cubicBezTo>
                    <a:pt x="1492" y="682"/>
                    <a:pt x="1326" y="1"/>
                    <a:pt x="1326" y="1"/>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68" name="Google Shape;3406;p45"/>
            <p:cNvSpPr/>
            <p:nvPr/>
          </p:nvSpPr>
          <p:spPr>
            <a:xfrm>
              <a:off x="4339675" y="1349175"/>
              <a:ext cx="24200" cy="45825"/>
            </a:xfrm>
            <a:custGeom>
              <a:avLst/>
              <a:gdLst/>
              <a:ahLst/>
              <a:cxnLst/>
              <a:rect l="l" t="t" r="r" b="b"/>
              <a:pathLst>
                <a:path w="968" h="1833" extrusionOk="0">
                  <a:moveTo>
                    <a:pt x="415" y="0"/>
                  </a:moveTo>
                  <a:cubicBezTo>
                    <a:pt x="415" y="0"/>
                    <a:pt x="1" y="442"/>
                    <a:pt x="47" y="948"/>
                  </a:cubicBezTo>
                  <a:cubicBezTo>
                    <a:pt x="84" y="1455"/>
                    <a:pt x="563" y="1832"/>
                    <a:pt x="563" y="1832"/>
                  </a:cubicBezTo>
                  <a:cubicBezTo>
                    <a:pt x="563" y="1832"/>
                    <a:pt x="968" y="1390"/>
                    <a:pt x="931" y="884"/>
                  </a:cubicBezTo>
                  <a:cubicBezTo>
                    <a:pt x="894" y="378"/>
                    <a:pt x="415" y="0"/>
                    <a:pt x="415" y="0"/>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69" name="Google Shape;3407;p45"/>
            <p:cNvSpPr/>
            <p:nvPr/>
          </p:nvSpPr>
          <p:spPr>
            <a:xfrm>
              <a:off x="4306550" y="1377475"/>
              <a:ext cx="26950" cy="30625"/>
            </a:xfrm>
            <a:custGeom>
              <a:avLst/>
              <a:gdLst/>
              <a:ahLst/>
              <a:cxnLst/>
              <a:rect l="l" t="t" r="r" b="b"/>
              <a:pathLst>
                <a:path w="1078" h="1225" extrusionOk="0">
                  <a:moveTo>
                    <a:pt x="976" y="1"/>
                  </a:moveTo>
                  <a:cubicBezTo>
                    <a:pt x="976" y="1"/>
                    <a:pt x="488" y="74"/>
                    <a:pt x="240" y="406"/>
                  </a:cubicBezTo>
                  <a:cubicBezTo>
                    <a:pt x="0" y="737"/>
                    <a:pt x="102" y="1225"/>
                    <a:pt x="102" y="1225"/>
                  </a:cubicBezTo>
                  <a:cubicBezTo>
                    <a:pt x="102" y="1225"/>
                    <a:pt x="589" y="1170"/>
                    <a:pt x="838" y="829"/>
                  </a:cubicBezTo>
                  <a:cubicBezTo>
                    <a:pt x="1077" y="489"/>
                    <a:pt x="976" y="1"/>
                    <a:pt x="976" y="1"/>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70" name="Google Shape;3408;p45"/>
            <p:cNvSpPr/>
            <p:nvPr/>
          </p:nvSpPr>
          <p:spPr>
            <a:xfrm>
              <a:off x="4376050" y="1258025"/>
              <a:ext cx="27650" cy="27175"/>
            </a:xfrm>
            <a:custGeom>
              <a:avLst/>
              <a:gdLst/>
              <a:ahLst/>
              <a:cxnLst/>
              <a:rect l="l" t="t" r="r" b="b"/>
              <a:pathLst>
                <a:path w="1106" h="1087" extrusionOk="0">
                  <a:moveTo>
                    <a:pt x="33" y="1"/>
                  </a:moveTo>
                  <a:cubicBezTo>
                    <a:pt x="30" y="1"/>
                    <a:pt x="28" y="1"/>
                    <a:pt x="28" y="1"/>
                  </a:cubicBezTo>
                  <a:cubicBezTo>
                    <a:pt x="28" y="1"/>
                    <a:pt x="1" y="498"/>
                    <a:pt x="295" y="802"/>
                  </a:cubicBezTo>
                  <a:cubicBezTo>
                    <a:pt x="564" y="1079"/>
                    <a:pt x="1020" y="1087"/>
                    <a:pt x="1073" y="1087"/>
                  </a:cubicBezTo>
                  <a:cubicBezTo>
                    <a:pt x="1076" y="1087"/>
                    <a:pt x="1078" y="1087"/>
                    <a:pt x="1078" y="1087"/>
                  </a:cubicBezTo>
                  <a:cubicBezTo>
                    <a:pt x="1078" y="1087"/>
                    <a:pt x="1105" y="590"/>
                    <a:pt x="820" y="286"/>
                  </a:cubicBezTo>
                  <a:cubicBezTo>
                    <a:pt x="543" y="9"/>
                    <a:pt x="86" y="1"/>
                    <a:pt x="33" y="1"/>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71" name="Google Shape;3409;p45"/>
            <p:cNvSpPr/>
            <p:nvPr/>
          </p:nvSpPr>
          <p:spPr>
            <a:xfrm>
              <a:off x="4242550" y="1145700"/>
              <a:ext cx="27650" cy="26300"/>
            </a:xfrm>
            <a:custGeom>
              <a:avLst/>
              <a:gdLst/>
              <a:ahLst/>
              <a:cxnLst/>
              <a:rect l="l" t="t" r="r" b="b"/>
              <a:pathLst>
                <a:path w="1106" h="1052" extrusionOk="0">
                  <a:moveTo>
                    <a:pt x="1060" y="0"/>
                  </a:moveTo>
                  <a:cubicBezTo>
                    <a:pt x="940" y="0"/>
                    <a:pt x="550" y="20"/>
                    <a:pt x="296" y="259"/>
                  </a:cubicBezTo>
                  <a:cubicBezTo>
                    <a:pt x="1" y="553"/>
                    <a:pt x="10" y="1050"/>
                    <a:pt x="10" y="1050"/>
                  </a:cubicBezTo>
                  <a:cubicBezTo>
                    <a:pt x="10" y="1050"/>
                    <a:pt x="23" y="1051"/>
                    <a:pt x="45" y="1051"/>
                  </a:cubicBezTo>
                  <a:cubicBezTo>
                    <a:pt x="162" y="1051"/>
                    <a:pt x="554" y="1032"/>
                    <a:pt x="802" y="784"/>
                  </a:cubicBezTo>
                  <a:cubicBezTo>
                    <a:pt x="1106" y="498"/>
                    <a:pt x="1097" y="1"/>
                    <a:pt x="1097" y="1"/>
                  </a:cubicBezTo>
                  <a:cubicBezTo>
                    <a:pt x="1097" y="1"/>
                    <a:pt x="1083" y="0"/>
                    <a:pt x="1060" y="0"/>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72" name="Google Shape;3410;p45"/>
            <p:cNvSpPr/>
            <p:nvPr/>
          </p:nvSpPr>
          <p:spPr>
            <a:xfrm>
              <a:off x="4311600" y="1197500"/>
              <a:ext cx="38925" cy="60100"/>
            </a:xfrm>
            <a:custGeom>
              <a:avLst/>
              <a:gdLst/>
              <a:ahLst/>
              <a:cxnLst/>
              <a:rect l="l" t="t" r="r" b="b"/>
              <a:pathLst>
                <a:path w="1557" h="2404" extrusionOk="0">
                  <a:moveTo>
                    <a:pt x="424" y="0"/>
                  </a:moveTo>
                  <a:cubicBezTo>
                    <a:pt x="424" y="0"/>
                    <a:pt x="1" y="709"/>
                    <a:pt x="194" y="1372"/>
                  </a:cubicBezTo>
                  <a:cubicBezTo>
                    <a:pt x="397" y="2035"/>
                    <a:pt x="1133" y="2403"/>
                    <a:pt x="1133" y="2403"/>
                  </a:cubicBezTo>
                  <a:cubicBezTo>
                    <a:pt x="1133" y="2403"/>
                    <a:pt x="1557" y="1694"/>
                    <a:pt x="1363" y="1031"/>
                  </a:cubicBezTo>
                  <a:cubicBezTo>
                    <a:pt x="1161" y="369"/>
                    <a:pt x="424" y="0"/>
                    <a:pt x="424" y="0"/>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73" name="Google Shape;3411;p45"/>
            <p:cNvSpPr/>
            <p:nvPr/>
          </p:nvSpPr>
          <p:spPr>
            <a:xfrm>
              <a:off x="4296425" y="1228800"/>
              <a:ext cx="40300" cy="58700"/>
            </a:xfrm>
            <a:custGeom>
              <a:avLst/>
              <a:gdLst/>
              <a:ahLst/>
              <a:cxnLst/>
              <a:rect l="l" t="t" r="r" b="b"/>
              <a:pathLst>
                <a:path w="1612" h="2348" extrusionOk="0">
                  <a:moveTo>
                    <a:pt x="1243" y="0"/>
                  </a:moveTo>
                  <a:cubicBezTo>
                    <a:pt x="1243" y="0"/>
                    <a:pt x="479" y="313"/>
                    <a:pt x="240" y="967"/>
                  </a:cubicBezTo>
                  <a:cubicBezTo>
                    <a:pt x="0" y="1611"/>
                    <a:pt x="378" y="2348"/>
                    <a:pt x="378" y="2348"/>
                  </a:cubicBezTo>
                  <a:cubicBezTo>
                    <a:pt x="378" y="2348"/>
                    <a:pt x="1133" y="2026"/>
                    <a:pt x="1372" y="1381"/>
                  </a:cubicBezTo>
                  <a:cubicBezTo>
                    <a:pt x="1611" y="737"/>
                    <a:pt x="1243" y="0"/>
                    <a:pt x="1243" y="0"/>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74" name="Google Shape;3412;p45"/>
            <p:cNvSpPr/>
            <p:nvPr/>
          </p:nvSpPr>
          <p:spPr>
            <a:xfrm>
              <a:off x="4343825" y="1238000"/>
              <a:ext cx="31325" cy="62175"/>
            </a:xfrm>
            <a:custGeom>
              <a:avLst/>
              <a:gdLst/>
              <a:ahLst/>
              <a:cxnLst/>
              <a:rect l="l" t="t" r="r" b="b"/>
              <a:pathLst>
                <a:path w="1253" h="2487" extrusionOk="0">
                  <a:moveTo>
                    <a:pt x="673" y="1"/>
                  </a:moveTo>
                  <a:cubicBezTo>
                    <a:pt x="673" y="1"/>
                    <a:pt x="47" y="544"/>
                    <a:pt x="28" y="1225"/>
                  </a:cubicBezTo>
                  <a:cubicBezTo>
                    <a:pt x="1" y="1906"/>
                    <a:pt x="581" y="2486"/>
                    <a:pt x="581" y="2486"/>
                  </a:cubicBezTo>
                  <a:cubicBezTo>
                    <a:pt x="581" y="2486"/>
                    <a:pt x="1207" y="1952"/>
                    <a:pt x="1234" y="1262"/>
                  </a:cubicBezTo>
                  <a:cubicBezTo>
                    <a:pt x="1253" y="571"/>
                    <a:pt x="673" y="1"/>
                    <a:pt x="673" y="1"/>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75" name="Google Shape;3413;p45"/>
            <p:cNvSpPr/>
            <p:nvPr/>
          </p:nvSpPr>
          <p:spPr>
            <a:xfrm>
              <a:off x="4344975" y="1197500"/>
              <a:ext cx="43525" cy="54100"/>
            </a:xfrm>
            <a:custGeom>
              <a:avLst/>
              <a:gdLst/>
              <a:ahLst/>
              <a:cxnLst/>
              <a:rect l="l" t="t" r="r" b="b"/>
              <a:pathLst>
                <a:path w="1741" h="2164" extrusionOk="0">
                  <a:moveTo>
                    <a:pt x="240" y="0"/>
                  </a:moveTo>
                  <a:lnTo>
                    <a:pt x="240" y="0"/>
                  </a:lnTo>
                  <a:cubicBezTo>
                    <a:pt x="240" y="0"/>
                    <a:pt x="1" y="792"/>
                    <a:pt x="341" y="1381"/>
                  </a:cubicBezTo>
                  <a:cubicBezTo>
                    <a:pt x="691" y="1980"/>
                    <a:pt x="1492" y="2164"/>
                    <a:pt x="1492" y="2164"/>
                  </a:cubicBezTo>
                  <a:cubicBezTo>
                    <a:pt x="1492" y="2164"/>
                    <a:pt x="1741" y="1381"/>
                    <a:pt x="1391" y="783"/>
                  </a:cubicBezTo>
                  <a:cubicBezTo>
                    <a:pt x="1050" y="185"/>
                    <a:pt x="240" y="0"/>
                    <a:pt x="240" y="0"/>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76" name="Google Shape;3414;p45"/>
            <p:cNvSpPr/>
            <p:nvPr/>
          </p:nvSpPr>
          <p:spPr>
            <a:xfrm>
              <a:off x="4311150" y="1264250"/>
              <a:ext cx="45125" cy="48575"/>
            </a:xfrm>
            <a:custGeom>
              <a:avLst/>
              <a:gdLst/>
              <a:ahLst/>
              <a:cxnLst/>
              <a:rect l="l" t="t" r="r" b="b"/>
              <a:pathLst>
                <a:path w="1805" h="1943" extrusionOk="0">
                  <a:moveTo>
                    <a:pt x="1685" y="0"/>
                  </a:moveTo>
                  <a:lnTo>
                    <a:pt x="1685" y="0"/>
                  </a:lnTo>
                  <a:cubicBezTo>
                    <a:pt x="1685" y="0"/>
                    <a:pt x="866" y="55"/>
                    <a:pt x="433" y="599"/>
                  </a:cubicBezTo>
                  <a:cubicBezTo>
                    <a:pt x="0" y="1133"/>
                    <a:pt x="120" y="1943"/>
                    <a:pt x="120" y="1943"/>
                  </a:cubicBezTo>
                  <a:cubicBezTo>
                    <a:pt x="120" y="1943"/>
                    <a:pt x="939" y="1887"/>
                    <a:pt x="1372" y="1353"/>
                  </a:cubicBezTo>
                  <a:cubicBezTo>
                    <a:pt x="1805" y="820"/>
                    <a:pt x="1685" y="0"/>
                    <a:pt x="1685" y="0"/>
                  </a:cubicBez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77" name="Google Shape;3415;p45"/>
            <p:cNvSpPr/>
            <p:nvPr/>
          </p:nvSpPr>
          <p:spPr>
            <a:xfrm>
              <a:off x="3108825" y="1413850"/>
              <a:ext cx="449975" cy="875975"/>
            </a:xfrm>
            <a:custGeom>
              <a:avLst/>
              <a:gdLst/>
              <a:ahLst/>
              <a:cxnLst/>
              <a:rect l="l" t="t" r="r" b="b"/>
              <a:pathLst>
                <a:path w="17999" h="35039" extrusionOk="0">
                  <a:moveTo>
                    <a:pt x="2431" y="0"/>
                  </a:moveTo>
                  <a:lnTo>
                    <a:pt x="0" y="35039"/>
                  </a:lnTo>
                  <a:lnTo>
                    <a:pt x="15559" y="35039"/>
                  </a:lnTo>
                  <a:lnTo>
                    <a:pt x="17998" y="0"/>
                  </a:lnTo>
                  <a:close/>
                </a:path>
              </a:pathLst>
            </a:custGeom>
            <a:solidFill>
              <a:srgbClr val="F5F5F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78" name="Google Shape;3416;p45"/>
            <p:cNvSpPr/>
            <p:nvPr/>
          </p:nvSpPr>
          <p:spPr>
            <a:xfrm>
              <a:off x="3497775" y="1413850"/>
              <a:ext cx="68400" cy="875975"/>
            </a:xfrm>
            <a:custGeom>
              <a:avLst/>
              <a:gdLst/>
              <a:ahLst/>
              <a:cxnLst/>
              <a:rect l="l" t="t" r="r" b="b"/>
              <a:pathLst>
                <a:path w="2736" h="35039" extrusionOk="0">
                  <a:moveTo>
                    <a:pt x="2440" y="0"/>
                  </a:moveTo>
                  <a:lnTo>
                    <a:pt x="1" y="35039"/>
                  </a:lnTo>
                  <a:lnTo>
                    <a:pt x="305" y="35039"/>
                  </a:lnTo>
                  <a:lnTo>
                    <a:pt x="2735" y="0"/>
                  </a:lnTo>
                  <a:close/>
                </a:path>
              </a:pathLst>
            </a:custGeom>
            <a:solidFill>
              <a:srgbClr val="E6E6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79" name="Google Shape;3417;p45"/>
            <p:cNvSpPr/>
            <p:nvPr/>
          </p:nvSpPr>
          <p:spPr>
            <a:xfrm>
              <a:off x="3071550" y="2384175"/>
              <a:ext cx="1624200" cy="94850"/>
            </a:xfrm>
            <a:custGeom>
              <a:avLst/>
              <a:gdLst/>
              <a:ahLst/>
              <a:cxnLst/>
              <a:rect l="l" t="t" r="r" b="b"/>
              <a:pathLst>
                <a:path w="64968" h="3794" extrusionOk="0">
                  <a:moveTo>
                    <a:pt x="32489" y="0"/>
                  </a:moveTo>
                  <a:cubicBezTo>
                    <a:pt x="14546" y="0"/>
                    <a:pt x="0" y="847"/>
                    <a:pt x="0" y="1897"/>
                  </a:cubicBezTo>
                  <a:cubicBezTo>
                    <a:pt x="0" y="2946"/>
                    <a:pt x="14546" y="3793"/>
                    <a:pt x="32489" y="3793"/>
                  </a:cubicBezTo>
                  <a:cubicBezTo>
                    <a:pt x="50422" y="3793"/>
                    <a:pt x="64968" y="2946"/>
                    <a:pt x="64968" y="1897"/>
                  </a:cubicBezTo>
                  <a:cubicBezTo>
                    <a:pt x="64968" y="847"/>
                    <a:pt x="50422" y="0"/>
                    <a:pt x="32489" y="0"/>
                  </a:cubicBezTo>
                  <a:close/>
                </a:path>
              </a:pathLst>
            </a:custGeom>
            <a:solidFill>
              <a:srgbClr val="2D56B2"/>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80" name="Google Shape;3418;p45"/>
            <p:cNvSpPr/>
            <p:nvPr/>
          </p:nvSpPr>
          <p:spPr>
            <a:xfrm>
              <a:off x="3204325" y="1144750"/>
              <a:ext cx="482650" cy="344775"/>
            </a:xfrm>
            <a:custGeom>
              <a:avLst/>
              <a:gdLst/>
              <a:ahLst/>
              <a:cxnLst/>
              <a:rect l="l" t="t" r="r" b="b"/>
              <a:pathLst>
                <a:path w="19306" h="13791" extrusionOk="0">
                  <a:moveTo>
                    <a:pt x="16783" y="1"/>
                  </a:moveTo>
                  <a:cubicBezTo>
                    <a:pt x="11443" y="1"/>
                    <a:pt x="5852" y="1480"/>
                    <a:pt x="590" y="4320"/>
                  </a:cubicBezTo>
                  <a:cubicBezTo>
                    <a:pt x="259" y="4486"/>
                    <a:pt x="1" y="4909"/>
                    <a:pt x="1" y="5240"/>
                  </a:cubicBezTo>
                  <a:lnTo>
                    <a:pt x="1" y="13434"/>
                  </a:lnTo>
                  <a:cubicBezTo>
                    <a:pt x="1" y="13662"/>
                    <a:pt x="124" y="13790"/>
                    <a:pt x="308" y="13790"/>
                  </a:cubicBezTo>
                  <a:cubicBezTo>
                    <a:pt x="392" y="13790"/>
                    <a:pt x="487" y="13764"/>
                    <a:pt x="590" y="13710"/>
                  </a:cubicBezTo>
                  <a:cubicBezTo>
                    <a:pt x="5843" y="10883"/>
                    <a:pt x="11424" y="9398"/>
                    <a:pt x="16755" y="9398"/>
                  </a:cubicBezTo>
                  <a:cubicBezTo>
                    <a:pt x="17414" y="9398"/>
                    <a:pt x="18068" y="9421"/>
                    <a:pt x="18717" y="9466"/>
                  </a:cubicBezTo>
                  <a:cubicBezTo>
                    <a:pt x="18728" y="9467"/>
                    <a:pt x="18739" y="9467"/>
                    <a:pt x="18750" y="9467"/>
                  </a:cubicBezTo>
                  <a:cubicBezTo>
                    <a:pt x="19057" y="9467"/>
                    <a:pt x="19306" y="9216"/>
                    <a:pt x="19297" y="8904"/>
                  </a:cubicBezTo>
                  <a:lnTo>
                    <a:pt x="19297" y="711"/>
                  </a:lnTo>
                  <a:cubicBezTo>
                    <a:pt x="19297" y="380"/>
                    <a:pt x="19049" y="103"/>
                    <a:pt x="18717" y="67"/>
                  </a:cubicBezTo>
                  <a:cubicBezTo>
                    <a:pt x="18077" y="23"/>
                    <a:pt x="17431" y="1"/>
                    <a:pt x="16783" y="1"/>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81" name="Google Shape;3419;p45"/>
            <p:cNvSpPr/>
            <p:nvPr/>
          </p:nvSpPr>
          <p:spPr>
            <a:xfrm>
              <a:off x="3256125" y="1221550"/>
              <a:ext cx="142475" cy="158725"/>
            </a:xfrm>
            <a:custGeom>
              <a:avLst/>
              <a:gdLst/>
              <a:ahLst/>
              <a:cxnLst/>
              <a:rect l="l" t="t" r="r" b="b"/>
              <a:pathLst>
                <a:path w="5699" h="6349" extrusionOk="0">
                  <a:moveTo>
                    <a:pt x="4795" y="0"/>
                  </a:moveTo>
                  <a:cubicBezTo>
                    <a:pt x="3579" y="0"/>
                    <a:pt x="2209" y="823"/>
                    <a:pt x="1280" y="2168"/>
                  </a:cubicBezTo>
                  <a:cubicBezTo>
                    <a:pt x="267" y="3641"/>
                    <a:pt x="0" y="5335"/>
                    <a:pt x="599" y="6348"/>
                  </a:cubicBezTo>
                  <a:cubicBezTo>
                    <a:pt x="1630" y="5391"/>
                    <a:pt x="2670" y="4479"/>
                    <a:pt x="3710" y="3623"/>
                  </a:cubicBezTo>
                  <a:cubicBezTo>
                    <a:pt x="4364" y="2454"/>
                    <a:pt x="5027" y="1294"/>
                    <a:pt x="5699" y="171"/>
                  </a:cubicBezTo>
                  <a:cubicBezTo>
                    <a:pt x="5415" y="55"/>
                    <a:pt x="5110" y="0"/>
                    <a:pt x="4795" y="0"/>
                  </a:cubicBez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82" name="Google Shape;3420;p45"/>
            <p:cNvSpPr/>
            <p:nvPr/>
          </p:nvSpPr>
          <p:spPr>
            <a:xfrm>
              <a:off x="3271075" y="1225800"/>
              <a:ext cx="172425" cy="178025"/>
            </a:xfrm>
            <a:custGeom>
              <a:avLst/>
              <a:gdLst/>
              <a:ahLst/>
              <a:cxnLst/>
              <a:rect l="l" t="t" r="r" b="b"/>
              <a:pathLst>
                <a:path w="6897" h="7121" extrusionOk="0">
                  <a:moveTo>
                    <a:pt x="5092" y="1"/>
                  </a:moveTo>
                  <a:cubicBezTo>
                    <a:pt x="4429" y="1124"/>
                    <a:pt x="3766" y="2275"/>
                    <a:pt x="3112" y="3453"/>
                  </a:cubicBezTo>
                  <a:cubicBezTo>
                    <a:pt x="2063" y="4309"/>
                    <a:pt x="1032" y="5221"/>
                    <a:pt x="1" y="6187"/>
                  </a:cubicBezTo>
                  <a:cubicBezTo>
                    <a:pt x="157" y="6463"/>
                    <a:pt x="397" y="6694"/>
                    <a:pt x="673" y="6850"/>
                  </a:cubicBezTo>
                  <a:cubicBezTo>
                    <a:pt x="1008" y="7034"/>
                    <a:pt x="1399" y="7121"/>
                    <a:pt x="1818" y="7121"/>
                  </a:cubicBezTo>
                  <a:cubicBezTo>
                    <a:pt x="3059" y="7121"/>
                    <a:pt x="4547" y="6360"/>
                    <a:pt x="5552" y="5101"/>
                  </a:cubicBezTo>
                  <a:cubicBezTo>
                    <a:pt x="6896" y="3416"/>
                    <a:pt x="6896" y="1225"/>
                    <a:pt x="5552" y="249"/>
                  </a:cubicBezTo>
                  <a:cubicBezTo>
                    <a:pt x="5414" y="148"/>
                    <a:pt x="5258" y="65"/>
                    <a:pt x="5092"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83" name="Google Shape;3421;p45"/>
            <p:cNvSpPr/>
            <p:nvPr/>
          </p:nvSpPr>
          <p:spPr>
            <a:xfrm>
              <a:off x="3552325" y="1252050"/>
              <a:ext cx="32700" cy="99225"/>
            </a:xfrm>
            <a:custGeom>
              <a:avLst/>
              <a:gdLst/>
              <a:ahLst/>
              <a:cxnLst/>
              <a:rect l="l" t="t" r="r" b="b"/>
              <a:pathLst>
                <a:path w="1308" h="3969" extrusionOk="0">
                  <a:moveTo>
                    <a:pt x="1308" y="0"/>
                  </a:moveTo>
                  <a:cubicBezTo>
                    <a:pt x="875" y="28"/>
                    <a:pt x="433" y="55"/>
                    <a:pt x="1" y="101"/>
                  </a:cubicBezTo>
                  <a:lnTo>
                    <a:pt x="1" y="3968"/>
                  </a:lnTo>
                  <a:cubicBezTo>
                    <a:pt x="433" y="3931"/>
                    <a:pt x="875" y="3894"/>
                    <a:pt x="1308" y="3876"/>
                  </a:cubicBezTo>
                  <a:lnTo>
                    <a:pt x="1308"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84" name="Google Shape;3422;p45"/>
            <p:cNvSpPr/>
            <p:nvPr/>
          </p:nvSpPr>
          <p:spPr>
            <a:xfrm>
              <a:off x="3496625" y="1308650"/>
              <a:ext cx="32950" cy="49975"/>
            </a:xfrm>
            <a:custGeom>
              <a:avLst/>
              <a:gdLst/>
              <a:ahLst/>
              <a:cxnLst/>
              <a:rect l="l" t="t" r="r" b="b"/>
              <a:pathLst>
                <a:path w="1318" h="1999" extrusionOk="0">
                  <a:moveTo>
                    <a:pt x="1317" y="1"/>
                  </a:moveTo>
                  <a:cubicBezTo>
                    <a:pt x="875" y="56"/>
                    <a:pt x="443" y="121"/>
                    <a:pt x="1" y="194"/>
                  </a:cubicBezTo>
                  <a:lnTo>
                    <a:pt x="1" y="1999"/>
                  </a:lnTo>
                  <a:cubicBezTo>
                    <a:pt x="443" y="1925"/>
                    <a:pt x="875" y="1861"/>
                    <a:pt x="1317" y="1805"/>
                  </a:cubicBezTo>
                  <a:lnTo>
                    <a:pt x="1317" y="1"/>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85" name="Google Shape;3423;p45"/>
            <p:cNvSpPr/>
            <p:nvPr/>
          </p:nvSpPr>
          <p:spPr>
            <a:xfrm>
              <a:off x="3496625" y="1281050"/>
              <a:ext cx="32950" cy="32475"/>
            </a:xfrm>
            <a:custGeom>
              <a:avLst/>
              <a:gdLst/>
              <a:ahLst/>
              <a:cxnLst/>
              <a:rect l="l" t="t" r="r" b="b"/>
              <a:pathLst>
                <a:path w="1318" h="1299" extrusionOk="0">
                  <a:moveTo>
                    <a:pt x="1317" y="0"/>
                  </a:moveTo>
                  <a:cubicBezTo>
                    <a:pt x="875" y="46"/>
                    <a:pt x="443" y="111"/>
                    <a:pt x="1" y="194"/>
                  </a:cubicBezTo>
                  <a:lnTo>
                    <a:pt x="1" y="1298"/>
                  </a:lnTo>
                  <a:cubicBezTo>
                    <a:pt x="443" y="1225"/>
                    <a:pt x="875" y="1160"/>
                    <a:pt x="1317" y="1105"/>
                  </a:cubicBezTo>
                  <a:lnTo>
                    <a:pt x="1317" y="0"/>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86" name="Google Shape;3424;p45"/>
            <p:cNvSpPr/>
            <p:nvPr/>
          </p:nvSpPr>
          <p:spPr>
            <a:xfrm>
              <a:off x="3552325" y="1193125"/>
              <a:ext cx="32700" cy="61475"/>
            </a:xfrm>
            <a:custGeom>
              <a:avLst/>
              <a:gdLst/>
              <a:ahLst/>
              <a:cxnLst/>
              <a:rect l="l" t="t" r="r" b="b"/>
              <a:pathLst>
                <a:path w="1308" h="2459" extrusionOk="0">
                  <a:moveTo>
                    <a:pt x="1308" y="0"/>
                  </a:moveTo>
                  <a:cubicBezTo>
                    <a:pt x="875" y="19"/>
                    <a:pt x="433" y="56"/>
                    <a:pt x="1" y="102"/>
                  </a:cubicBezTo>
                  <a:lnTo>
                    <a:pt x="1" y="2458"/>
                  </a:lnTo>
                  <a:cubicBezTo>
                    <a:pt x="433" y="2412"/>
                    <a:pt x="875" y="2385"/>
                    <a:pt x="1308" y="2357"/>
                  </a:cubicBezTo>
                  <a:lnTo>
                    <a:pt x="1308" y="0"/>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87" name="Google Shape;3425;p45"/>
            <p:cNvSpPr/>
            <p:nvPr/>
          </p:nvSpPr>
          <p:spPr>
            <a:xfrm>
              <a:off x="3607575" y="1268675"/>
              <a:ext cx="32250" cy="79375"/>
            </a:xfrm>
            <a:custGeom>
              <a:avLst/>
              <a:gdLst/>
              <a:ahLst/>
              <a:cxnLst/>
              <a:rect l="l" t="t" r="r" b="b"/>
              <a:pathLst>
                <a:path w="1290" h="3175" extrusionOk="0">
                  <a:moveTo>
                    <a:pt x="648" y="0"/>
                  </a:moveTo>
                  <a:cubicBezTo>
                    <a:pt x="433" y="0"/>
                    <a:pt x="217" y="3"/>
                    <a:pt x="0" y="7"/>
                  </a:cubicBezTo>
                  <a:lnTo>
                    <a:pt x="0" y="3174"/>
                  </a:lnTo>
                  <a:cubicBezTo>
                    <a:pt x="217" y="3170"/>
                    <a:pt x="433" y="3167"/>
                    <a:pt x="648" y="3167"/>
                  </a:cubicBezTo>
                  <a:cubicBezTo>
                    <a:pt x="863" y="3167"/>
                    <a:pt x="1077" y="3170"/>
                    <a:pt x="1289" y="3174"/>
                  </a:cubicBezTo>
                  <a:lnTo>
                    <a:pt x="1289" y="7"/>
                  </a:lnTo>
                  <a:cubicBezTo>
                    <a:pt x="1077" y="3"/>
                    <a:pt x="863" y="0"/>
                    <a:pt x="648"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88" name="Google Shape;3426;p45"/>
            <p:cNvSpPr/>
            <p:nvPr/>
          </p:nvSpPr>
          <p:spPr>
            <a:xfrm>
              <a:off x="3607575" y="1232300"/>
              <a:ext cx="32250" cy="36575"/>
            </a:xfrm>
            <a:custGeom>
              <a:avLst/>
              <a:gdLst/>
              <a:ahLst/>
              <a:cxnLst/>
              <a:rect l="l" t="t" r="r" b="b"/>
              <a:pathLst>
                <a:path w="1290" h="1463" extrusionOk="0">
                  <a:moveTo>
                    <a:pt x="648" y="1"/>
                  </a:moveTo>
                  <a:cubicBezTo>
                    <a:pt x="433" y="1"/>
                    <a:pt x="217" y="3"/>
                    <a:pt x="0" y="8"/>
                  </a:cubicBezTo>
                  <a:lnTo>
                    <a:pt x="0" y="1462"/>
                  </a:lnTo>
                  <a:cubicBezTo>
                    <a:pt x="217" y="1458"/>
                    <a:pt x="433" y="1455"/>
                    <a:pt x="648" y="1455"/>
                  </a:cubicBezTo>
                  <a:cubicBezTo>
                    <a:pt x="863" y="1455"/>
                    <a:pt x="1077" y="1458"/>
                    <a:pt x="1289" y="1462"/>
                  </a:cubicBezTo>
                  <a:lnTo>
                    <a:pt x="1289" y="8"/>
                  </a:lnTo>
                  <a:cubicBezTo>
                    <a:pt x="1077" y="3"/>
                    <a:pt x="863" y="1"/>
                    <a:pt x="648" y="1"/>
                  </a:cubicBez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89" name="Google Shape;3427;p45"/>
            <p:cNvSpPr/>
            <p:nvPr/>
          </p:nvSpPr>
          <p:spPr>
            <a:xfrm>
              <a:off x="3976525" y="1214125"/>
              <a:ext cx="482625" cy="345550"/>
            </a:xfrm>
            <a:custGeom>
              <a:avLst/>
              <a:gdLst/>
              <a:ahLst/>
              <a:cxnLst/>
              <a:rect l="l" t="t" r="r" b="b"/>
              <a:pathLst>
                <a:path w="19305" h="13822" extrusionOk="0">
                  <a:moveTo>
                    <a:pt x="2480" y="0"/>
                  </a:moveTo>
                  <a:cubicBezTo>
                    <a:pt x="1849" y="0"/>
                    <a:pt x="1221" y="21"/>
                    <a:pt x="598" y="63"/>
                  </a:cubicBezTo>
                  <a:cubicBezTo>
                    <a:pt x="267" y="99"/>
                    <a:pt x="9" y="376"/>
                    <a:pt x="9" y="707"/>
                  </a:cubicBezTo>
                  <a:lnTo>
                    <a:pt x="9" y="8901"/>
                  </a:lnTo>
                  <a:cubicBezTo>
                    <a:pt x="0" y="9207"/>
                    <a:pt x="249" y="9455"/>
                    <a:pt x="551" y="9455"/>
                  </a:cubicBezTo>
                  <a:cubicBezTo>
                    <a:pt x="566" y="9455"/>
                    <a:pt x="582" y="9454"/>
                    <a:pt x="598" y="9453"/>
                  </a:cubicBezTo>
                  <a:cubicBezTo>
                    <a:pt x="1221" y="9411"/>
                    <a:pt x="1849" y="9390"/>
                    <a:pt x="2480" y="9390"/>
                  </a:cubicBezTo>
                  <a:cubicBezTo>
                    <a:pt x="7834" y="9390"/>
                    <a:pt x="13438" y="10885"/>
                    <a:pt x="18725" y="13743"/>
                  </a:cubicBezTo>
                  <a:cubicBezTo>
                    <a:pt x="18825" y="13796"/>
                    <a:pt x="18918" y="13821"/>
                    <a:pt x="18999" y="13821"/>
                  </a:cubicBezTo>
                  <a:cubicBezTo>
                    <a:pt x="19184" y="13821"/>
                    <a:pt x="19305" y="13688"/>
                    <a:pt x="19305" y="13458"/>
                  </a:cubicBezTo>
                  <a:lnTo>
                    <a:pt x="19305" y="5273"/>
                  </a:lnTo>
                  <a:cubicBezTo>
                    <a:pt x="19305" y="4942"/>
                    <a:pt x="19047" y="4528"/>
                    <a:pt x="18725" y="4353"/>
                  </a:cubicBezTo>
                  <a:cubicBezTo>
                    <a:pt x="13438" y="1495"/>
                    <a:pt x="7834" y="0"/>
                    <a:pt x="2480"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90" name="Google Shape;3428;p45"/>
            <p:cNvSpPr/>
            <p:nvPr/>
          </p:nvSpPr>
          <p:spPr>
            <a:xfrm>
              <a:off x="4049700" y="1249975"/>
              <a:ext cx="372625" cy="260325"/>
            </a:xfrm>
            <a:custGeom>
              <a:avLst/>
              <a:gdLst/>
              <a:ahLst/>
              <a:cxnLst/>
              <a:rect l="l" t="t" r="r" b="b"/>
              <a:pathLst>
                <a:path w="14905" h="10413" extrusionOk="0">
                  <a:moveTo>
                    <a:pt x="101" y="102"/>
                  </a:moveTo>
                  <a:cubicBezTo>
                    <a:pt x="4953" y="194"/>
                    <a:pt x="9998" y="1501"/>
                    <a:pt x="14804" y="3922"/>
                  </a:cubicBezTo>
                  <a:lnTo>
                    <a:pt x="14804" y="10265"/>
                  </a:lnTo>
                  <a:cubicBezTo>
                    <a:pt x="9998" y="7835"/>
                    <a:pt x="4953" y="6528"/>
                    <a:pt x="101" y="6435"/>
                  </a:cubicBezTo>
                  <a:lnTo>
                    <a:pt x="101" y="102"/>
                  </a:lnTo>
                  <a:close/>
                  <a:moveTo>
                    <a:pt x="0" y="0"/>
                  </a:moveTo>
                  <a:lnTo>
                    <a:pt x="0" y="6537"/>
                  </a:lnTo>
                  <a:cubicBezTo>
                    <a:pt x="4916" y="6610"/>
                    <a:pt x="10035" y="7936"/>
                    <a:pt x="14905" y="10412"/>
                  </a:cubicBezTo>
                  <a:lnTo>
                    <a:pt x="14905" y="3876"/>
                  </a:lnTo>
                  <a:cubicBezTo>
                    <a:pt x="10035" y="1400"/>
                    <a:pt x="4916" y="74"/>
                    <a:pt x="0"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91" name="Google Shape;3429;p45"/>
            <p:cNvSpPr/>
            <p:nvPr/>
          </p:nvSpPr>
          <p:spPr>
            <a:xfrm>
              <a:off x="4051075" y="1272975"/>
              <a:ext cx="370100" cy="98775"/>
            </a:xfrm>
            <a:custGeom>
              <a:avLst/>
              <a:gdLst/>
              <a:ahLst/>
              <a:cxnLst/>
              <a:rect l="l" t="t" r="r" b="b"/>
              <a:pathLst>
                <a:path w="14804" h="3951" extrusionOk="0">
                  <a:moveTo>
                    <a:pt x="0" y="1"/>
                  </a:moveTo>
                  <a:lnTo>
                    <a:pt x="0" y="102"/>
                  </a:lnTo>
                  <a:cubicBezTo>
                    <a:pt x="4880" y="185"/>
                    <a:pt x="9962" y="1502"/>
                    <a:pt x="14804" y="3950"/>
                  </a:cubicBezTo>
                  <a:lnTo>
                    <a:pt x="14804" y="3849"/>
                  </a:lnTo>
                  <a:cubicBezTo>
                    <a:pt x="9962" y="1400"/>
                    <a:pt x="4880" y="84"/>
                    <a:pt x="0"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92" name="Google Shape;3430;p45"/>
            <p:cNvSpPr/>
            <p:nvPr/>
          </p:nvSpPr>
          <p:spPr>
            <a:xfrm>
              <a:off x="4051075" y="1295775"/>
              <a:ext cx="370100" cy="99000"/>
            </a:xfrm>
            <a:custGeom>
              <a:avLst/>
              <a:gdLst/>
              <a:ahLst/>
              <a:cxnLst/>
              <a:rect l="l" t="t" r="r" b="b"/>
              <a:pathLst>
                <a:path w="14804" h="3960" extrusionOk="0">
                  <a:moveTo>
                    <a:pt x="0" y="0"/>
                  </a:moveTo>
                  <a:lnTo>
                    <a:pt x="0" y="102"/>
                  </a:lnTo>
                  <a:cubicBezTo>
                    <a:pt x="4880" y="185"/>
                    <a:pt x="9962" y="1510"/>
                    <a:pt x="14804" y="3959"/>
                  </a:cubicBezTo>
                  <a:lnTo>
                    <a:pt x="14804" y="3858"/>
                  </a:lnTo>
                  <a:cubicBezTo>
                    <a:pt x="9962" y="1400"/>
                    <a:pt x="4880" y="83"/>
                    <a:pt x="0"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93" name="Google Shape;3431;p45"/>
            <p:cNvSpPr/>
            <p:nvPr/>
          </p:nvSpPr>
          <p:spPr>
            <a:xfrm>
              <a:off x="4051075" y="1318800"/>
              <a:ext cx="370100" cy="98975"/>
            </a:xfrm>
            <a:custGeom>
              <a:avLst/>
              <a:gdLst/>
              <a:ahLst/>
              <a:cxnLst/>
              <a:rect l="l" t="t" r="r" b="b"/>
              <a:pathLst>
                <a:path w="14804" h="3959" extrusionOk="0">
                  <a:moveTo>
                    <a:pt x="0" y="0"/>
                  </a:moveTo>
                  <a:lnTo>
                    <a:pt x="0" y="101"/>
                  </a:lnTo>
                  <a:cubicBezTo>
                    <a:pt x="4880" y="184"/>
                    <a:pt x="9962" y="1510"/>
                    <a:pt x="14804" y="3959"/>
                  </a:cubicBezTo>
                  <a:lnTo>
                    <a:pt x="14804" y="3857"/>
                  </a:lnTo>
                  <a:cubicBezTo>
                    <a:pt x="9962" y="1399"/>
                    <a:pt x="4880" y="83"/>
                    <a:pt x="0"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94" name="Google Shape;3432;p45"/>
            <p:cNvSpPr/>
            <p:nvPr/>
          </p:nvSpPr>
          <p:spPr>
            <a:xfrm>
              <a:off x="4051075" y="1341800"/>
              <a:ext cx="370100" cy="99000"/>
            </a:xfrm>
            <a:custGeom>
              <a:avLst/>
              <a:gdLst/>
              <a:ahLst/>
              <a:cxnLst/>
              <a:rect l="l" t="t" r="r" b="b"/>
              <a:pathLst>
                <a:path w="14804" h="3960" extrusionOk="0">
                  <a:moveTo>
                    <a:pt x="0" y="1"/>
                  </a:moveTo>
                  <a:lnTo>
                    <a:pt x="0" y="102"/>
                  </a:lnTo>
                  <a:cubicBezTo>
                    <a:pt x="4880" y="185"/>
                    <a:pt x="9962" y="1501"/>
                    <a:pt x="14804" y="3959"/>
                  </a:cubicBezTo>
                  <a:lnTo>
                    <a:pt x="14804" y="3858"/>
                  </a:lnTo>
                  <a:cubicBezTo>
                    <a:pt x="9962" y="1400"/>
                    <a:pt x="4880" y="83"/>
                    <a:pt x="0"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95" name="Google Shape;3433;p45"/>
            <p:cNvSpPr/>
            <p:nvPr/>
          </p:nvSpPr>
          <p:spPr>
            <a:xfrm>
              <a:off x="4051075" y="1364825"/>
              <a:ext cx="370100" cy="98750"/>
            </a:xfrm>
            <a:custGeom>
              <a:avLst/>
              <a:gdLst/>
              <a:ahLst/>
              <a:cxnLst/>
              <a:rect l="l" t="t" r="r" b="b"/>
              <a:pathLst>
                <a:path w="14804" h="3950" extrusionOk="0">
                  <a:moveTo>
                    <a:pt x="0" y="0"/>
                  </a:moveTo>
                  <a:lnTo>
                    <a:pt x="0" y="101"/>
                  </a:lnTo>
                  <a:cubicBezTo>
                    <a:pt x="4880" y="184"/>
                    <a:pt x="9962" y="1501"/>
                    <a:pt x="14804" y="3950"/>
                  </a:cubicBezTo>
                  <a:lnTo>
                    <a:pt x="14804" y="3858"/>
                  </a:lnTo>
                  <a:cubicBezTo>
                    <a:pt x="9962" y="1400"/>
                    <a:pt x="4880" y="83"/>
                    <a:pt x="0"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96" name="Google Shape;3434;p45"/>
            <p:cNvSpPr/>
            <p:nvPr/>
          </p:nvSpPr>
          <p:spPr>
            <a:xfrm>
              <a:off x="4051075" y="1387825"/>
              <a:ext cx="370100" cy="98775"/>
            </a:xfrm>
            <a:custGeom>
              <a:avLst/>
              <a:gdLst/>
              <a:ahLst/>
              <a:cxnLst/>
              <a:rect l="l" t="t" r="r" b="b"/>
              <a:pathLst>
                <a:path w="14804" h="3951" extrusionOk="0">
                  <a:moveTo>
                    <a:pt x="0" y="1"/>
                  </a:moveTo>
                  <a:lnTo>
                    <a:pt x="0" y="102"/>
                  </a:lnTo>
                  <a:cubicBezTo>
                    <a:pt x="4880" y="185"/>
                    <a:pt x="9962" y="1501"/>
                    <a:pt x="14804" y="3950"/>
                  </a:cubicBezTo>
                  <a:lnTo>
                    <a:pt x="14804" y="3858"/>
                  </a:lnTo>
                  <a:cubicBezTo>
                    <a:pt x="9962" y="1400"/>
                    <a:pt x="4880" y="84"/>
                    <a:pt x="0"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97" name="Google Shape;3435;p45"/>
            <p:cNvSpPr/>
            <p:nvPr/>
          </p:nvSpPr>
          <p:spPr>
            <a:xfrm>
              <a:off x="4025975" y="1259875"/>
              <a:ext cx="11550" cy="5300"/>
            </a:xfrm>
            <a:custGeom>
              <a:avLst/>
              <a:gdLst/>
              <a:ahLst/>
              <a:cxnLst/>
              <a:rect l="l" t="t" r="r" b="b"/>
              <a:pathLst>
                <a:path w="462" h="212" extrusionOk="0">
                  <a:moveTo>
                    <a:pt x="1" y="0"/>
                  </a:moveTo>
                  <a:lnTo>
                    <a:pt x="1" y="212"/>
                  </a:lnTo>
                  <a:lnTo>
                    <a:pt x="461" y="212"/>
                  </a:lnTo>
                  <a:lnTo>
                    <a:pt x="461"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98" name="Google Shape;3436;p45"/>
            <p:cNvSpPr/>
            <p:nvPr/>
          </p:nvSpPr>
          <p:spPr>
            <a:xfrm>
              <a:off x="4025975" y="1282875"/>
              <a:ext cx="11550" cy="5325"/>
            </a:xfrm>
            <a:custGeom>
              <a:avLst/>
              <a:gdLst/>
              <a:ahLst/>
              <a:cxnLst/>
              <a:rect l="l" t="t" r="r" b="b"/>
              <a:pathLst>
                <a:path w="462" h="213" extrusionOk="0">
                  <a:moveTo>
                    <a:pt x="1" y="1"/>
                  </a:moveTo>
                  <a:lnTo>
                    <a:pt x="1" y="213"/>
                  </a:lnTo>
                  <a:lnTo>
                    <a:pt x="461" y="213"/>
                  </a:lnTo>
                  <a:lnTo>
                    <a:pt x="461" y="1"/>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99" name="Google Shape;3437;p45"/>
            <p:cNvSpPr/>
            <p:nvPr/>
          </p:nvSpPr>
          <p:spPr>
            <a:xfrm>
              <a:off x="4025975" y="1305900"/>
              <a:ext cx="11550" cy="5325"/>
            </a:xfrm>
            <a:custGeom>
              <a:avLst/>
              <a:gdLst/>
              <a:ahLst/>
              <a:cxnLst/>
              <a:rect l="l" t="t" r="r" b="b"/>
              <a:pathLst>
                <a:path w="462" h="213" extrusionOk="0">
                  <a:moveTo>
                    <a:pt x="1" y="0"/>
                  </a:moveTo>
                  <a:lnTo>
                    <a:pt x="1" y="212"/>
                  </a:lnTo>
                  <a:lnTo>
                    <a:pt x="461" y="212"/>
                  </a:lnTo>
                  <a:lnTo>
                    <a:pt x="461"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00" name="Google Shape;3438;p45"/>
            <p:cNvSpPr/>
            <p:nvPr/>
          </p:nvSpPr>
          <p:spPr>
            <a:xfrm>
              <a:off x="4025975" y="1328925"/>
              <a:ext cx="11550" cy="5300"/>
            </a:xfrm>
            <a:custGeom>
              <a:avLst/>
              <a:gdLst/>
              <a:ahLst/>
              <a:cxnLst/>
              <a:rect l="l" t="t" r="r" b="b"/>
              <a:pathLst>
                <a:path w="462" h="212" extrusionOk="0">
                  <a:moveTo>
                    <a:pt x="1" y="0"/>
                  </a:moveTo>
                  <a:lnTo>
                    <a:pt x="1" y="212"/>
                  </a:lnTo>
                  <a:lnTo>
                    <a:pt x="461" y="212"/>
                  </a:lnTo>
                  <a:lnTo>
                    <a:pt x="461"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01" name="Google Shape;3439;p45"/>
            <p:cNvSpPr/>
            <p:nvPr/>
          </p:nvSpPr>
          <p:spPr>
            <a:xfrm>
              <a:off x="4025975" y="1351925"/>
              <a:ext cx="11550" cy="5325"/>
            </a:xfrm>
            <a:custGeom>
              <a:avLst/>
              <a:gdLst/>
              <a:ahLst/>
              <a:cxnLst/>
              <a:rect l="l" t="t" r="r" b="b"/>
              <a:pathLst>
                <a:path w="462" h="213" extrusionOk="0">
                  <a:moveTo>
                    <a:pt x="1" y="1"/>
                  </a:moveTo>
                  <a:lnTo>
                    <a:pt x="1" y="212"/>
                  </a:lnTo>
                  <a:lnTo>
                    <a:pt x="461" y="212"/>
                  </a:lnTo>
                  <a:lnTo>
                    <a:pt x="461" y="1"/>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02" name="Google Shape;3440;p45"/>
            <p:cNvSpPr/>
            <p:nvPr/>
          </p:nvSpPr>
          <p:spPr>
            <a:xfrm>
              <a:off x="4025975" y="1374950"/>
              <a:ext cx="11550" cy="5325"/>
            </a:xfrm>
            <a:custGeom>
              <a:avLst/>
              <a:gdLst/>
              <a:ahLst/>
              <a:cxnLst/>
              <a:rect l="l" t="t" r="r" b="b"/>
              <a:pathLst>
                <a:path w="462" h="213" extrusionOk="0">
                  <a:moveTo>
                    <a:pt x="1" y="0"/>
                  </a:moveTo>
                  <a:lnTo>
                    <a:pt x="1" y="212"/>
                  </a:lnTo>
                  <a:lnTo>
                    <a:pt x="461" y="212"/>
                  </a:lnTo>
                  <a:lnTo>
                    <a:pt x="461"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03" name="Google Shape;3441;p45"/>
            <p:cNvSpPr/>
            <p:nvPr/>
          </p:nvSpPr>
          <p:spPr>
            <a:xfrm>
              <a:off x="4025975" y="1397950"/>
              <a:ext cx="11550" cy="5325"/>
            </a:xfrm>
            <a:custGeom>
              <a:avLst/>
              <a:gdLst/>
              <a:ahLst/>
              <a:cxnLst/>
              <a:rect l="l" t="t" r="r" b="b"/>
              <a:pathLst>
                <a:path w="462" h="213" extrusionOk="0">
                  <a:moveTo>
                    <a:pt x="1" y="1"/>
                  </a:moveTo>
                  <a:lnTo>
                    <a:pt x="1" y="213"/>
                  </a:lnTo>
                  <a:lnTo>
                    <a:pt x="461" y="213"/>
                  </a:lnTo>
                  <a:lnTo>
                    <a:pt x="461" y="1"/>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04" name="Google Shape;3442;p45"/>
            <p:cNvSpPr/>
            <p:nvPr/>
          </p:nvSpPr>
          <p:spPr>
            <a:xfrm>
              <a:off x="4049475" y="1314175"/>
              <a:ext cx="365225" cy="99225"/>
            </a:xfrm>
            <a:custGeom>
              <a:avLst/>
              <a:gdLst/>
              <a:ahLst/>
              <a:cxnLst/>
              <a:rect l="l" t="t" r="r" b="b"/>
              <a:pathLst>
                <a:path w="14609" h="3969" extrusionOk="0">
                  <a:moveTo>
                    <a:pt x="1943" y="1"/>
                  </a:moveTo>
                  <a:cubicBezTo>
                    <a:pt x="1915" y="1"/>
                    <a:pt x="1896" y="10"/>
                    <a:pt x="1887" y="28"/>
                  </a:cubicBezTo>
                  <a:cubicBezTo>
                    <a:pt x="1261" y="1299"/>
                    <a:pt x="635" y="2588"/>
                    <a:pt x="9" y="3895"/>
                  </a:cubicBezTo>
                  <a:cubicBezTo>
                    <a:pt x="0" y="3923"/>
                    <a:pt x="9" y="3960"/>
                    <a:pt x="37" y="3969"/>
                  </a:cubicBezTo>
                  <a:lnTo>
                    <a:pt x="55" y="3969"/>
                  </a:lnTo>
                  <a:cubicBezTo>
                    <a:pt x="74" y="3969"/>
                    <a:pt x="92" y="3960"/>
                    <a:pt x="101" y="3950"/>
                  </a:cubicBezTo>
                  <a:cubicBezTo>
                    <a:pt x="709" y="2671"/>
                    <a:pt x="1316" y="1419"/>
                    <a:pt x="1933" y="185"/>
                  </a:cubicBezTo>
                  <a:cubicBezTo>
                    <a:pt x="2329" y="1069"/>
                    <a:pt x="2734" y="1962"/>
                    <a:pt x="3130" y="2864"/>
                  </a:cubicBezTo>
                  <a:cubicBezTo>
                    <a:pt x="3139" y="2882"/>
                    <a:pt x="3158" y="2901"/>
                    <a:pt x="3176" y="2901"/>
                  </a:cubicBezTo>
                  <a:cubicBezTo>
                    <a:pt x="3182" y="2904"/>
                    <a:pt x="3187" y="2905"/>
                    <a:pt x="3192" y="2905"/>
                  </a:cubicBezTo>
                  <a:cubicBezTo>
                    <a:pt x="3205" y="2905"/>
                    <a:pt x="3216" y="2898"/>
                    <a:pt x="3222" y="2892"/>
                  </a:cubicBezTo>
                  <a:cubicBezTo>
                    <a:pt x="3765" y="2293"/>
                    <a:pt x="4299" y="1713"/>
                    <a:pt x="4833" y="1142"/>
                  </a:cubicBezTo>
                  <a:cubicBezTo>
                    <a:pt x="5100" y="1575"/>
                    <a:pt x="5367" y="2008"/>
                    <a:pt x="5634" y="2450"/>
                  </a:cubicBezTo>
                  <a:cubicBezTo>
                    <a:pt x="5642" y="2465"/>
                    <a:pt x="5668" y="2480"/>
                    <a:pt x="5692" y="2480"/>
                  </a:cubicBezTo>
                  <a:cubicBezTo>
                    <a:pt x="5697" y="2480"/>
                    <a:pt x="5703" y="2479"/>
                    <a:pt x="5708" y="2477"/>
                  </a:cubicBezTo>
                  <a:cubicBezTo>
                    <a:pt x="6408" y="2183"/>
                    <a:pt x="7116" y="1907"/>
                    <a:pt x="7816" y="1658"/>
                  </a:cubicBezTo>
                  <a:cubicBezTo>
                    <a:pt x="8212" y="2174"/>
                    <a:pt x="8617" y="2689"/>
                    <a:pt x="9013" y="3223"/>
                  </a:cubicBezTo>
                  <a:cubicBezTo>
                    <a:pt x="9022" y="3232"/>
                    <a:pt x="9031" y="3241"/>
                    <a:pt x="9050" y="3251"/>
                  </a:cubicBezTo>
                  <a:cubicBezTo>
                    <a:pt x="9068" y="3251"/>
                    <a:pt x="9077" y="3251"/>
                    <a:pt x="9086" y="3241"/>
                  </a:cubicBezTo>
                  <a:cubicBezTo>
                    <a:pt x="9593" y="2800"/>
                    <a:pt x="10090" y="2367"/>
                    <a:pt x="10587" y="1953"/>
                  </a:cubicBezTo>
                  <a:cubicBezTo>
                    <a:pt x="10872" y="1658"/>
                    <a:pt x="11158" y="1363"/>
                    <a:pt x="11443" y="1069"/>
                  </a:cubicBezTo>
                  <a:cubicBezTo>
                    <a:pt x="12493" y="1170"/>
                    <a:pt x="13533" y="1327"/>
                    <a:pt x="14573" y="1529"/>
                  </a:cubicBezTo>
                  <a:cubicBezTo>
                    <a:pt x="14577" y="1530"/>
                    <a:pt x="14580" y="1531"/>
                    <a:pt x="14583" y="1531"/>
                  </a:cubicBezTo>
                  <a:cubicBezTo>
                    <a:pt x="14603" y="1531"/>
                    <a:pt x="14609" y="1507"/>
                    <a:pt x="14601" y="1483"/>
                  </a:cubicBezTo>
                  <a:cubicBezTo>
                    <a:pt x="14601" y="1446"/>
                    <a:pt x="14573" y="1419"/>
                    <a:pt x="14546" y="1409"/>
                  </a:cubicBezTo>
                  <a:cubicBezTo>
                    <a:pt x="13505" y="1207"/>
                    <a:pt x="12456" y="1050"/>
                    <a:pt x="11397" y="949"/>
                  </a:cubicBezTo>
                  <a:cubicBezTo>
                    <a:pt x="11388" y="949"/>
                    <a:pt x="11379" y="949"/>
                    <a:pt x="11370" y="958"/>
                  </a:cubicBezTo>
                  <a:cubicBezTo>
                    <a:pt x="11084" y="1253"/>
                    <a:pt x="10790" y="1557"/>
                    <a:pt x="10504" y="1861"/>
                  </a:cubicBezTo>
                  <a:cubicBezTo>
                    <a:pt x="10016" y="2266"/>
                    <a:pt x="9528" y="2680"/>
                    <a:pt x="9050" y="3113"/>
                  </a:cubicBezTo>
                  <a:cubicBezTo>
                    <a:pt x="8654" y="2588"/>
                    <a:pt x="8258" y="2072"/>
                    <a:pt x="7862" y="1566"/>
                  </a:cubicBezTo>
                  <a:cubicBezTo>
                    <a:pt x="7853" y="1548"/>
                    <a:pt x="7825" y="1538"/>
                    <a:pt x="7798" y="1538"/>
                  </a:cubicBezTo>
                  <a:cubicBezTo>
                    <a:pt x="7098" y="1787"/>
                    <a:pt x="6398" y="2063"/>
                    <a:pt x="5689" y="2358"/>
                  </a:cubicBezTo>
                  <a:cubicBezTo>
                    <a:pt x="5422" y="1907"/>
                    <a:pt x="5155" y="1474"/>
                    <a:pt x="4888" y="1032"/>
                  </a:cubicBezTo>
                  <a:cubicBezTo>
                    <a:pt x="4879" y="1023"/>
                    <a:pt x="4861" y="1004"/>
                    <a:pt x="4842" y="1004"/>
                  </a:cubicBezTo>
                  <a:cubicBezTo>
                    <a:pt x="4837" y="1002"/>
                    <a:pt x="4832" y="1001"/>
                    <a:pt x="4828" y="1001"/>
                  </a:cubicBezTo>
                  <a:cubicBezTo>
                    <a:pt x="4818" y="1001"/>
                    <a:pt x="4809" y="1007"/>
                    <a:pt x="4796" y="1014"/>
                  </a:cubicBezTo>
                  <a:cubicBezTo>
                    <a:pt x="4262" y="1584"/>
                    <a:pt x="3738" y="2155"/>
                    <a:pt x="3204" y="2754"/>
                  </a:cubicBezTo>
                  <a:cubicBezTo>
                    <a:pt x="2799" y="1842"/>
                    <a:pt x="2394" y="931"/>
                    <a:pt x="1989" y="38"/>
                  </a:cubicBezTo>
                  <a:cubicBezTo>
                    <a:pt x="1979" y="19"/>
                    <a:pt x="1961" y="1"/>
                    <a:pt x="1943"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05" name="Google Shape;3443;p45"/>
            <p:cNvSpPr/>
            <p:nvPr/>
          </p:nvSpPr>
          <p:spPr>
            <a:xfrm>
              <a:off x="3362925" y="2325925"/>
              <a:ext cx="1041700" cy="105675"/>
            </a:xfrm>
            <a:custGeom>
              <a:avLst/>
              <a:gdLst/>
              <a:ahLst/>
              <a:cxnLst/>
              <a:rect l="l" t="t" r="r" b="b"/>
              <a:pathLst>
                <a:path w="41668" h="4227" extrusionOk="0">
                  <a:moveTo>
                    <a:pt x="4051" y="1"/>
                  </a:moveTo>
                  <a:cubicBezTo>
                    <a:pt x="3793" y="1"/>
                    <a:pt x="3544" y="93"/>
                    <a:pt x="3360" y="268"/>
                  </a:cubicBezTo>
                  <a:lnTo>
                    <a:pt x="497" y="3021"/>
                  </a:lnTo>
                  <a:cubicBezTo>
                    <a:pt x="0" y="3499"/>
                    <a:pt x="424" y="4227"/>
                    <a:pt x="1188" y="4227"/>
                  </a:cubicBezTo>
                  <a:lnTo>
                    <a:pt x="40470" y="4227"/>
                  </a:lnTo>
                  <a:cubicBezTo>
                    <a:pt x="41244" y="4227"/>
                    <a:pt x="41667" y="3499"/>
                    <a:pt x="41161" y="3021"/>
                  </a:cubicBezTo>
                  <a:lnTo>
                    <a:pt x="38307" y="268"/>
                  </a:lnTo>
                  <a:cubicBezTo>
                    <a:pt x="38114" y="93"/>
                    <a:pt x="37865" y="1"/>
                    <a:pt x="37616" y="1"/>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06" name="Google Shape;3444;p45"/>
            <p:cNvSpPr/>
            <p:nvPr/>
          </p:nvSpPr>
          <p:spPr>
            <a:xfrm>
              <a:off x="3980425" y="1765975"/>
              <a:ext cx="342950" cy="626050"/>
            </a:xfrm>
            <a:custGeom>
              <a:avLst/>
              <a:gdLst/>
              <a:ahLst/>
              <a:cxnLst/>
              <a:rect l="l" t="t" r="r" b="b"/>
              <a:pathLst>
                <a:path w="13718" h="25042" extrusionOk="0">
                  <a:moveTo>
                    <a:pt x="0" y="0"/>
                  </a:moveTo>
                  <a:lnTo>
                    <a:pt x="7245" y="14279"/>
                  </a:lnTo>
                  <a:cubicBezTo>
                    <a:pt x="7006" y="14279"/>
                    <a:pt x="6850" y="14528"/>
                    <a:pt x="6942" y="14749"/>
                  </a:cubicBezTo>
                  <a:lnTo>
                    <a:pt x="12152" y="25041"/>
                  </a:lnTo>
                  <a:lnTo>
                    <a:pt x="13717" y="25041"/>
                  </a:lnTo>
                  <a:lnTo>
                    <a:pt x="8488" y="14712"/>
                  </a:lnTo>
                  <a:cubicBezTo>
                    <a:pt x="8350" y="14445"/>
                    <a:pt x="8074" y="14279"/>
                    <a:pt x="7779" y="14279"/>
                  </a:cubicBezTo>
                  <a:lnTo>
                    <a:pt x="7724" y="14279"/>
                  </a:lnTo>
                  <a:lnTo>
                    <a:pt x="479" y="0"/>
                  </a:ln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07" name="Google Shape;3445;p45"/>
            <p:cNvSpPr/>
            <p:nvPr/>
          </p:nvSpPr>
          <p:spPr>
            <a:xfrm>
              <a:off x="3437250" y="1783000"/>
              <a:ext cx="333300" cy="610400"/>
            </a:xfrm>
            <a:custGeom>
              <a:avLst/>
              <a:gdLst/>
              <a:ahLst/>
              <a:cxnLst/>
              <a:rect l="l" t="t" r="r" b="b"/>
              <a:pathLst>
                <a:path w="13332" h="24416" extrusionOk="0">
                  <a:moveTo>
                    <a:pt x="12852" y="1"/>
                  </a:moveTo>
                  <a:lnTo>
                    <a:pt x="5819" y="13930"/>
                  </a:lnTo>
                  <a:cubicBezTo>
                    <a:pt x="5488" y="13930"/>
                    <a:pt x="5193" y="14114"/>
                    <a:pt x="5046" y="14408"/>
                  </a:cubicBezTo>
                  <a:lnTo>
                    <a:pt x="1" y="24415"/>
                  </a:lnTo>
                  <a:lnTo>
                    <a:pt x="1556" y="24415"/>
                  </a:lnTo>
                  <a:lnTo>
                    <a:pt x="6592" y="14408"/>
                  </a:lnTo>
                  <a:cubicBezTo>
                    <a:pt x="6703" y="14187"/>
                    <a:pt x="6546" y="13930"/>
                    <a:pt x="6298" y="13930"/>
                  </a:cubicBezTo>
                  <a:lnTo>
                    <a:pt x="13331" y="1"/>
                  </a:ln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08" name="Google Shape;3446;p45"/>
            <p:cNvSpPr/>
            <p:nvPr/>
          </p:nvSpPr>
          <p:spPr>
            <a:xfrm>
              <a:off x="3472225" y="2336075"/>
              <a:ext cx="822825" cy="48350"/>
            </a:xfrm>
            <a:custGeom>
              <a:avLst/>
              <a:gdLst/>
              <a:ahLst/>
              <a:cxnLst/>
              <a:rect l="l" t="t" r="r" b="b"/>
              <a:pathLst>
                <a:path w="32913" h="1934" extrusionOk="0">
                  <a:moveTo>
                    <a:pt x="16462" y="0"/>
                  </a:moveTo>
                  <a:cubicBezTo>
                    <a:pt x="7366" y="0"/>
                    <a:pt x="1" y="433"/>
                    <a:pt x="1" y="967"/>
                  </a:cubicBezTo>
                  <a:cubicBezTo>
                    <a:pt x="1" y="1501"/>
                    <a:pt x="7366" y="1933"/>
                    <a:pt x="16462" y="1933"/>
                  </a:cubicBezTo>
                  <a:cubicBezTo>
                    <a:pt x="25548" y="1933"/>
                    <a:pt x="32913" y="1501"/>
                    <a:pt x="32913" y="967"/>
                  </a:cubicBezTo>
                  <a:cubicBezTo>
                    <a:pt x="32913" y="433"/>
                    <a:pt x="25548" y="0"/>
                    <a:pt x="16462"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09" name="Google Shape;3447;p45"/>
            <p:cNvSpPr/>
            <p:nvPr/>
          </p:nvSpPr>
          <p:spPr>
            <a:xfrm>
              <a:off x="3645325" y="2255750"/>
              <a:ext cx="41450" cy="78500"/>
            </a:xfrm>
            <a:custGeom>
              <a:avLst/>
              <a:gdLst/>
              <a:ahLst/>
              <a:cxnLst/>
              <a:rect l="l" t="t" r="r" b="b"/>
              <a:pathLst>
                <a:path w="1658" h="3140" extrusionOk="0">
                  <a:moveTo>
                    <a:pt x="0" y="0"/>
                  </a:moveTo>
                  <a:lnTo>
                    <a:pt x="313" y="3112"/>
                  </a:lnTo>
                  <a:lnTo>
                    <a:pt x="1657" y="3139"/>
                  </a:lnTo>
                  <a:lnTo>
                    <a:pt x="1353" y="19"/>
                  </a:lnTo>
                  <a:lnTo>
                    <a:pt x="0" y="0"/>
                  </a:lnTo>
                  <a:close/>
                </a:path>
              </a:pathLst>
            </a:custGeom>
            <a:solidFill>
              <a:srgbClr val="B55B52"/>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0" name="Google Shape;3448;p45"/>
            <p:cNvSpPr/>
            <p:nvPr/>
          </p:nvSpPr>
          <p:spPr>
            <a:xfrm>
              <a:off x="4106775" y="2250450"/>
              <a:ext cx="87700" cy="81950"/>
            </a:xfrm>
            <a:custGeom>
              <a:avLst/>
              <a:gdLst/>
              <a:ahLst/>
              <a:cxnLst/>
              <a:rect l="l" t="t" r="r" b="b"/>
              <a:pathLst>
                <a:path w="3508" h="3278" extrusionOk="0">
                  <a:moveTo>
                    <a:pt x="1252" y="0"/>
                  </a:moveTo>
                  <a:lnTo>
                    <a:pt x="0" y="479"/>
                  </a:lnTo>
                  <a:lnTo>
                    <a:pt x="2256" y="3278"/>
                  </a:lnTo>
                  <a:lnTo>
                    <a:pt x="3508" y="2790"/>
                  </a:lnTo>
                  <a:lnTo>
                    <a:pt x="1252" y="0"/>
                  </a:lnTo>
                  <a:close/>
                </a:path>
              </a:pathLst>
            </a:custGeom>
            <a:solidFill>
              <a:srgbClr val="B55B52"/>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1" name="Google Shape;3449;p45"/>
            <p:cNvSpPr/>
            <p:nvPr/>
          </p:nvSpPr>
          <p:spPr>
            <a:xfrm>
              <a:off x="4103325" y="2308675"/>
              <a:ext cx="109800" cy="59175"/>
            </a:xfrm>
            <a:custGeom>
              <a:avLst/>
              <a:gdLst/>
              <a:ahLst/>
              <a:cxnLst/>
              <a:rect l="l" t="t" r="r" b="b"/>
              <a:pathLst>
                <a:path w="4392" h="2367" extrusionOk="0">
                  <a:moveTo>
                    <a:pt x="3449" y="1"/>
                  </a:moveTo>
                  <a:cubicBezTo>
                    <a:pt x="3432" y="1"/>
                    <a:pt x="3415" y="4"/>
                    <a:pt x="3397" y="10"/>
                  </a:cubicBezTo>
                  <a:lnTo>
                    <a:pt x="1934" y="737"/>
                  </a:lnTo>
                  <a:cubicBezTo>
                    <a:pt x="1860" y="774"/>
                    <a:pt x="1805" y="838"/>
                    <a:pt x="1768" y="912"/>
                  </a:cubicBezTo>
                  <a:cubicBezTo>
                    <a:pt x="1611" y="1326"/>
                    <a:pt x="1262" y="1529"/>
                    <a:pt x="230" y="1759"/>
                  </a:cubicBezTo>
                  <a:cubicBezTo>
                    <a:pt x="0" y="1805"/>
                    <a:pt x="83" y="2366"/>
                    <a:pt x="635" y="2366"/>
                  </a:cubicBezTo>
                  <a:cubicBezTo>
                    <a:pt x="1832" y="2366"/>
                    <a:pt x="2449" y="2146"/>
                    <a:pt x="2808" y="1961"/>
                  </a:cubicBezTo>
                  <a:cubicBezTo>
                    <a:pt x="3407" y="1667"/>
                    <a:pt x="3766" y="1529"/>
                    <a:pt x="4244" y="1299"/>
                  </a:cubicBezTo>
                  <a:cubicBezTo>
                    <a:pt x="4355" y="1243"/>
                    <a:pt x="4392" y="1096"/>
                    <a:pt x="4309" y="995"/>
                  </a:cubicBezTo>
                  <a:lnTo>
                    <a:pt x="3545" y="47"/>
                  </a:lnTo>
                  <a:cubicBezTo>
                    <a:pt x="3519" y="15"/>
                    <a:pt x="3486" y="1"/>
                    <a:pt x="3449" y="1"/>
                  </a:cubicBezTo>
                  <a:close/>
                </a:path>
              </a:pathLst>
            </a:custGeom>
            <a:solidFill>
              <a:srgbClr val="26323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2" name="Google Shape;3450;p45"/>
            <p:cNvSpPr/>
            <p:nvPr/>
          </p:nvSpPr>
          <p:spPr>
            <a:xfrm>
              <a:off x="3581550" y="2329850"/>
              <a:ext cx="118100" cy="38700"/>
            </a:xfrm>
            <a:custGeom>
              <a:avLst/>
              <a:gdLst/>
              <a:ahLst/>
              <a:cxnLst/>
              <a:rect l="l" t="t" r="r" b="b"/>
              <a:pathLst>
                <a:path w="4724" h="1548" extrusionOk="0">
                  <a:moveTo>
                    <a:pt x="2873" y="0"/>
                  </a:moveTo>
                  <a:cubicBezTo>
                    <a:pt x="2763" y="0"/>
                    <a:pt x="2652" y="28"/>
                    <a:pt x="2560" y="83"/>
                  </a:cubicBezTo>
                  <a:cubicBezTo>
                    <a:pt x="1640" y="626"/>
                    <a:pt x="1290" y="645"/>
                    <a:pt x="231" y="857"/>
                  </a:cubicBezTo>
                  <a:cubicBezTo>
                    <a:pt x="1" y="903"/>
                    <a:pt x="139" y="1464"/>
                    <a:pt x="691" y="1473"/>
                  </a:cubicBezTo>
                  <a:cubicBezTo>
                    <a:pt x="932" y="1478"/>
                    <a:pt x="1121" y="1480"/>
                    <a:pt x="1283" y="1480"/>
                  </a:cubicBezTo>
                  <a:cubicBezTo>
                    <a:pt x="1647" y="1480"/>
                    <a:pt x="1873" y="1472"/>
                    <a:pt x="2239" y="1472"/>
                  </a:cubicBezTo>
                  <a:cubicBezTo>
                    <a:pt x="2332" y="1472"/>
                    <a:pt x="2435" y="1472"/>
                    <a:pt x="2551" y="1473"/>
                  </a:cubicBezTo>
                  <a:cubicBezTo>
                    <a:pt x="3214" y="1483"/>
                    <a:pt x="3978" y="1529"/>
                    <a:pt x="4512" y="1547"/>
                  </a:cubicBezTo>
                  <a:cubicBezTo>
                    <a:pt x="4632" y="1547"/>
                    <a:pt x="4724" y="1437"/>
                    <a:pt x="4705" y="1317"/>
                  </a:cubicBezTo>
                  <a:lnTo>
                    <a:pt x="4457" y="111"/>
                  </a:lnTo>
                  <a:cubicBezTo>
                    <a:pt x="4447" y="56"/>
                    <a:pt x="4401" y="19"/>
                    <a:pt x="4346" y="19"/>
                  </a:cubicBezTo>
                  <a:lnTo>
                    <a:pt x="2873" y="0"/>
                  </a:lnTo>
                  <a:close/>
                </a:path>
              </a:pathLst>
            </a:custGeom>
            <a:solidFill>
              <a:srgbClr val="26323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3" name="Google Shape;3451;p45"/>
            <p:cNvSpPr/>
            <p:nvPr/>
          </p:nvSpPr>
          <p:spPr>
            <a:xfrm>
              <a:off x="3548650" y="1522925"/>
              <a:ext cx="241225" cy="160225"/>
            </a:xfrm>
            <a:custGeom>
              <a:avLst/>
              <a:gdLst/>
              <a:ahLst/>
              <a:cxnLst/>
              <a:rect l="l" t="t" r="r" b="b"/>
              <a:pathLst>
                <a:path w="9649" h="6409" extrusionOk="0">
                  <a:moveTo>
                    <a:pt x="7881" y="1"/>
                  </a:moveTo>
                  <a:cubicBezTo>
                    <a:pt x="7770" y="185"/>
                    <a:pt x="7623" y="406"/>
                    <a:pt x="7494" y="608"/>
                  </a:cubicBezTo>
                  <a:cubicBezTo>
                    <a:pt x="7365" y="820"/>
                    <a:pt x="7227" y="1023"/>
                    <a:pt x="7080" y="1225"/>
                  </a:cubicBezTo>
                  <a:cubicBezTo>
                    <a:pt x="6795" y="1640"/>
                    <a:pt x="6509" y="2035"/>
                    <a:pt x="6215" y="2422"/>
                  </a:cubicBezTo>
                  <a:cubicBezTo>
                    <a:pt x="5911" y="2818"/>
                    <a:pt x="5598" y="3186"/>
                    <a:pt x="5285" y="3536"/>
                  </a:cubicBezTo>
                  <a:cubicBezTo>
                    <a:pt x="4972" y="3877"/>
                    <a:pt x="4640" y="4180"/>
                    <a:pt x="4281" y="4466"/>
                  </a:cubicBezTo>
                  <a:lnTo>
                    <a:pt x="4152" y="4558"/>
                  </a:lnTo>
                  <a:lnTo>
                    <a:pt x="4125" y="4576"/>
                  </a:lnTo>
                  <a:cubicBezTo>
                    <a:pt x="4116" y="4576"/>
                    <a:pt x="4116" y="4576"/>
                    <a:pt x="4116" y="4585"/>
                  </a:cubicBezTo>
                  <a:cubicBezTo>
                    <a:pt x="4106" y="4595"/>
                    <a:pt x="4106" y="4604"/>
                    <a:pt x="4079" y="4604"/>
                  </a:cubicBezTo>
                  <a:cubicBezTo>
                    <a:pt x="4062" y="4605"/>
                    <a:pt x="4046" y="4606"/>
                    <a:pt x="4029" y="4606"/>
                  </a:cubicBezTo>
                  <a:cubicBezTo>
                    <a:pt x="3942" y="4606"/>
                    <a:pt x="3852" y="4586"/>
                    <a:pt x="3775" y="4539"/>
                  </a:cubicBezTo>
                  <a:cubicBezTo>
                    <a:pt x="3407" y="4337"/>
                    <a:pt x="3066" y="4079"/>
                    <a:pt x="2771" y="3766"/>
                  </a:cubicBezTo>
                  <a:cubicBezTo>
                    <a:pt x="2431" y="3426"/>
                    <a:pt x="2099" y="3066"/>
                    <a:pt x="1796" y="2680"/>
                  </a:cubicBezTo>
                  <a:cubicBezTo>
                    <a:pt x="1483" y="2293"/>
                    <a:pt x="1179" y="1888"/>
                    <a:pt x="893" y="1492"/>
                  </a:cubicBezTo>
                  <a:lnTo>
                    <a:pt x="0" y="1962"/>
                  </a:lnTo>
                  <a:cubicBezTo>
                    <a:pt x="415" y="2974"/>
                    <a:pt x="958" y="3923"/>
                    <a:pt x="1611" y="4797"/>
                  </a:cubicBezTo>
                  <a:cubicBezTo>
                    <a:pt x="1786" y="5027"/>
                    <a:pt x="1980" y="5239"/>
                    <a:pt x="2191" y="5451"/>
                  </a:cubicBezTo>
                  <a:cubicBezTo>
                    <a:pt x="2412" y="5681"/>
                    <a:pt x="2670" y="5874"/>
                    <a:pt x="2946" y="6049"/>
                  </a:cubicBezTo>
                  <a:cubicBezTo>
                    <a:pt x="3296" y="6270"/>
                    <a:pt x="3701" y="6390"/>
                    <a:pt x="4106" y="6408"/>
                  </a:cubicBezTo>
                  <a:cubicBezTo>
                    <a:pt x="4364" y="6408"/>
                    <a:pt x="4603" y="6353"/>
                    <a:pt x="4834" y="6261"/>
                  </a:cubicBezTo>
                  <a:cubicBezTo>
                    <a:pt x="4889" y="6243"/>
                    <a:pt x="4944" y="6215"/>
                    <a:pt x="4999" y="6187"/>
                  </a:cubicBezTo>
                  <a:lnTo>
                    <a:pt x="5082" y="6141"/>
                  </a:lnTo>
                  <a:lnTo>
                    <a:pt x="5128" y="6114"/>
                  </a:lnTo>
                  <a:lnTo>
                    <a:pt x="5331" y="5994"/>
                  </a:lnTo>
                  <a:cubicBezTo>
                    <a:pt x="5819" y="5681"/>
                    <a:pt x="6270" y="5313"/>
                    <a:pt x="6675" y="4908"/>
                  </a:cubicBezTo>
                  <a:cubicBezTo>
                    <a:pt x="7071" y="4521"/>
                    <a:pt x="7448" y="4116"/>
                    <a:pt x="7798" y="3692"/>
                  </a:cubicBezTo>
                  <a:cubicBezTo>
                    <a:pt x="8139" y="3269"/>
                    <a:pt x="8470" y="2846"/>
                    <a:pt x="8774" y="2404"/>
                  </a:cubicBezTo>
                  <a:cubicBezTo>
                    <a:pt x="8930" y="2173"/>
                    <a:pt x="9078" y="1953"/>
                    <a:pt x="9225" y="1732"/>
                  </a:cubicBezTo>
                  <a:cubicBezTo>
                    <a:pt x="9372" y="1501"/>
                    <a:pt x="9510" y="1280"/>
                    <a:pt x="9648" y="1023"/>
                  </a:cubicBezTo>
                  <a:lnTo>
                    <a:pt x="7881" y="1"/>
                  </a:lnTo>
                  <a:close/>
                </a:path>
              </a:pathLst>
            </a:custGeom>
            <a:solidFill>
              <a:srgbClr val="B55B52"/>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4" name="Google Shape;3452;p45"/>
            <p:cNvSpPr/>
            <p:nvPr/>
          </p:nvSpPr>
          <p:spPr>
            <a:xfrm>
              <a:off x="3678925" y="1499525"/>
              <a:ext cx="132350" cy="137825"/>
            </a:xfrm>
            <a:custGeom>
              <a:avLst/>
              <a:gdLst/>
              <a:ahLst/>
              <a:cxnLst/>
              <a:rect l="l" t="t" r="r" b="b"/>
              <a:pathLst>
                <a:path w="5294" h="5513" extrusionOk="0">
                  <a:moveTo>
                    <a:pt x="3753" y="1"/>
                  </a:moveTo>
                  <a:cubicBezTo>
                    <a:pt x="3244" y="1"/>
                    <a:pt x="2662" y="249"/>
                    <a:pt x="2136" y="771"/>
                  </a:cubicBezTo>
                  <a:cubicBezTo>
                    <a:pt x="958" y="1940"/>
                    <a:pt x="0" y="3551"/>
                    <a:pt x="0" y="3551"/>
                  </a:cubicBezTo>
                  <a:lnTo>
                    <a:pt x="2357" y="5512"/>
                  </a:lnTo>
                  <a:cubicBezTo>
                    <a:pt x="2357" y="5512"/>
                    <a:pt x="5294" y="2474"/>
                    <a:pt x="5091" y="1213"/>
                  </a:cubicBezTo>
                  <a:cubicBezTo>
                    <a:pt x="4961" y="425"/>
                    <a:pt x="4419" y="1"/>
                    <a:pt x="3753" y="1"/>
                  </a:cubicBezTo>
                  <a:close/>
                </a:path>
              </a:pathLst>
            </a:custGeom>
            <a:solidFill>
              <a:srgbClr val="26323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5" name="Google Shape;3453;p45"/>
            <p:cNvSpPr/>
            <p:nvPr/>
          </p:nvSpPr>
          <p:spPr>
            <a:xfrm>
              <a:off x="3735075" y="1551925"/>
              <a:ext cx="51350" cy="77600"/>
            </a:xfrm>
            <a:custGeom>
              <a:avLst/>
              <a:gdLst/>
              <a:ahLst/>
              <a:cxnLst/>
              <a:rect l="l" t="t" r="r" b="b"/>
              <a:pathLst>
                <a:path w="2054" h="3104" extrusionOk="0">
                  <a:moveTo>
                    <a:pt x="1355" y="0"/>
                  </a:moveTo>
                  <a:cubicBezTo>
                    <a:pt x="1210" y="0"/>
                    <a:pt x="1026" y="120"/>
                    <a:pt x="783" y="433"/>
                  </a:cubicBezTo>
                  <a:cubicBezTo>
                    <a:pt x="0" y="1446"/>
                    <a:pt x="405" y="3103"/>
                    <a:pt x="405" y="3103"/>
                  </a:cubicBezTo>
                  <a:cubicBezTo>
                    <a:pt x="995" y="2459"/>
                    <a:pt x="1547" y="1778"/>
                    <a:pt x="2053" y="1060"/>
                  </a:cubicBezTo>
                  <a:cubicBezTo>
                    <a:pt x="1842" y="756"/>
                    <a:pt x="1721" y="0"/>
                    <a:pt x="1355" y="0"/>
                  </a:cubicBez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6" name="Google Shape;3454;p45"/>
            <p:cNvSpPr/>
            <p:nvPr/>
          </p:nvSpPr>
          <p:spPr>
            <a:xfrm>
              <a:off x="3532300" y="1531675"/>
              <a:ext cx="41450" cy="49675"/>
            </a:xfrm>
            <a:custGeom>
              <a:avLst/>
              <a:gdLst/>
              <a:ahLst/>
              <a:cxnLst/>
              <a:rect l="l" t="t" r="r" b="b"/>
              <a:pathLst>
                <a:path w="1658" h="1987" extrusionOk="0">
                  <a:moveTo>
                    <a:pt x="765" y="1"/>
                  </a:moveTo>
                  <a:lnTo>
                    <a:pt x="1" y="1280"/>
                  </a:lnTo>
                  <a:cubicBezTo>
                    <a:pt x="1" y="1280"/>
                    <a:pt x="215" y="1986"/>
                    <a:pt x="912" y="1986"/>
                  </a:cubicBezTo>
                  <a:cubicBezTo>
                    <a:pt x="1007" y="1986"/>
                    <a:pt x="1111" y="1973"/>
                    <a:pt x="1225" y="1943"/>
                  </a:cubicBezTo>
                  <a:lnTo>
                    <a:pt x="1658" y="1271"/>
                  </a:lnTo>
                  <a:lnTo>
                    <a:pt x="765" y="1"/>
                  </a:lnTo>
                  <a:close/>
                </a:path>
              </a:pathLst>
            </a:custGeom>
            <a:solidFill>
              <a:srgbClr val="B55B52"/>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7" name="Google Shape;3455;p45"/>
            <p:cNvSpPr/>
            <p:nvPr/>
          </p:nvSpPr>
          <p:spPr>
            <a:xfrm>
              <a:off x="3515725" y="1523175"/>
              <a:ext cx="35700" cy="40525"/>
            </a:xfrm>
            <a:custGeom>
              <a:avLst/>
              <a:gdLst/>
              <a:ahLst/>
              <a:cxnLst/>
              <a:rect l="l" t="t" r="r" b="b"/>
              <a:pathLst>
                <a:path w="1428" h="1621" extrusionOk="0">
                  <a:moveTo>
                    <a:pt x="489" y="0"/>
                  </a:moveTo>
                  <a:lnTo>
                    <a:pt x="1" y="1261"/>
                  </a:lnTo>
                  <a:lnTo>
                    <a:pt x="664" y="1620"/>
                  </a:lnTo>
                  <a:lnTo>
                    <a:pt x="1428" y="341"/>
                  </a:lnTo>
                  <a:lnTo>
                    <a:pt x="489" y="0"/>
                  </a:lnTo>
                  <a:close/>
                </a:path>
              </a:pathLst>
            </a:custGeom>
            <a:solidFill>
              <a:srgbClr val="B55B52"/>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8" name="Google Shape;3456;p45"/>
            <p:cNvSpPr/>
            <p:nvPr/>
          </p:nvSpPr>
          <p:spPr>
            <a:xfrm>
              <a:off x="3645325" y="2255750"/>
              <a:ext cx="37750" cy="40750"/>
            </a:xfrm>
            <a:custGeom>
              <a:avLst/>
              <a:gdLst/>
              <a:ahLst/>
              <a:cxnLst/>
              <a:rect l="l" t="t" r="r" b="b"/>
              <a:pathLst>
                <a:path w="1510" h="1630" extrusionOk="0">
                  <a:moveTo>
                    <a:pt x="0" y="0"/>
                  </a:moveTo>
                  <a:lnTo>
                    <a:pt x="166" y="1602"/>
                  </a:lnTo>
                  <a:lnTo>
                    <a:pt x="1510" y="1630"/>
                  </a:lnTo>
                  <a:lnTo>
                    <a:pt x="1353" y="19"/>
                  </a:lnTo>
                  <a:lnTo>
                    <a:pt x="0" y="0"/>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9" name="Google Shape;3457;p45"/>
            <p:cNvSpPr/>
            <p:nvPr/>
          </p:nvSpPr>
          <p:spPr>
            <a:xfrm>
              <a:off x="4106775" y="2250450"/>
              <a:ext cx="58475" cy="48575"/>
            </a:xfrm>
            <a:custGeom>
              <a:avLst/>
              <a:gdLst/>
              <a:ahLst/>
              <a:cxnLst/>
              <a:rect l="l" t="t" r="r" b="b"/>
              <a:pathLst>
                <a:path w="2339" h="1943" extrusionOk="0">
                  <a:moveTo>
                    <a:pt x="1252" y="0"/>
                  </a:moveTo>
                  <a:lnTo>
                    <a:pt x="0" y="479"/>
                  </a:lnTo>
                  <a:lnTo>
                    <a:pt x="1179" y="1943"/>
                  </a:lnTo>
                  <a:lnTo>
                    <a:pt x="2339" y="1344"/>
                  </a:lnTo>
                  <a:lnTo>
                    <a:pt x="1252" y="0"/>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0" name="Google Shape;3458;p45"/>
            <p:cNvSpPr/>
            <p:nvPr/>
          </p:nvSpPr>
          <p:spPr>
            <a:xfrm>
              <a:off x="3726100" y="1478275"/>
              <a:ext cx="240525" cy="315575"/>
            </a:xfrm>
            <a:custGeom>
              <a:avLst/>
              <a:gdLst/>
              <a:ahLst/>
              <a:cxnLst/>
              <a:rect l="l" t="t" r="r" b="b"/>
              <a:pathLst>
                <a:path w="9621" h="12623" extrusionOk="0">
                  <a:moveTo>
                    <a:pt x="7163" y="1"/>
                  </a:moveTo>
                  <a:cubicBezTo>
                    <a:pt x="6997" y="1"/>
                    <a:pt x="6831" y="1"/>
                    <a:pt x="6647" y="10"/>
                  </a:cubicBezTo>
                  <a:cubicBezTo>
                    <a:pt x="6463" y="19"/>
                    <a:pt x="6270" y="28"/>
                    <a:pt x="6076" y="47"/>
                  </a:cubicBezTo>
                  <a:cubicBezTo>
                    <a:pt x="5156" y="121"/>
                    <a:pt x="3830" y="268"/>
                    <a:pt x="3038" y="452"/>
                  </a:cubicBezTo>
                  <a:cubicBezTo>
                    <a:pt x="2919" y="480"/>
                    <a:pt x="2799" y="507"/>
                    <a:pt x="2679" y="535"/>
                  </a:cubicBezTo>
                  <a:cubicBezTo>
                    <a:pt x="2468" y="599"/>
                    <a:pt x="2265" y="654"/>
                    <a:pt x="2072" y="719"/>
                  </a:cubicBezTo>
                  <a:cubicBezTo>
                    <a:pt x="1473" y="903"/>
                    <a:pt x="1041" y="1087"/>
                    <a:pt x="1041" y="1087"/>
                  </a:cubicBezTo>
                  <a:cubicBezTo>
                    <a:pt x="1041" y="1087"/>
                    <a:pt x="0" y="5322"/>
                    <a:pt x="2486" y="12622"/>
                  </a:cubicBezTo>
                  <a:cubicBezTo>
                    <a:pt x="4640" y="12337"/>
                    <a:pt x="8571" y="11821"/>
                    <a:pt x="9621" y="11674"/>
                  </a:cubicBezTo>
                  <a:cubicBezTo>
                    <a:pt x="9529" y="10643"/>
                    <a:pt x="8304" y="5976"/>
                    <a:pt x="8452" y="1041"/>
                  </a:cubicBezTo>
                  <a:cubicBezTo>
                    <a:pt x="8461" y="470"/>
                    <a:pt x="8001" y="1"/>
                    <a:pt x="7430" y="1"/>
                  </a:cubicBezTo>
                  <a:close/>
                </a:path>
              </a:pathLst>
            </a:custGeom>
            <a:solidFill>
              <a:srgbClr val="26323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1" name="Google Shape;3459;p45"/>
            <p:cNvSpPr/>
            <p:nvPr/>
          </p:nvSpPr>
          <p:spPr>
            <a:xfrm>
              <a:off x="3912300" y="1540425"/>
              <a:ext cx="27400" cy="52275"/>
            </a:xfrm>
            <a:custGeom>
              <a:avLst/>
              <a:gdLst/>
              <a:ahLst/>
              <a:cxnLst/>
              <a:rect l="l" t="t" r="r" b="b"/>
              <a:pathLst>
                <a:path w="1096" h="2091" extrusionOk="0">
                  <a:moveTo>
                    <a:pt x="0" y="0"/>
                  </a:moveTo>
                  <a:cubicBezTo>
                    <a:pt x="83" y="820"/>
                    <a:pt x="479" y="1566"/>
                    <a:pt x="1096" y="2090"/>
                  </a:cubicBezTo>
                  <a:cubicBezTo>
                    <a:pt x="1068" y="1694"/>
                    <a:pt x="1050" y="1289"/>
                    <a:pt x="1022" y="875"/>
                  </a:cubicBezTo>
                  <a:lnTo>
                    <a:pt x="0" y="0"/>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2" name="Google Shape;3460;p45"/>
            <p:cNvSpPr/>
            <p:nvPr/>
          </p:nvSpPr>
          <p:spPr>
            <a:xfrm>
              <a:off x="3794075" y="1395200"/>
              <a:ext cx="83950" cy="122325"/>
            </a:xfrm>
            <a:custGeom>
              <a:avLst/>
              <a:gdLst/>
              <a:ahLst/>
              <a:cxnLst/>
              <a:rect l="l" t="t" r="r" b="b"/>
              <a:pathLst>
                <a:path w="3358" h="4893" extrusionOk="0">
                  <a:moveTo>
                    <a:pt x="2603" y="0"/>
                  </a:moveTo>
                  <a:lnTo>
                    <a:pt x="955" y="1832"/>
                  </a:lnTo>
                  <a:cubicBezTo>
                    <a:pt x="1249" y="2569"/>
                    <a:pt x="1378" y="3370"/>
                    <a:pt x="329" y="3775"/>
                  </a:cubicBezTo>
                  <a:cubicBezTo>
                    <a:pt x="98" y="4187"/>
                    <a:pt x="0" y="4893"/>
                    <a:pt x="805" y="4893"/>
                  </a:cubicBezTo>
                  <a:cubicBezTo>
                    <a:pt x="900" y="4893"/>
                    <a:pt x="1008" y="4883"/>
                    <a:pt x="1130" y="4861"/>
                  </a:cubicBezTo>
                  <a:cubicBezTo>
                    <a:pt x="2280" y="4668"/>
                    <a:pt x="2897" y="3968"/>
                    <a:pt x="3357" y="3370"/>
                  </a:cubicBezTo>
                  <a:cubicBezTo>
                    <a:pt x="2584" y="2808"/>
                    <a:pt x="2538" y="995"/>
                    <a:pt x="2603" y="0"/>
                  </a:cubicBezTo>
                  <a:close/>
                </a:path>
              </a:pathLst>
            </a:custGeom>
            <a:solidFill>
              <a:srgbClr val="B55B52"/>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3" name="Google Shape;3461;p45"/>
            <p:cNvSpPr/>
            <p:nvPr/>
          </p:nvSpPr>
          <p:spPr>
            <a:xfrm>
              <a:off x="3817925" y="1413850"/>
              <a:ext cx="27175" cy="40300"/>
            </a:xfrm>
            <a:custGeom>
              <a:avLst/>
              <a:gdLst/>
              <a:ahLst/>
              <a:cxnLst/>
              <a:rect l="l" t="t" r="r" b="b"/>
              <a:pathLst>
                <a:path w="1087" h="1612" extrusionOk="0">
                  <a:moveTo>
                    <a:pt x="976" y="0"/>
                  </a:moveTo>
                  <a:lnTo>
                    <a:pt x="1" y="1077"/>
                  </a:lnTo>
                  <a:cubicBezTo>
                    <a:pt x="65" y="1252"/>
                    <a:pt x="120" y="1427"/>
                    <a:pt x="166" y="1611"/>
                  </a:cubicBezTo>
                  <a:cubicBezTo>
                    <a:pt x="571" y="1492"/>
                    <a:pt x="1087" y="958"/>
                    <a:pt x="1069" y="516"/>
                  </a:cubicBezTo>
                  <a:cubicBezTo>
                    <a:pt x="1069" y="341"/>
                    <a:pt x="1041" y="166"/>
                    <a:pt x="976" y="0"/>
                  </a:cubicBez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4" name="Google Shape;3462;p45"/>
            <p:cNvSpPr/>
            <p:nvPr/>
          </p:nvSpPr>
          <p:spPr>
            <a:xfrm>
              <a:off x="3759700" y="1323000"/>
              <a:ext cx="64275" cy="56800"/>
            </a:xfrm>
            <a:custGeom>
              <a:avLst/>
              <a:gdLst/>
              <a:ahLst/>
              <a:cxnLst/>
              <a:rect l="l" t="t" r="r" b="b"/>
              <a:pathLst>
                <a:path w="2571" h="2272" extrusionOk="0">
                  <a:moveTo>
                    <a:pt x="905" y="0"/>
                  </a:moveTo>
                  <a:cubicBezTo>
                    <a:pt x="845" y="0"/>
                    <a:pt x="785" y="14"/>
                    <a:pt x="728" y="44"/>
                  </a:cubicBezTo>
                  <a:cubicBezTo>
                    <a:pt x="139" y="348"/>
                    <a:pt x="0" y="2235"/>
                    <a:pt x="1345" y="2272"/>
                  </a:cubicBezTo>
                  <a:cubicBezTo>
                    <a:pt x="1354" y="2272"/>
                    <a:pt x="1363" y="2272"/>
                    <a:pt x="1372" y="2272"/>
                  </a:cubicBezTo>
                  <a:cubicBezTo>
                    <a:pt x="2570" y="2272"/>
                    <a:pt x="1675" y="0"/>
                    <a:pt x="905" y="0"/>
                  </a:cubicBezTo>
                  <a:close/>
                </a:path>
              </a:pathLst>
            </a:custGeom>
            <a:solidFill>
              <a:srgbClr val="26323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5" name="Google Shape;3463;p45"/>
            <p:cNvSpPr/>
            <p:nvPr/>
          </p:nvSpPr>
          <p:spPr>
            <a:xfrm>
              <a:off x="3765225" y="1311725"/>
              <a:ext cx="104525" cy="131550"/>
            </a:xfrm>
            <a:custGeom>
              <a:avLst/>
              <a:gdLst/>
              <a:ahLst/>
              <a:cxnLst/>
              <a:rect l="l" t="t" r="r" b="b"/>
              <a:pathLst>
                <a:path w="4181" h="5262" extrusionOk="0">
                  <a:moveTo>
                    <a:pt x="2220" y="1"/>
                  </a:moveTo>
                  <a:cubicBezTo>
                    <a:pt x="2027" y="1"/>
                    <a:pt x="1828" y="32"/>
                    <a:pt x="1630" y="99"/>
                  </a:cubicBezTo>
                  <a:cubicBezTo>
                    <a:pt x="295" y="559"/>
                    <a:pt x="0" y="2520"/>
                    <a:pt x="212" y="3726"/>
                  </a:cubicBezTo>
                  <a:cubicBezTo>
                    <a:pt x="375" y="4644"/>
                    <a:pt x="1169" y="5262"/>
                    <a:pt x="1996" y="5262"/>
                  </a:cubicBezTo>
                  <a:cubicBezTo>
                    <a:pt x="2388" y="5262"/>
                    <a:pt x="2787" y="5123"/>
                    <a:pt x="3131" y="4812"/>
                  </a:cubicBezTo>
                  <a:cubicBezTo>
                    <a:pt x="3839" y="4177"/>
                    <a:pt x="3867" y="3385"/>
                    <a:pt x="4033" y="2060"/>
                  </a:cubicBezTo>
                  <a:cubicBezTo>
                    <a:pt x="4181" y="932"/>
                    <a:pt x="3276" y="1"/>
                    <a:pt x="2220" y="1"/>
                  </a:cubicBezTo>
                  <a:close/>
                </a:path>
              </a:pathLst>
            </a:custGeom>
            <a:solidFill>
              <a:srgbClr val="B55B52"/>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6" name="Google Shape;3464;p45"/>
            <p:cNvSpPr/>
            <p:nvPr/>
          </p:nvSpPr>
          <p:spPr>
            <a:xfrm>
              <a:off x="3756250" y="1282850"/>
              <a:ext cx="139950" cy="105250"/>
            </a:xfrm>
            <a:custGeom>
              <a:avLst/>
              <a:gdLst/>
              <a:ahLst/>
              <a:cxnLst/>
              <a:rect l="l" t="t" r="r" b="b"/>
              <a:pathLst>
                <a:path w="5598" h="4210" extrusionOk="0">
                  <a:moveTo>
                    <a:pt x="1881" y="0"/>
                  </a:moveTo>
                  <a:cubicBezTo>
                    <a:pt x="1128" y="0"/>
                    <a:pt x="1510" y="830"/>
                    <a:pt x="1510" y="830"/>
                  </a:cubicBezTo>
                  <a:cubicBezTo>
                    <a:pt x="1510" y="830"/>
                    <a:pt x="1156" y="647"/>
                    <a:pt x="808" y="647"/>
                  </a:cubicBezTo>
                  <a:cubicBezTo>
                    <a:pt x="514" y="647"/>
                    <a:pt x="224" y="778"/>
                    <a:pt x="157" y="1263"/>
                  </a:cubicBezTo>
                  <a:cubicBezTo>
                    <a:pt x="0" y="2313"/>
                    <a:pt x="3158" y="2331"/>
                    <a:pt x="3536" y="2377"/>
                  </a:cubicBezTo>
                  <a:cubicBezTo>
                    <a:pt x="3435" y="2860"/>
                    <a:pt x="3741" y="4209"/>
                    <a:pt x="4149" y="4209"/>
                  </a:cubicBezTo>
                  <a:cubicBezTo>
                    <a:pt x="4153" y="4209"/>
                    <a:pt x="4157" y="4209"/>
                    <a:pt x="4162" y="4209"/>
                  </a:cubicBezTo>
                  <a:cubicBezTo>
                    <a:pt x="5598" y="3776"/>
                    <a:pt x="5322" y="1825"/>
                    <a:pt x="4548" y="1788"/>
                  </a:cubicBezTo>
                  <a:cubicBezTo>
                    <a:pt x="4852" y="1208"/>
                    <a:pt x="3922" y="554"/>
                    <a:pt x="2449" y="103"/>
                  </a:cubicBezTo>
                  <a:cubicBezTo>
                    <a:pt x="2211" y="31"/>
                    <a:pt x="2025" y="0"/>
                    <a:pt x="1881" y="0"/>
                  </a:cubicBezTo>
                  <a:close/>
                </a:path>
              </a:pathLst>
            </a:custGeom>
            <a:solidFill>
              <a:srgbClr val="26323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7" name="Google Shape;3465;p45"/>
            <p:cNvSpPr/>
            <p:nvPr/>
          </p:nvSpPr>
          <p:spPr>
            <a:xfrm>
              <a:off x="3845550" y="1364825"/>
              <a:ext cx="39600" cy="14975"/>
            </a:xfrm>
            <a:custGeom>
              <a:avLst/>
              <a:gdLst/>
              <a:ahLst/>
              <a:cxnLst/>
              <a:rect l="l" t="t" r="r" b="b"/>
              <a:pathLst>
                <a:path w="1584" h="599" extrusionOk="0">
                  <a:moveTo>
                    <a:pt x="0" y="0"/>
                  </a:moveTo>
                  <a:lnTo>
                    <a:pt x="0" y="599"/>
                  </a:lnTo>
                  <a:lnTo>
                    <a:pt x="1344" y="599"/>
                  </a:lnTo>
                  <a:cubicBezTo>
                    <a:pt x="1372" y="599"/>
                    <a:pt x="1390" y="580"/>
                    <a:pt x="1400" y="562"/>
                  </a:cubicBezTo>
                  <a:lnTo>
                    <a:pt x="1565" y="74"/>
                  </a:lnTo>
                  <a:cubicBezTo>
                    <a:pt x="1584" y="37"/>
                    <a:pt x="1556" y="0"/>
                    <a:pt x="1519"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8" name="Google Shape;3466;p45"/>
            <p:cNvSpPr/>
            <p:nvPr/>
          </p:nvSpPr>
          <p:spPr>
            <a:xfrm>
              <a:off x="3846525" y="1373325"/>
              <a:ext cx="37025" cy="38925"/>
            </a:xfrm>
            <a:custGeom>
              <a:avLst/>
              <a:gdLst/>
              <a:ahLst/>
              <a:cxnLst/>
              <a:rect l="l" t="t" r="r" b="b"/>
              <a:pathLst>
                <a:path w="1481" h="1557" extrusionOk="0">
                  <a:moveTo>
                    <a:pt x="827" y="1"/>
                  </a:moveTo>
                  <a:cubicBezTo>
                    <a:pt x="394" y="1"/>
                    <a:pt x="109" y="544"/>
                    <a:pt x="53" y="921"/>
                  </a:cubicBezTo>
                  <a:cubicBezTo>
                    <a:pt x="1" y="1261"/>
                    <a:pt x="164" y="1557"/>
                    <a:pt x="452" y="1557"/>
                  </a:cubicBezTo>
                  <a:cubicBezTo>
                    <a:pt x="516" y="1557"/>
                    <a:pt x="586" y="1542"/>
                    <a:pt x="661" y="1511"/>
                  </a:cubicBezTo>
                  <a:cubicBezTo>
                    <a:pt x="965" y="1382"/>
                    <a:pt x="1204" y="1133"/>
                    <a:pt x="1333" y="820"/>
                  </a:cubicBezTo>
                  <a:cubicBezTo>
                    <a:pt x="1480" y="434"/>
                    <a:pt x="1259" y="1"/>
                    <a:pt x="827" y="1"/>
                  </a:cubicBezTo>
                  <a:close/>
                </a:path>
              </a:pathLst>
            </a:custGeom>
            <a:solidFill>
              <a:srgbClr val="B55B52"/>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9" name="Google Shape;3467;p45"/>
            <p:cNvSpPr/>
            <p:nvPr/>
          </p:nvSpPr>
          <p:spPr>
            <a:xfrm>
              <a:off x="3571675" y="1778400"/>
              <a:ext cx="333725" cy="510500"/>
            </a:xfrm>
            <a:custGeom>
              <a:avLst/>
              <a:gdLst/>
              <a:ahLst/>
              <a:cxnLst/>
              <a:rect l="l" t="t" r="r" b="b"/>
              <a:pathLst>
                <a:path w="13349" h="20420" extrusionOk="0">
                  <a:moveTo>
                    <a:pt x="13349" y="1"/>
                  </a:moveTo>
                  <a:lnTo>
                    <a:pt x="8663" y="617"/>
                  </a:lnTo>
                  <a:cubicBezTo>
                    <a:pt x="8663" y="617"/>
                    <a:pt x="0" y="5782"/>
                    <a:pt x="46" y="9879"/>
                  </a:cubicBezTo>
                  <a:cubicBezTo>
                    <a:pt x="92" y="14150"/>
                    <a:pt x="2605" y="20383"/>
                    <a:pt x="2605" y="20383"/>
                  </a:cubicBezTo>
                  <a:lnTo>
                    <a:pt x="4889" y="20420"/>
                  </a:lnTo>
                  <a:cubicBezTo>
                    <a:pt x="4889" y="20420"/>
                    <a:pt x="3885" y="11794"/>
                    <a:pt x="3655" y="9584"/>
                  </a:cubicBezTo>
                  <a:cubicBezTo>
                    <a:pt x="4944" y="8866"/>
                    <a:pt x="9271" y="6095"/>
                    <a:pt x="12953" y="3683"/>
                  </a:cubicBezTo>
                  <a:cubicBezTo>
                    <a:pt x="13156" y="2468"/>
                    <a:pt x="13285" y="1234"/>
                    <a:pt x="13349" y="1"/>
                  </a:cubicBezTo>
                  <a:close/>
                </a:path>
              </a:pathLst>
            </a:custGeom>
            <a:solidFill>
              <a:srgbClr val="26323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0" name="Google Shape;3468;p45"/>
            <p:cNvSpPr/>
            <p:nvPr/>
          </p:nvSpPr>
          <p:spPr>
            <a:xfrm>
              <a:off x="3830575" y="1821200"/>
              <a:ext cx="27425" cy="89100"/>
            </a:xfrm>
            <a:custGeom>
              <a:avLst/>
              <a:gdLst/>
              <a:ahLst/>
              <a:cxnLst/>
              <a:rect l="l" t="t" r="r" b="b"/>
              <a:pathLst>
                <a:path w="1097" h="3564" extrusionOk="0">
                  <a:moveTo>
                    <a:pt x="839" y="1"/>
                  </a:moveTo>
                  <a:cubicBezTo>
                    <a:pt x="839" y="1"/>
                    <a:pt x="84" y="1916"/>
                    <a:pt x="1" y="3564"/>
                  </a:cubicBezTo>
                  <a:cubicBezTo>
                    <a:pt x="360" y="3352"/>
                    <a:pt x="728" y="3140"/>
                    <a:pt x="1096" y="2919"/>
                  </a:cubicBezTo>
                  <a:lnTo>
                    <a:pt x="839" y="1"/>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1" name="Google Shape;3469;p45"/>
            <p:cNvSpPr/>
            <p:nvPr/>
          </p:nvSpPr>
          <p:spPr>
            <a:xfrm>
              <a:off x="3830125" y="1821200"/>
              <a:ext cx="33850" cy="91875"/>
            </a:xfrm>
            <a:custGeom>
              <a:avLst/>
              <a:gdLst/>
              <a:ahLst/>
              <a:cxnLst/>
              <a:rect l="l" t="t" r="r" b="b"/>
              <a:pathLst>
                <a:path w="1354" h="3675" extrusionOk="0">
                  <a:moveTo>
                    <a:pt x="857" y="1"/>
                  </a:moveTo>
                  <a:cubicBezTo>
                    <a:pt x="857" y="1"/>
                    <a:pt x="175" y="2063"/>
                    <a:pt x="1" y="3674"/>
                  </a:cubicBezTo>
                  <a:lnTo>
                    <a:pt x="1354" y="2790"/>
                  </a:lnTo>
                  <a:lnTo>
                    <a:pt x="857" y="1"/>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2" name="Google Shape;3470;p45"/>
            <p:cNvSpPr/>
            <p:nvPr/>
          </p:nvSpPr>
          <p:spPr>
            <a:xfrm>
              <a:off x="3839100" y="1770575"/>
              <a:ext cx="325475" cy="519250"/>
            </a:xfrm>
            <a:custGeom>
              <a:avLst/>
              <a:gdLst/>
              <a:ahLst/>
              <a:cxnLst/>
              <a:rect l="l" t="t" r="r" b="b"/>
              <a:pathLst>
                <a:path w="13019" h="20770" extrusionOk="0">
                  <a:moveTo>
                    <a:pt x="5101" y="1"/>
                  </a:moveTo>
                  <a:lnTo>
                    <a:pt x="1" y="663"/>
                  </a:lnTo>
                  <a:cubicBezTo>
                    <a:pt x="1" y="663"/>
                    <a:pt x="553" y="8783"/>
                    <a:pt x="2551" y="12180"/>
                  </a:cubicBezTo>
                  <a:cubicBezTo>
                    <a:pt x="4733" y="15900"/>
                    <a:pt x="10993" y="20770"/>
                    <a:pt x="10993" y="20770"/>
                  </a:cubicBezTo>
                  <a:lnTo>
                    <a:pt x="13018" y="19831"/>
                  </a:lnTo>
                  <a:cubicBezTo>
                    <a:pt x="13018" y="19831"/>
                    <a:pt x="8866" y="14813"/>
                    <a:pt x="6601" y="11278"/>
                  </a:cubicBezTo>
                  <a:cubicBezTo>
                    <a:pt x="4005" y="7246"/>
                    <a:pt x="5681" y="3361"/>
                    <a:pt x="5101" y="1"/>
                  </a:cubicBezTo>
                  <a:close/>
                </a:path>
              </a:pathLst>
            </a:custGeom>
            <a:solidFill>
              <a:srgbClr val="26323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3" name="Google Shape;3471;p45"/>
            <p:cNvSpPr/>
            <p:nvPr/>
          </p:nvSpPr>
          <p:spPr>
            <a:xfrm>
              <a:off x="4096875" y="2251125"/>
              <a:ext cx="74375" cy="49050"/>
            </a:xfrm>
            <a:custGeom>
              <a:avLst/>
              <a:gdLst/>
              <a:ahLst/>
              <a:cxnLst/>
              <a:rect l="l" t="t" r="r" b="b"/>
              <a:pathLst>
                <a:path w="2975" h="1962" extrusionOk="0">
                  <a:moveTo>
                    <a:pt x="2569" y="1"/>
                  </a:moveTo>
                  <a:lnTo>
                    <a:pt x="0" y="1290"/>
                  </a:lnTo>
                  <a:lnTo>
                    <a:pt x="700" y="1962"/>
                  </a:lnTo>
                  <a:lnTo>
                    <a:pt x="2974" y="765"/>
                  </a:lnTo>
                  <a:lnTo>
                    <a:pt x="2569" y="1"/>
                  </a:ln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4" name="Google Shape;3472;p45"/>
            <p:cNvSpPr/>
            <p:nvPr/>
          </p:nvSpPr>
          <p:spPr>
            <a:xfrm>
              <a:off x="3622075" y="2265875"/>
              <a:ext cx="75975" cy="24425"/>
            </a:xfrm>
            <a:custGeom>
              <a:avLst/>
              <a:gdLst/>
              <a:ahLst/>
              <a:cxnLst/>
              <a:rect l="l" t="t" r="r" b="b"/>
              <a:pathLst>
                <a:path w="3039" h="977" extrusionOk="0">
                  <a:moveTo>
                    <a:pt x="0" y="0"/>
                  </a:moveTo>
                  <a:lnTo>
                    <a:pt x="304" y="930"/>
                  </a:lnTo>
                  <a:lnTo>
                    <a:pt x="3020" y="976"/>
                  </a:lnTo>
                  <a:lnTo>
                    <a:pt x="3038" y="92"/>
                  </a:lnTo>
                  <a:lnTo>
                    <a:pt x="0" y="0"/>
                  </a:ln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5" name="Google Shape;3473;p45"/>
            <p:cNvSpPr/>
            <p:nvPr/>
          </p:nvSpPr>
          <p:spPr>
            <a:xfrm>
              <a:off x="3808500" y="1364575"/>
              <a:ext cx="6700" cy="9725"/>
            </a:xfrm>
            <a:custGeom>
              <a:avLst/>
              <a:gdLst/>
              <a:ahLst/>
              <a:cxnLst/>
              <a:rect l="l" t="t" r="r" b="b"/>
              <a:pathLst>
                <a:path w="268" h="389" extrusionOk="0">
                  <a:moveTo>
                    <a:pt x="136" y="0"/>
                  </a:moveTo>
                  <a:cubicBezTo>
                    <a:pt x="67" y="0"/>
                    <a:pt x="9" y="80"/>
                    <a:pt x="9" y="185"/>
                  </a:cubicBezTo>
                  <a:cubicBezTo>
                    <a:pt x="0" y="296"/>
                    <a:pt x="46" y="388"/>
                    <a:pt x="120" y="388"/>
                  </a:cubicBezTo>
                  <a:cubicBezTo>
                    <a:pt x="124" y="388"/>
                    <a:pt x="127" y="388"/>
                    <a:pt x="131" y="388"/>
                  </a:cubicBezTo>
                  <a:cubicBezTo>
                    <a:pt x="200" y="388"/>
                    <a:pt x="258" y="308"/>
                    <a:pt x="258" y="204"/>
                  </a:cubicBezTo>
                  <a:cubicBezTo>
                    <a:pt x="267" y="93"/>
                    <a:pt x="221" y="1"/>
                    <a:pt x="147" y="1"/>
                  </a:cubicBezTo>
                  <a:cubicBezTo>
                    <a:pt x="144" y="1"/>
                    <a:pt x="140" y="0"/>
                    <a:pt x="136" y="0"/>
                  </a:cubicBezTo>
                  <a:close/>
                </a:path>
              </a:pathLst>
            </a:custGeom>
            <a:solidFill>
              <a:srgbClr val="26323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6" name="Google Shape;3474;p45"/>
            <p:cNvSpPr/>
            <p:nvPr/>
          </p:nvSpPr>
          <p:spPr>
            <a:xfrm>
              <a:off x="3777875" y="1362525"/>
              <a:ext cx="6700" cy="9925"/>
            </a:xfrm>
            <a:custGeom>
              <a:avLst/>
              <a:gdLst/>
              <a:ahLst/>
              <a:cxnLst/>
              <a:rect l="l" t="t" r="r" b="b"/>
              <a:pathLst>
                <a:path w="268" h="397" extrusionOk="0">
                  <a:moveTo>
                    <a:pt x="148" y="0"/>
                  </a:moveTo>
                  <a:cubicBezTo>
                    <a:pt x="74" y="0"/>
                    <a:pt x="19" y="83"/>
                    <a:pt x="10" y="193"/>
                  </a:cubicBezTo>
                  <a:cubicBezTo>
                    <a:pt x="1" y="304"/>
                    <a:pt x="47" y="387"/>
                    <a:pt x="120" y="396"/>
                  </a:cubicBezTo>
                  <a:cubicBezTo>
                    <a:pt x="124" y="396"/>
                    <a:pt x="127" y="397"/>
                    <a:pt x="131" y="397"/>
                  </a:cubicBezTo>
                  <a:cubicBezTo>
                    <a:pt x="200" y="397"/>
                    <a:pt x="259" y="308"/>
                    <a:pt x="259" y="212"/>
                  </a:cubicBezTo>
                  <a:cubicBezTo>
                    <a:pt x="268" y="101"/>
                    <a:pt x="212" y="9"/>
                    <a:pt x="148" y="0"/>
                  </a:cubicBezTo>
                  <a:close/>
                </a:path>
              </a:pathLst>
            </a:custGeom>
            <a:solidFill>
              <a:srgbClr val="26323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7" name="Google Shape;3475;p45"/>
            <p:cNvSpPr/>
            <p:nvPr/>
          </p:nvSpPr>
          <p:spPr>
            <a:xfrm>
              <a:off x="3779725" y="1369650"/>
              <a:ext cx="14300" cy="25850"/>
            </a:xfrm>
            <a:custGeom>
              <a:avLst/>
              <a:gdLst/>
              <a:ahLst/>
              <a:cxnLst/>
              <a:rect l="l" t="t" r="r" b="b"/>
              <a:pathLst>
                <a:path w="572" h="1034" extrusionOk="0">
                  <a:moveTo>
                    <a:pt x="571" y="1"/>
                  </a:moveTo>
                  <a:cubicBezTo>
                    <a:pt x="571" y="1"/>
                    <a:pt x="286" y="617"/>
                    <a:pt x="0" y="903"/>
                  </a:cubicBezTo>
                  <a:cubicBezTo>
                    <a:pt x="103" y="1011"/>
                    <a:pt x="260" y="1033"/>
                    <a:pt x="372" y="1033"/>
                  </a:cubicBezTo>
                  <a:cubicBezTo>
                    <a:pt x="451" y="1033"/>
                    <a:pt x="507" y="1022"/>
                    <a:pt x="507" y="1022"/>
                  </a:cubicBezTo>
                  <a:lnTo>
                    <a:pt x="571" y="1"/>
                  </a:lnTo>
                  <a:close/>
                </a:path>
              </a:pathLst>
            </a:custGeom>
            <a:solidFill>
              <a:srgbClr val="A0272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8" name="Google Shape;3476;p45"/>
            <p:cNvSpPr/>
            <p:nvPr/>
          </p:nvSpPr>
          <p:spPr>
            <a:xfrm>
              <a:off x="3799275" y="1394025"/>
              <a:ext cx="20400" cy="9250"/>
            </a:xfrm>
            <a:custGeom>
              <a:avLst/>
              <a:gdLst/>
              <a:ahLst/>
              <a:cxnLst/>
              <a:rect l="l" t="t" r="r" b="b"/>
              <a:pathLst>
                <a:path w="816" h="370" extrusionOk="0">
                  <a:moveTo>
                    <a:pt x="769" y="1"/>
                  </a:moveTo>
                  <a:cubicBezTo>
                    <a:pt x="762" y="1"/>
                    <a:pt x="754" y="4"/>
                    <a:pt x="747" y="11"/>
                  </a:cubicBezTo>
                  <a:cubicBezTo>
                    <a:pt x="585" y="206"/>
                    <a:pt x="345" y="307"/>
                    <a:pt x="92" y="307"/>
                  </a:cubicBezTo>
                  <a:cubicBezTo>
                    <a:pt x="71" y="307"/>
                    <a:pt x="50" y="307"/>
                    <a:pt x="29" y="305"/>
                  </a:cubicBezTo>
                  <a:cubicBezTo>
                    <a:pt x="10" y="305"/>
                    <a:pt x="1" y="314"/>
                    <a:pt x="1" y="333"/>
                  </a:cubicBezTo>
                  <a:cubicBezTo>
                    <a:pt x="1" y="351"/>
                    <a:pt x="10" y="370"/>
                    <a:pt x="29" y="370"/>
                  </a:cubicBezTo>
                  <a:lnTo>
                    <a:pt x="167" y="370"/>
                  </a:lnTo>
                  <a:cubicBezTo>
                    <a:pt x="415" y="351"/>
                    <a:pt x="645" y="241"/>
                    <a:pt x="802" y="47"/>
                  </a:cubicBezTo>
                  <a:cubicBezTo>
                    <a:pt x="816" y="27"/>
                    <a:pt x="793" y="1"/>
                    <a:pt x="769" y="1"/>
                  </a:cubicBezTo>
                  <a:close/>
                </a:path>
              </a:pathLst>
            </a:custGeom>
            <a:solidFill>
              <a:srgbClr val="26323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9" name="Google Shape;3477;p45"/>
            <p:cNvSpPr/>
            <p:nvPr/>
          </p:nvSpPr>
          <p:spPr>
            <a:xfrm>
              <a:off x="3812200" y="1352350"/>
              <a:ext cx="14725" cy="9725"/>
            </a:xfrm>
            <a:custGeom>
              <a:avLst/>
              <a:gdLst/>
              <a:ahLst/>
              <a:cxnLst/>
              <a:rect l="l" t="t" r="r" b="b"/>
              <a:pathLst>
                <a:path w="589" h="389" extrusionOk="0">
                  <a:moveTo>
                    <a:pt x="55" y="1"/>
                  </a:moveTo>
                  <a:cubicBezTo>
                    <a:pt x="29" y="1"/>
                    <a:pt x="0" y="34"/>
                    <a:pt x="9" y="67"/>
                  </a:cubicBezTo>
                  <a:cubicBezTo>
                    <a:pt x="9" y="94"/>
                    <a:pt x="36" y="122"/>
                    <a:pt x="73" y="122"/>
                  </a:cubicBezTo>
                  <a:cubicBezTo>
                    <a:pt x="230" y="140"/>
                    <a:pt x="377" y="223"/>
                    <a:pt x="460" y="361"/>
                  </a:cubicBezTo>
                  <a:cubicBezTo>
                    <a:pt x="478" y="380"/>
                    <a:pt x="497" y="389"/>
                    <a:pt x="524" y="389"/>
                  </a:cubicBezTo>
                  <a:cubicBezTo>
                    <a:pt x="533" y="389"/>
                    <a:pt x="543" y="389"/>
                    <a:pt x="552" y="380"/>
                  </a:cubicBezTo>
                  <a:cubicBezTo>
                    <a:pt x="579" y="361"/>
                    <a:pt x="589" y="324"/>
                    <a:pt x="570" y="287"/>
                  </a:cubicBezTo>
                  <a:cubicBezTo>
                    <a:pt x="460" y="122"/>
                    <a:pt x="276" y="11"/>
                    <a:pt x="64" y="2"/>
                  </a:cubicBezTo>
                  <a:cubicBezTo>
                    <a:pt x="61" y="1"/>
                    <a:pt x="58" y="1"/>
                    <a:pt x="55" y="1"/>
                  </a:cubicBezTo>
                  <a:close/>
                </a:path>
              </a:pathLst>
            </a:custGeom>
            <a:solidFill>
              <a:srgbClr val="26323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0" name="Google Shape;3478;p45"/>
            <p:cNvSpPr/>
            <p:nvPr/>
          </p:nvSpPr>
          <p:spPr>
            <a:xfrm>
              <a:off x="3770525" y="1349825"/>
              <a:ext cx="16275" cy="7425"/>
            </a:xfrm>
            <a:custGeom>
              <a:avLst/>
              <a:gdLst/>
              <a:ahLst/>
              <a:cxnLst/>
              <a:rect l="l" t="t" r="r" b="b"/>
              <a:pathLst>
                <a:path w="651" h="297" extrusionOk="0">
                  <a:moveTo>
                    <a:pt x="468" y="1"/>
                  </a:moveTo>
                  <a:cubicBezTo>
                    <a:pt x="305" y="1"/>
                    <a:pt x="148" y="66"/>
                    <a:pt x="28" y="186"/>
                  </a:cubicBezTo>
                  <a:cubicBezTo>
                    <a:pt x="0" y="214"/>
                    <a:pt x="0" y="250"/>
                    <a:pt x="28" y="278"/>
                  </a:cubicBezTo>
                  <a:cubicBezTo>
                    <a:pt x="37" y="287"/>
                    <a:pt x="46" y="287"/>
                    <a:pt x="55" y="296"/>
                  </a:cubicBezTo>
                  <a:cubicBezTo>
                    <a:pt x="74" y="296"/>
                    <a:pt x="101" y="287"/>
                    <a:pt x="111" y="278"/>
                  </a:cubicBezTo>
                  <a:cubicBezTo>
                    <a:pt x="213" y="175"/>
                    <a:pt x="343" y="127"/>
                    <a:pt x="483" y="127"/>
                  </a:cubicBezTo>
                  <a:cubicBezTo>
                    <a:pt x="506" y="127"/>
                    <a:pt x="529" y="128"/>
                    <a:pt x="553" y="131"/>
                  </a:cubicBezTo>
                  <a:cubicBezTo>
                    <a:pt x="556" y="131"/>
                    <a:pt x="559" y="131"/>
                    <a:pt x="562" y="131"/>
                  </a:cubicBezTo>
                  <a:cubicBezTo>
                    <a:pt x="628" y="131"/>
                    <a:pt x="651" y="37"/>
                    <a:pt x="580" y="11"/>
                  </a:cubicBezTo>
                  <a:cubicBezTo>
                    <a:pt x="543" y="4"/>
                    <a:pt x="505" y="1"/>
                    <a:pt x="468" y="1"/>
                  </a:cubicBezTo>
                  <a:close/>
                </a:path>
              </a:pathLst>
            </a:custGeom>
            <a:solidFill>
              <a:srgbClr val="26323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1" name="Google Shape;3479;p45"/>
            <p:cNvSpPr/>
            <p:nvPr/>
          </p:nvSpPr>
          <p:spPr>
            <a:xfrm>
              <a:off x="4133925" y="2330625"/>
              <a:ext cx="17975" cy="8075"/>
            </a:xfrm>
            <a:custGeom>
              <a:avLst/>
              <a:gdLst/>
              <a:ahLst/>
              <a:cxnLst/>
              <a:rect l="l" t="t" r="r" b="b"/>
              <a:pathLst>
                <a:path w="719" h="323" extrusionOk="0">
                  <a:moveTo>
                    <a:pt x="472" y="68"/>
                  </a:moveTo>
                  <a:cubicBezTo>
                    <a:pt x="518" y="68"/>
                    <a:pt x="564" y="69"/>
                    <a:pt x="608" y="71"/>
                  </a:cubicBezTo>
                  <a:cubicBezTo>
                    <a:pt x="445" y="202"/>
                    <a:pt x="296" y="267"/>
                    <a:pt x="200" y="267"/>
                  </a:cubicBezTo>
                  <a:cubicBezTo>
                    <a:pt x="188" y="267"/>
                    <a:pt x="177" y="266"/>
                    <a:pt x="166" y="264"/>
                  </a:cubicBezTo>
                  <a:cubicBezTo>
                    <a:pt x="120" y="255"/>
                    <a:pt x="93" y="218"/>
                    <a:pt x="74" y="181"/>
                  </a:cubicBezTo>
                  <a:cubicBezTo>
                    <a:pt x="65" y="163"/>
                    <a:pt x="65" y="144"/>
                    <a:pt x="74" y="135"/>
                  </a:cubicBezTo>
                  <a:cubicBezTo>
                    <a:pt x="118" y="84"/>
                    <a:pt x="295" y="68"/>
                    <a:pt x="472" y="68"/>
                  </a:cubicBezTo>
                  <a:close/>
                  <a:moveTo>
                    <a:pt x="435" y="1"/>
                  </a:moveTo>
                  <a:cubicBezTo>
                    <a:pt x="271" y="1"/>
                    <a:pt x="81" y="20"/>
                    <a:pt x="28" y="98"/>
                  </a:cubicBezTo>
                  <a:cubicBezTo>
                    <a:pt x="1" y="126"/>
                    <a:pt x="1" y="172"/>
                    <a:pt x="19" y="200"/>
                  </a:cubicBezTo>
                  <a:cubicBezTo>
                    <a:pt x="38" y="264"/>
                    <a:pt x="93" y="301"/>
                    <a:pt x="148" y="319"/>
                  </a:cubicBezTo>
                  <a:cubicBezTo>
                    <a:pt x="169" y="321"/>
                    <a:pt x="189" y="323"/>
                    <a:pt x="210" y="323"/>
                  </a:cubicBezTo>
                  <a:cubicBezTo>
                    <a:pt x="281" y="323"/>
                    <a:pt x="351" y="309"/>
                    <a:pt x="415" y="273"/>
                  </a:cubicBezTo>
                  <a:cubicBezTo>
                    <a:pt x="516" y="218"/>
                    <a:pt x="617" y="144"/>
                    <a:pt x="710" y="71"/>
                  </a:cubicBezTo>
                  <a:cubicBezTo>
                    <a:pt x="719" y="62"/>
                    <a:pt x="719" y="52"/>
                    <a:pt x="719" y="34"/>
                  </a:cubicBezTo>
                  <a:cubicBezTo>
                    <a:pt x="710" y="25"/>
                    <a:pt x="700" y="16"/>
                    <a:pt x="691" y="16"/>
                  </a:cubicBezTo>
                  <a:cubicBezTo>
                    <a:pt x="667" y="12"/>
                    <a:pt x="558" y="1"/>
                    <a:pt x="435" y="1"/>
                  </a:cubicBezTo>
                  <a:close/>
                </a:path>
              </a:pathLst>
            </a:custGeom>
            <a:solidFill>
              <a:srgbClr val="26323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2" name="Google Shape;3480;p45"/>
            <p:cNvSpPr/>
            <p:nvPr/>
          </p:nvSpPr>
          <p:spPr>
            <a:xfrm>
              <a:off x="4136450" y="2321475"/>
              <a:ext cx="15450" cy="11150"/>
            </a:xfrm>
            <a:custGeom>
              <a:avLst/>
              <a:gdLst/>
              <a:ahLst/>
              <a:cxnLst/>
              <a:rect l="l" t="t" r="r" b="b"/>
              <a:pathLst>
                <a:path w="618" h="446" extrusionOk="0">
                  <a:moveTo>
                    <a:pt x="160" y="62"/>
                  </a:moveTo>
                  <a:cubicBezTo>
                    <a:pt x="171" y="62"/>
                    <a:pt x="183" y="65"/>
                    <a:pt x="194" y="69"/>
                  </a:cubicBezTo>
                  <a:cubicBezTo>
                    <a:pt x="314" y="96"/>
                    <a:pt x="461" y="280"/>
                    <a:pt x="526" y="372"/>
                  </a:cubicBezTo>
                  <a:cubicBezTo>
                    <a:pt x="351" y="345"/>
                    <a:pt x="102" y="216"/>
                    <a:pt x="75" y="133"/>
                  </a:cubicBezTo>
                  <a:cubicBezTo>
                    <a:pt x="75" y="124"/>
                    <a:pt x="65" y="105"/>
                    <a:pt x="102" y="78"/>
                  </a:cubicBezTo>
                  <a:lnTo>
                    <a:pt x="111" y="78"/>
                  </a:lnTo>
                  <a:cubicBezTo>
                    <a:pt x="128" y="67"/>
                    <a:pt x="144" y="62"/>
                    <a:pt x="160" y="62"/>
                  </a:cubicBezTo>
                  <a:close/>
                  <a:moveTo>
                    <a:pt x="169" y="1"/>
                  </a:moveTo>
                  <a:cubicBezTo>
                    <a:pt x="134" y="1"/>
                    <a:pt x="100" y="11"/>
                    <a:pt x="65" y="32"/>
                  </a:cubicBezTo>
                  <a:cubicBezTo>
                    <a:pt x="19" y="50"/>
                    <a:pt x="1" y="96"/>
                    <a:pt x="10" y="142"/>
                  </a:cubicBezTo>
                  <a:cubicBezTo>
                    <a:pt x="56" y="289"/>
                    <a:pt x="424" y="437"/>
                    <a:pt x="590" y="437"/>
                  </a:cubicBezTo>
                  <a:cubicBezTo>
                    <a:pt x="590" y="437"/>
                    <a:pt x="599" y="446"/>
                    <a:pt x="599" y="446"/>
                  </a:cubicBezTo>
                  <a:cubicBezTo>
                    <a:pt x="609" y="437"/>
                    <a:pt x="609" y="437"/>
                    <a:pt x="609" y="428"/>
                  </a:cubicBezTo>
                  <a:cubicBezTo>
                    <a:pt x="618" y="418"/>
                    <a:pt x="618" y="409"/>
                    <a:pt x="609" y="400"/>
                  </a:cubicBezTo>
                  <a:cubicBezTo>
                    <a:pt x="609" y="382"/>
                    <a:pt x="406" y="50"/>
                    <a:pt x="203" y="4"/>
                  </a:cubicBezTo>
                  <a:cubicBezTo>
                    <a:pt x="192" y="2"/>
                    <a:pt x="180" y="1"/>
                    <a:pt x="169" y="1"/>
                  </a:cubicBezTo>
                  <a:close/>
                </a:path>
              </a:pathLst>
            </a:custGeom>
            <a:solidFill>
              <a:srgbClr val="26323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3" name="Google Shape;3481;p45"/>
            <p:cNvSpPr/>
            <p:nvPr/>
          </p:nvSpPr>
          <p:spPr>
            <a:xfrm>
              <a:off x="3629650" y="2326700"/>
              <a:ext cx="21200" cy="8700"/>
            </a:xfrm>
            <a:custGeom>
              <a:avLst/>
              <a:gdLst/>
              <a:ahLst/>
              <a:cxnLst/>
              <a:rect l="l" t="t" r="r" b="b"/>
              <a:pathLst>
                <a:path w="848" h="348" extrusionOk="0">
                  <a:moveTo>
                    <a:pt x="149" y="74"/>
                  </a:moveTo>
                  <a:cubicBezTo>
                    <a:pt x="277" y="74"/>
                    <a:pt x="525" y="176"/>
                    <a:pt x="710" y="265"/>
                  </a:cubicBezTo>
                  <a:cubicBezTo>
                    <a:pt x="602" y="281"/>
                    <a:pt x="504" y="290"/>
                    <a:pt x="419" y="290"/>
                  </a:cubicBezTo>
                  <a:cubicBezTo>
                    <a:pt x="272" y="290"/>
                    <a:pt x="164" y="265"/>
                    <a:pt x="111" y="219"/>
                  </a:cubicBezTo>
                  <a:cubicBezTo>
                    <a:pt x="84" y="191"/>
                    <a:pt x="65" y="154"/>
                    <a:pt x="75" y="117"/>
                  </a:cubicBezTo>
                  <a:cubicBezTo>
                    <a:pt x="75" y="99"/>
                    <a:pt x="84" y="90"/>
                    <a:pt x="93" y="80"/>
                  </a:cubicBezTo>
                  <a:lnTo>
                    <a:pt x="102" y="80"/>
                  </a:lnTo>
                  <a:cubicBezTo>
                    <a:pt x="115" y="76"/>
                    <a:pt x="131" y="74"/>
                    <a:pt x="149" y="74"/>
                  </a:cubicBezTo>
                  <a:close/>
                  <a:moveTo>
                    <a:pt x="144" y="1"/>
                  </a:moveTo>
                  <a:cubicBezTo>
                    <a:pt x="113" y="1"/>
                    <a:pt x="86" y="6"/>
                    <a:pt x="65" y="16"/>
                  </a:cubicBezTo>
                  <a:cubicBezTo>
                    <a:pt x="29" y="34"/>
                    <a:pt x="10" y="62"/>
                    <a:pt x="10" y="99"/>
                  </a:cubicBezTo>
                  <a:cubicBezTo>
                    <a:pt x="1" y="163"/>
                    <a:pt x="19" y="219"/>
                    <a:pt x="65" y="255"/>
                  </a:cubicBezTo>
                  <a:cubicBezTo>
                    <a:pt x="139" y="324"/>
                    <a:pt x="273" y="347"/>
                    <a:pt x="415" y="347"/>
                  </a:cubicBezTo>
                  <a:cubicBezTo>
                    <a:pt x="558" y="347"/>
                    <a:pt x="710" y="324"/>
                    <a:pt x="820" y="301"/>
                  </a:cubicBezTo>
                  <a:lnTo>
                    <a:pt x="820" y="311"/>
                  </a:lnTo>
                  <a:cubicBezTo>
                    <a:pt x="830" y="301"/>
                    <a:pt x="839" y="292"/>
                    <a:pt x="839" y="283"/>
                  </a:cubicBezTo>
                  <a:cubicBezTo>
                    <a:pt x="848" y="265"/>
                    <a:pt x="839" y="255"/>
                    <a:pt x="830" y="246"/>
                  </a:cubicBezTo>
                  <a:cubicBezTo>
                    <a:pt x="773" y="222"/>
                    <a:pt x="358" y="1"/>
                    <a:pt x="144" y="1"/>
                  </a:cubicBezTo>
                  <a:close/>
                </a:path>
              </a:pathLst>
            </a:custGeom>
            <a:solidFill>
              <a:srgbClr val="26323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4" name="Google Shape;3482;p45"/>
            <p:cNvSpPr/>
            <p:nvPr/>
          </p:nvSpPr>
          <p:spPr>
            <a:xfrm>
              <a:off x="3637475" y="2319200"/>
              <a:ext cx="13150" cy="15275"/>
            </a:xfrm>
            <a:custGeom>
              <a:avLst/>
              <a:gdLst/>
              <a:ahLst/>
              <a:cxnLst/>
              <a:rect l="l" t="t" r="r" b="b"/>
              <a:pathLst>
                <a:path w="526" h="611" extrusionOk="0">
                  <a:moveTo>
                    <a:pt x="182" y="65"/>
                  </a:moveTo>
                  <a:cubicBezTo>
                    <a:pt x="220" y="65"/>
                    <a:pt x="256" y="82"/>
                    <a:pt x="286" y="104"/>
                  </a:cubicBezTo>
                  <a:cubicBezTo>
                    <a:pt x="406" y="206"/>
                    <a:pt x="443" y="417"/>
                    <a:pt x="461" y="528"/>
                  </a:cubicBezTo>
                  <a:cubicBezTo>
                    <a:pt x="296" y="426"/>
                    <a:pt x="84" y="187"/>
                    <a:pt x="93" y="95"/>
                  </a:cubicBezTo>
                  <a:cubicBezTo>
                    <a:pt x="93" y="86"/>
                    <a:pt x="93" y="77"/>
                    <a:pt x="121" y="67"/>
                  </a:cubicBezTo>
                  <a:lnTo>
                    <a:pt x="157" y="67"/>
                  </a:lnTo>
                  <a:cubicBezTo>
                    <a:pt x="166" y="66"/>
                    <a:pt x="174" y="65"/>
                    <a:pt x="182" y="65"/>
                  </a:cubicBezTo>
                  <a:close/>
                  <a:moveTo>
                    <a:pt x="180" y="1"/>
                  </a:moveTo>
                  <a:cubicBezTo>
                    <a:pt x="170" y="1"/>
                    <a:pt x="159" y="1"/>
                    <a:pt x="148" y="3"/>
                  </a:cubicBezTo>
                  <a:cubicBezTo>
                    <a:pt x="65" y="3"/>
                    <a:pt x="38" y="49"/>
                    <a:pt x="29" y="86"/>
                  </a:cubicBezTo>
                  <a:cubicBezTo>
                    <a:pt x="1" y="242"/>
                    <a:pt x="323" y="537"/>
                    <a:pt x="480" y="611"/>
                  </a:cubicBezTo>
                  <a:lnTo>
                    <a:pt x="517" y="611"/>
                  </a:lnTo>
                  <a:cubicBezTo>
                    <a:pt x="526" y="601"/>
                    <a:pt x="526" y="592"/>
                    <a:pt x="526" y="583"/>
                  </a:cubicBezTo>
                  <a:cubicBezTo>
                    <a:pt x="526" y="565"/>
                    <a:pt x="498" y="196"/>
                    <a:pt x="323" y="58"/>
                  </a:cubicBezTo>
                  <a:cubicBezTo>
                    <a:pt x="285" y="20"/>
                    <a:pt x="234" y="1"/>
                    <a:pt x="180" y="1"/>
                  </a:cubicBezTo>
                  <a:close/>
                </a:path>
              </a:pathLst>
            </a:custGeom>
            <a:solidFill>
              <a:srgbClr val="26323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5" name="Google Shape;3483;p45"/>
            <p:cNvSpPr/>
            <p:nvPr/>
          </p:nvSpPr>
          <p:spPr>
            <a:xfrm>
              <a:off x="3907450" y="1489325"/>
              <a:ext cx="185300" cy="158150"/>
            </a:xfrm>
            <a:custGeom>
              <a:avLst/>
              <a:gdLst/>
              <a:ahLst/>
              <a:cxnLst/>
              <a:rect l="l" t="t" r="r" b="b"/>
              <a:pathLst>
                <a:path w="7412" h="6326" extrusionOk="0">
                  <a:moveTo>
                    <a:pt x="654" y="1"/>
                  </a:moveTo>
                  <a:lnTo>
                    <a:pt x="1" y="1934"/>
                  </a:lnTo>
                  <a:lnTo>
                    <a:pt x="2220" y="2735"/>
                  </a:lnTo>
                  <a:cubicBezTo>
                    <a:pt x="2956" y="3011"/>
                    <a:pt x="3692" y="3278"/>
                    <a:pt x="4420" y="3564"/>
                  </a:cubicBezTo>
                  <a:cubicBezTo>
                    <a:pt x="4604" y="3628"/>
                    <a:pt x="4779" y="3702"/>
                    <a:pt x="4963" y="3775"/>
                  </a:cubicBezTo>
                  <a:lnTo>
                    <a:pt x="5221" y="3877"/>
                  </a:lnTo>
                  <a:cubicBezTo>
                    <a:pt x="5294" y="3904"/>
                    <a:pt x="5359" y="3941"/>
                    <a:pt x="5423" y="3969"/>
                  </a:cubicBezTo>
                  <a:cubicBezTo>
                    <a:pt x="5525" y="4015"/>
                    <a:pt x="5617" y="4070"/>
                    <a:pt x="5709" y="4134"/>
                  </a:cubicBezTo>
                  <a:cubicBezTo>
                    <a:pt x="5759" y="4170"/>
                    <a:pt x="5775" y="4184"/>
                    <a:pt x="5789" y="4184"/>
                  </a:cubicBezTo>
                  <a:cubicBezTo>
                    <a:pt x="5793" y="4184"/>
                    <a:pt x="5797" y="4182"/>
                    <a:pt x="5801" y="4180"/>
                  </a:cubicBezTo>
                  <a:cubicBezTo>
                    <a:pt x="5819" y="4180"/>
                    <a:pt x="5838" y="4226"/>
                    <a:pt x="5810" y="4328"/>
                  </a:cubicBezTo>
                  <a:cubicBezTo>
                    <a:pt x="5764" y="4456"/>
                    <a:pt x="5699" y="4576"/>
                    <a:pt x="5617" y="4687"/>
                  </a:cubicBezTo>
                  <a:cubicBezTo>
                    <a:pt x="5414" y="4963"/>
                    <a:pt x="5175" y="5221"/>
                    <a:pt x="4917" y="5451"/>
                  </a:cubicBezTo>
                  <a:lnTo>
                    <a:pt x="5414" y="6325"/>
                  </a:lnTo>
                  <a:cubicBezTo>
                    <a:pt x="5626" y="6242"/>
                    <a:pt x="5828" y="6150"/>
                    <a:pt x="6031" y="6031"/>
                  </a:cubicBezTo>
                  <a:cubicBezTo>
                    <a:pt x="6233" y="5911"/>
                    <a:pt x="6427" y="5782"/>
                    <a:pt x="6602" y="5626"/>
                  </a:cubicBezTo>
                  <a:cubicBezTo>
                    <a:pt x="6804" y="5460"/>
                    <a:pt x="6988" y="5257"/>
                    <a:pt x="7136" y="5027"/>
                  </a:cubicBezTo>
                  <a:cubicBezTo>
                    <a:pt x="7218" y="4889"/>
                    <a:pt x="7283" y="4742"/>
                    <a:pt x="7338" y="4585"/>
                  </a:cubicBezTo>
                  <a:cubicBezTo>
                    <a:pt x="7384" y="4401"/>
                    <a:pt x="7412" y="4217"/>
                    <a:pt x="7403" y="4024"/>
                  </a:cubicBezTo>
                  <a:cubicBezTo>
                    <a:pt x="7393" y="3830"/>
                    <a:pt x="7347" y="3637"/>
                    <a:pt x="7264" y="3453"/>
                  </a:cubicBezTo>
                  <a:cubicBezTo>
                    <a:pt x="7200" y="3287"/>
                    <a:pt x="7108" y="3140"/>
                    <a:pt x="6988" y="3002"/>
                  </a:cubicBezTo>
                  <a:cubicBezTo>
                    <a:pt x="6804" y="2781"/>
                    <a:pt x="6592" y="2588"/>
                    <a:pt x="6344" y="2422"/>
                  </a:cubicBezTo>
                  <a:cubicBezTo>
                    <a:pt x="6243" y="2358"/>
                    <a:pt x="6132" y="2293"/>
                    <a:pt x="6022" y="2229"/>
                  </a:cubicBezTo>
                  <a:lnTo>
                    <a:pt x="5939" y="2192"/>
                  </a:lnTo>
                  <a:lnTo>
                    <a:pt x="5874" y="2155"/>
                  </a:lnTo>
                  <a:lnTo>
                    <a:pt x="5736" y="2081"/>
                  </a:lnTo>
                  <a:cubicBezTo>
                    <a:pt x="5552" y="1989"/>
                    <a:pt x="5368" y="1897"/>
                    <a:pt x="5184" y="1814"/>
                  </a:cubicBezTo>
                  <a:cubicBezTo>
                    <a:pt x="4438" y="1455"/>
                    <a:pt x="3702" y="1133"/>
                    <a:pt x="2947" y="838"/>
                  </a:cubicBezTo>
                  <a:cubicBezTo>
                    <a:pt x="2183" y="535"/>
                    <a:pt x="1437" y="259"/>
                    <a:pt x="654" y="1"/>
                  </a:cubicBezTo>
                  <a:close/>
                </a:path>
              </a:pathLst>
            </a:custGeom>
            <a:solidFill>
              <a:srgbClr val="B55B52"/>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6" name="Google Shape;3484;p45"/>
            <p:cNvSpPr/>
            <p:nvPr/>
          </p:nvSpPr>
          <p:spPr>
            <a:xfrm>
              <a:off x="3868325" y="1477800"/>
              <a:ext cx="148700" cy="106150"/>
            </a:xfrm>
            <a:custGeom>
              <a:avLst/>
              <a:gdLst/>
              <a:ahLst/>
              <a:cxnLst/>
              <a:rect l="l" t="t" r="r" b="b"/>
              <a:pathLst>
                <a:path w="5948" h="4246" extrusionOk="0">
                  <a:moveTo>
                    <a:pt x="1979" y="1"/>
                  </a:moveTo>
                  <a:cubicBezTo>
                    <a:pt x="1745" y="1"/>
                    <a:pt x="1541" y="37"/>
                    <a:pt x="1382" y="121"/>
                  </a:cubicBezTo>
                  <a:cubicBezTo>
                    <a:pt x="1" y="858"/>
                    <a:pt x="19" y="2192"/>
                    <a:pt x="1649" y="2984"/>
                  </a:cubicBezTo>
                  <a:cubicBezTo>
                    <a:pt x="2680" y="3472"/>
                    <a:pt x="3748" y="3896"/>
                    <a:pt x="4843" y="4245"/>
                  </a:cubicBezTo>
                  <a:lnTo>
                    <a:pt x="5948" y="1355"/>
                  </a:lnTo>
                  <a:cubicBezTo>
                    <a:pt x="5948" y="1355"/>
                    <a:pt x="3411" y="1"/>
                    <a:pt x="1979" y="1"/>
                  </a:cubicBezTo>
                  <a:close/>
                </a:path>
              </a:pathLst>
            </a:custGeom>
            <a:solidFill>
              <a:srgbClr val="26323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7" name="Google Shape;3485;p45"/>
            <p:cNvSpPr/>
            <p:nvPr/>
          </p:nvSpPr>
          <p:spPr>
            <a:xfrm>
              <a:off x="4005050" y="1622825"/>
              <a:ext cx="46050" cy="44675"/>
            </a:xfrm>
            <a:custGeom>
              <a:avLst/>
              <a:gdLst/>
              <a:ahLst/>
              <a:cxnLst/>
              <a:rect l="l" t="t" r="r" b="b"/>
              <a:pathLst>
                <a:path w="1842" h="1787" extrusionOk="0">
                  <a:moveTo>
                    <a:pt x="1243" y="0"/>
                  </a:moveTo>
                  <a:lnTo>
                    <a:pt x="0" y="553"/>
                  </a:lnTo>
                  <a:lnTo>
                    <a:pt x="921" y="1786"/>
                  </a:lnTo>
                  <a:cubicBezTo>
                    <a:pt x="921" y="1786"/>
                    <a:pt x="1786" y="1243"/>
                    <a:pt x="1841" y="718"/>
                  </a:cubicBezTo>
                  <a:lnTo>
                    <a:pt x="1243" y="0"/>
                  </a:lnTo>
                  <a:close/>
                </a:path>
              </a:pathLst>
            </a:custGeom>
            <a:solidFill>
              <a:srgbClr val="B55B52"/>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8" name="Google Shape;3486;p45"/>
            <p:cNvSpPr/>
            <p:nvPr/>
          </p:nvSpPr>
          <p:spPr>
            <a:xfrm>
              <a:off x="3982250" y="1636625"/>
              <a:ext cx="45600" cy="44675"/>
            </a:xfrm>
            <a:custGeom>
              <a:avLst/>
              <a:gdLst/>
              <a:ahLst/>
              <a:cxnLst/>
              <a:rect l="l" t="t" r="r" b="b"/>
              <a:pathLst>
                <a:path w="1824" h="1787" extrusionOk="0">
                  <a:moveTo>
                    <a:pt x="912" y="1"/>
                  </a:moveTo>
                  <a:lnTo>
                    <a:pt x="1" y="1023"/>
                  </a:lnTo>
                  <a:lnTo>
                    <a:pt x="1345" y="1787"/>
                  </a:lnTo>
                  <a:lnTo>
                    <a:pt x="1824" y="1234"/>
                  </a:lnTo>
                  <a:lnTo>
                    <a:pt x="912" y="1"/>
                  </a:lnTo>
                  <a:close/>
                </a:path>
              </a:pathLst>
            </a:custGeom>
            <a:solidFill>
              <a:srgbClr val="B55B52"/>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9" name="Google Shape;3487;p45"/>
            <p:cNvSpPr/>
            <p:nvPr/>
          </p:nvSpPr>
          <p:spPr>
            <a:xfrm>
              <a:off x="3754625" y="1348250"/>
              <a:ext cx="97150" cy="43300"/>
            </a:xfrm>
            <a:custGeom>
              <a:avLst/>
              <a:gdLst/>
              <a:ahLst/>
              <a:cxnLst/>
              <a:rect l="l" t="t" r="r" b="b"/>
              <a:pathLst>
                <a:path w="3886" h="1732" extrusionOk="0">
                  <a:moveTo>
                    <a:pt x="443" y="0"/>
                  </a:moveTo>
                  <a:cubicBezTo>
                    <a:pt x="194" y="0"/>
                    <a:pt x="1" y="212"/>
                    <a:pt x="29" y="461"/>
                  </a:cubicBezTo>
                  <a:lnTo>
                    <a:pt x="111" y="1271"/>
                  </a:lnTo>
                  <a:cubicBezTo>
                    <a:pt x="139" y="1529"/>
                    <a:pt x="360" y="1722"/>
                    <a:pt x="618" y="1731"/>
                  </a:cubicBezTo>
                  <a:lnTo>
                    <a:pt x="3435" y="1731"/>
                  </a:lnTo>
                  <a:cubicBezTo>
                    <a:pt x="3683" y="1731"/>
                    <a:pt x="3886" y="1519"/>
                    <a:pt x="3858" y="1271"/>
                  </a:cubicBezTo>
                  <a:lnTo>
                    <a:pt x="3775" y="461"/>
                  </a:lnTo>
                  <a:cubicBezTo>
                    <a:pt x="3748" y="203"/>
                    <a:pt x="3527" y="10"/>
                    <a:pt x="3269"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0" name="Google Shape;3488;p45"/>
            <p:cNvSpPr/>
            <p:nvPr/>
          </p:nvSpPr>
          <p:spPr>
            <a:xfrm>
              <a:off x="3754625" y="1348250"/>
              <a:ext cx="97150" cy="43300"/>
            </a:xfrm>
            <a:custGeom>
              <a:avLst/>
              <a:gdLst/>
              <a:ahLst/>
              <a:cxnLst/>
              <a:rect l="l" t="t" r="r" b="b"/>
              <a:pathLst>
                <a:path w="3886" h="1732" extrusionOk="0">
                  <a:moveTo>
                    <a:pt x="443" y="0"/>
                  </a:moveTo>
                  <a:cubicBezTo>
                    <a:pt x="194" y="0"/>
                    <a:pt x="1" y="212"/>
                    <a:pt x="29" y="461"/>
                  </a:cubicBezTo>
                  <a:lnTo>
                    <a:pt x="111" y="1271"/>
                  </a:lnTo>
                  <a:cubicBezTo>
                    <a:pt x="139" y="1529"/>
                    <a:pt x="360" y="1722"/>
                    <a:pt x="618" y="1731"/>
                  </a:cubicBezTo>
                  <a:lnTo>
                    <a:pt x="3435" y="1731"/>
                  </a:lnTo>
                  <a:cubicBezTo>
                    <a:pt x="3683" y="1731"/>
                    <a:pt x="3886" y="1519"/>
                    <a:pt x="3858" y="1271"/>
                  </a:cubicBezTo>
                  <a:lnTo>
                    <a:pt x="3775" y="461"/>
                  </a:lnTo>
                  <a:cubicBezTo>
                    <a:pt x="3748" y="203"/>
                    <a:pt x="3527" y="10"/>
                    <a:pt x="3269" y="0"/>
                  </a:cubicBez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1" name="Google Shape;3489;p45"/>
            <p:cNvSpPr/>
            <p:nvPr/>
          </p:nvSpPr>
          <p:spPr>
            <a:xfrm>
              <a:off x="3744750" y="1348250"/>
              <a:ext cx="96900" cy="43300"/>
            </a:xfrm>
            <a:custGeom>
              <a:avLst/>
              <a:gdLst/>
              <a:ahLst/>
              <a:cxnLst/>
              <a:rect l="l" t="t" r="r" b="b"/>
              <a:pathLst>
                <a:path w="3876" h="1732" extrusionOk="0">
                  <a:moveTo>
                    <a:pt x="442" y="0"/>
                  </a:moveTo>
                  <a:cubicBezTo>
                    <a:pt x="193" y="0"/>
                    <a:pt x="0" y="212"/>
                    <a:pt x="28" y="461"/>
                  </a:cubicBezTo>
                  <a:lnTo>
                    <a:pt x="101" y="1271"/>
                  </a:lnTo>
                  <a:cubicBezTo>
                    <a:pt x="138" y="1529"/>
                    <a:pt x="350" y="1722"/>
                    <a:pt x="617" y="1731"/>
                  </a:cubicBezTo>
                  <a:lnTo>
                    <a:pt x="3434" y="1731"/>
                  </a:lnTo>
                  <a:cubicBezTo>
                    <a:pt x="3683" y="1731"/>
                    <a:pt x="3876" y="1519"/>
                    <a:pt x="3857" y="1271"/>
                  </a:cubicBezTo>
                  <a:lnTo>
                    <a:pt x="3775" y="461"/>
                  </a:lnTo>
                  <a:cubicBezTo>
                    <a:pt x="3738" y="203"/>
                    <a:pt x="3526" y="10"/>
                    <a:pt x="3268"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2" name="Google Shape;3490;p45"/>
            <p:cNvSpPr/>
            <p:nvPr/>
          </p:nvSpPr>
          <p:spPr>
            <a:xfrm>
              <a:off x="3761550" y="1348025"/>
              <a:ext cx="7375" cy="43525"/>
            </a:xfrm>
            <a:custGeom>
              <a:avLst/>
              <a:gdLst/>
              <a:ahLst/>
              <a:cxnLst/>
              <a:rect l="l" t="t" r="r" b="b"/>
              <a:pathLst>
                <a:path w="295" h="1741" extrusionOk="0">
                  <a:moveTo>
                    <a:pt x="0" y="0"/>
                  </a:moveTo>
                  <a:lnTo>
                    <a:pt x="166" y="1740"/>
                  </a:lnTo>
                  <a:lnTo>
                    <a:pt x="295" y="1740"/>
                  </a:lnTo>
                  <a:lnTo>
                    <a:pt x="129" y="0"/>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3" name="Google Shape;3491;p45"/>
            <p:cNvSpPr/>
            <p:nvPr/>
          </p:nvSpPr>
          <p:spPr>
            <a:xfrm>
              <a:off x="3817475" y="1348025"/>
              <a:ext cx="7375" cy="43525"/>
            </a:xfrm>
            <a:custGeom>
              <a:avLst/>
              <a:gdLst/>
              <a:ahLst/>
              <a:cxnLst/>
              <a:rect l="l" t="t" r="r" b="b"/>
              <a:pathLst>
                <a:path w="295" h="1741" extrusionOk="0">
                  <a:moveTo>
                    <a:pt x="0" y="0"/>
                  </a:moveTo>
                  <a:lnTo>
                    <a:pt x="166" y="1740"/>
                  </a:lnTo>
                  <a:lnTo>
                    <a:pt x="295" y="1740"/>
                  </a:lnTo>
                  <a:lnTo>
                    <a:pt x="129" y="0"/>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4" name="Google Shape;3492;p45"/>
            <p:cNvSpPr/>
            <p:nvPr/>
          </p:nvSpPr>
          <p:spPr>
            <a:xfrm>
              <a:off x="3810325" y="1351250"/>
              <a:ext cx="11075" cy="2075"/>
            </a:xfrm>
            <a:custGeom>
              <a:avLst/>
              <a:gdLst/>
              <a:ahLst/>
              <a:cxnLst/>
              <a:rect l="l" t="t" r="r" b="b"/>
              <a:pathLst>
                <a:path w="443" h="83" extrusionOk="0">
                  <a:moveTo>
                    <a:pt x="47" y="0"/>
                  </a:moveTo>
                  <a:cubicBezTo>
                    <a:pt x="19" y="0"/>
                    <a:pt x="1" y="18"/>
                    <a:pt x="1" y="46"/>
                  </a:cubicBezTo>
                  <a:cubicBezTo>
                    <a:pt x="1" y="65"/>
                    <a:pt x="19" y="83"/>
                    <a:pt x="47" y="83"/>
                  </a:cubicBezTo>
                  <a:lnTo>
                    <a:pt x="397" y="83"/>
                  </a:lnTo>
                  <a:cubicBezTo>
                    <a:pt x="424" y="83"/>
                    <a:pt x="443" y="65"/>
                    <a:pt x="443" y="46"/>
                  </a:cubicBezTo>
                  <a:cubicBezTo>
                    <a:pt x="443" y="18"/>
                    <a:pt x="424" y="0"/>
                    <a:pt x="397"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5" name="Google Shape;3493;p45"/>
            <p:cNvSpPr/>
            <p:nvPr/>
          </p:nvSpPr>
          <p:spPr>
            <a:xfrm>
              <a:off x="3748200" y="1351000"/>
              <a:ext cx="52950" cy="14775"/>
            </a:xfrm>
            <a:custGeom>
              <a:avLst/>
              <a:gdLst/>
              <a:ahLst/>
              <a:cxnLst/>
              <a:rect l="l" t="t" r="r" b="b"/>
              <a:pathLst>
                <a:path w="2118" h="591" extrusionOk="0">
                  <a:moveTo>
                    <a:pt x="322" y="1"/>
                  </a:moveTo>
                  <a:cubicBezTo>
                    <a:pt x="230" y="1"/>
                    <a:pt x="147" y="38"/>
                    <a:pt x="92" y="102"/>
                  </a:cubicBezTo>
                  <a:cubicBezTo>
                    <a:pt x="28" y="176"/>
                    <a:pt x="0" y="259"/>
                    <a:pt x="9" y="351"/>
                  </a:cubicBezTo>
                  <a:lnTo>
                    <a:pt x="37" y="553"/>
                  </a:lnTo>
                  <a:cubicBezTo>
                    <a:pt x="37" y="572"/>
                    <a:pt x="55" y="590"/>
                    <a:pt x="74" y="590"/>
                  </a:cubicBezTo>
                  <a:cubicBezTo>
                    <a:pt x="101" y="590"/>
                    <a:pt x="120" y="572"/>
                    <a:pt x="111" y="544"/>
                  </a:cubicBezTo>
                  <a:lnTo>
                    <a:pt x="92" y="341"/>
                  </a:lnTo>
                  <a:cubicBezTo>
                    <a:pt x="83" y="277"/>
                    <a:pt x="111" y="213"/>
                    <a:pt x="147" y="167"/>
                  </a:cubicBezTo>
                  <a:cubicBezTo>
                    <a:pt x="193" y="111"/>
                    <a:pt x="258" y="93"/>
                    <a:pt x="322" y="93"/>
                  </a:cubicBezTo>
                  <a:lnTo>
                    <a:pt x="2081" y="93"/>
                  </a:lnTo>
                  <a:cubicBezTo>
                    <a:pt x="2099" y="93"/>
                    <a:pt x="2118" y="75"/>
                    <a:pt x="2118" y="47"/>
                  </a:cubicBezTo>
                  <a:cubicBezTo>
                    <a:pt x="2118" y="28"/>
                    <a:pt x="2099" y="10"/>
                    <a:pt x="2081"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6" name="Google Shape;3494;p45"/>
            <p:cNvSpPr/>
            <p:nvPr/>
          </p:nvSpPr>
          <p:spPr>
            <a:xfrm>
              <a:off x="3769850" y="1358125"/>
              <a:ext cx="44850" cy="6750"/>
            </a:xfrm>
            <a:custGeom>
              <a:avLst/>
              <a:gdLst/>
              <a:ahLst/>
              <a:cxnLst/>
              <a:rect l="l" t="t" r="r" b="b"/>
              <a:pathLst>
                <a:path w="1794" h="270" extrusionOk="0">
                  <a:moveTo>
                    <a:pt x="122" y="0"/>
                  </a:moveTo>
                  <a:cubicBezTo>
                    <a:pt x="48" y="0"/>
                    <a:pt x="0" y="61"/>
                    <a:pt x="9" y="130"/>
                  </a:cubicBezTo>
                  <a:cubicBezTo>
                    <a:pt x="18" y="213"/>
                    <a:pt x="82" y="268"/>
                    <a:pt x="165" y="268"/>
                  </a:cubicBezTo>
                  <a:lnTo>
                    <a:pt x="1657" y="268"/>
                  </a:lnTo>
                  <a:cubicBezTo>
                    <a:pt x="1661" y="269"/>
                    <a:pt x="1665" y="269"/>
                    <a:pt x="1669" y="269"/>
                  </a:cubicBezTo>
                  <a:cubicBezTo>
                    <a:pt x="1737" y="269"/>
                    <a:pt x="1794" y="200"/>
                    <a:pt x="1776" y="130"/>
                  </a:cubicBezTo>
                  <a:cubicBezTo>
                    <a:pt x="1767" y="56"/>
                    <a:pt x="1703" y="1"/>
                    <a:pt x="1629" y="1"/>
                  </a:cubicBezTo>
                  <a:lnTo>
                    <a:pt x="138" y="1"/>
                  </a:lnTo>
                  <a:cubicBezTo>
                    <a:pt x="132" y="1"/>
                    <a:pt x="127" y="0"/>
                    <a:pt x="122" y="0"/>
                  </a:cubicBezTo>
                  <a:close/>
                </a:path>
              </a:pathLst>
            </a:custGeom>
            <a:solidFill>
              <a:srgbClr val="26323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7" name="Google Shape;3495;p45"/>
            <p:cNvSpPr/>
            <p:nvPr/>
          </p:nvSpPr>
          <p:spPr>
            <a:xfrm>
              <a:off x="3785250" y="1359300"/>
              <a:ext cx="14050" cy="4150"/>
            </a:xfrm>
            <a:custGeom>
              <a:avLst/>
              <a:gdLst/>
              <a:ahLst/>
              <a:cxnLst/>
              <a:rect l="l" t="t" r="r" b="b"/>
              <a:pathLst>
                <a:path w="562" h="166" extrusionOk="0">
                  <a:moveTo>
                    <a:pt x="277" y="0"/>
                  </a:moveTo>
                  <a:cubicBezTo>
                    <a:pt x="120" y="0"/>
                    <a:pt x="0" y="37"/>
                    <a:pt x="10" y="83"/>
                  </a:cubicBezTo>
                  <a:cubicBezTo>
                    <a:pt x="10" y="129"/>
                    <a:pt x="138" y="166"/>
                    <a:pt x="295" y="166"/>
                  </a:cubicBezTo>
                  <a:cubicBezTo>
                    <a:pt x="451" y="166"/>
                    <a:pt x="562" y="129"/>
                    <a:pt x="562" y="83"/>
                  </a:cubicBezTo>
                  <a:cubicBezTo>
                    <a:pt x="562" y="37"/>
                    <a:pt x="433" y="0"/>
                    <a:pt x="277"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8" name="Google Shape;3496;p45"/>
            <p:cNvSpPr/>
            <p:nvPr/>
          </p:nvSpPr>
          <p:spPr>
            <a:xfrm>
              <a:off x="3761075" y="1731175"/>
              <a:ext cx="220750" cy="84575"/>
            </a:xfrm>
            <a:custGeom>
              <a:avLst/>
              <a:gdLst/>
              <a:ahLst/>
              <a:cxnLst/>
              <a:rect l="l" t="t" r="r" b="b"/>
              <a:pathLst>
                <a:path w="8830" h="3383" extrusionOk="0">
                  <a:moveTo>
                    <a:pt x="8293" y="1"/>
                  </a:moveTo>
                  <a:cubicBezTo>
                    <a:pt x="8282" y="1"/>
                    <a:pt x="8270" y="1"/>
                    <a:pt x="8259" y="2"/>
                  </a:cubicBezTo>
                  <a:lnTo>
                    <a:pt x="323" y="711"/>
                  </a:lnTo>
                  <a:cubicBezTo>
                    <a:pt x="130" y="730"/>
                    <a:pt x="1" y="895"/>
                    <a:pt x="10" y="1079"/>
                  </a:cubicBezTo>
                  <a:lnTo>
                    <a:pt x="194" y="3077"/>
                  </a:lnTo>
                  <a:cubicBezTo>
                    <a:pt x="211" y="3250"/>
                    <a:pt x="359" y="3383"/>
                    <a:pt x="529" y="3383"/>
                  </a:cubicBezTo>
                  <a:cubicBezTo>
                    <a:pt x="540" y="3383"/>
                    <a:pt x="551" y="3382"/>
                    <a:pt x="562" y="3381"/>
                  </a:cubicBezTo>
                  <a:lnTo>
                    <a:pt x="8498" y="2672"/>
                  </a:lnTo>
                  <a:cubicBezTo>
                    <a:pt x="8691" y="2654"/>
                    <a:pt x="8829" y="2488"/>
                    <a:pt x="8811" y="2304"/>
                  </a:cubicBezTo>
                  <a:lnTo>
                    <a:pt x="8627" y="306"/>
                  </a:lnTo>
                  <a:cubicBezTo>
                    <a:pt x="8610" y="133"/>
                    <a:pt x="8470" y="1"/>
                    <a:pt x="8293" y="1"/>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9" name="Google Shape;3497;p45"/>
            <p:cNvSpPr/>
            <p:nvPr/>
          </p:nvSpPr>
          <p:spPr>
            <a:xfrm>
              <a:off x="3956950" y="1749400"/>
              <a:ext cx="38675" cy="33275"/>
            </a:xfrm>
            <a:custGeom>
              <a:avLst/>
              <a:gdLst/>
              <a:ahLst/>
              <a:cxnLst/>
              <a:rect l="l" t="t" r="r" b="b"/>
              <a:pathLst>
                <a:path w="1547" h="1331" extrusionOk="0">
                  <a:moveTo>
                    <a:pt x="884" y="1"/>
                  </a:moveTo>
                  <a:cubicBezTo>
                    <a:pt x="295" y="1"/>
                    <a:pt x="0" y="719"/>
                    <a:pt x="414" y="1133"/>
                  </a:cubicBezTo>
                  <a:cubicBezTo>
                    <a:pt x="551" y="1270"/>
                    <a:pt x="718" y="1331"/>
                    <a:pt x="880" y="1331"/>
                  </a:cubicBezTo>
                  <a:cubicBezTo>
                    <a:pt x="1222" y="1331"/>
                    <a:pt x="1547" y="1062"/>
                    <a:pt x="1547" y="663"/>
                  </a:cubicBezTo>
                  <a:cubicBezTo>
                    <a:pt x="1547" y="304"/>
                    <a:pt x="1252" y="1"/>
                    <a:pt x="884" y="1"/>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0" name="Google Shape;3498;p45"/>
            <p:cNvSpPr/>
            <p:nvPr/>
          </p:nvSpPr>
          <p:spPr>
            <a:xfrm>
              <a:off x="3744500" y="1766425"/>
              <a:ext cx="38700" cy="33100"/>
            </a:xfrm>
            <a:custGeom>
              <a:avLst/>
              <a:gdLst/>
              <a:ahLst/>
              <a:cxnLst/>
              <a:rect l="l" t="t" r="r" b="b"/>
              <a:pathLst>
                <a:path w="1548" h="1324" extrusionOk="0">
                  <a:moveTo>
                    <a:pt x="885" y="1"/>
                  </a:moveTo>
                  <a:cubicBezTo>
                    <a:pt x="295" y="1"/>
                    <a:pt x="1" y="710"/>
                    <a:pt x="415" y="1124"/>
                  </a:cubicBezTo>
                  <a:cubicBezTo>
                    <a:pt x="550" y="1262"/>
                    <a:pt x="718" y="1324"/>
                    <a:pt x="882" y="1324"/>
                  </a:cubicBezTo>
                  <a:cubicBezTo>
                    <a:pt x="1222" y="1324"/>
                    <a:pt x="1547" y="1061"/>
                    <a:pt x="1547" y="664"/>
                  </a:cubicBezTo>
                  <a:cubicBezTo>
                    <a:pt x="1547" y="295"/>
                    <a:pt x="1253" y="1"/>
                    <a:pt x="885" y="1"/>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1" name="Google Shape;3499;p45"/>
            <p:cNvSpPr/>
            <p:nvPr/>
          </p:nvSpPr>
          <p:spPr>
            <a:xfrm>
              <a:off x="3774650" y="1747700"/>
              <a:ext cx="106825" cy="39100"/>
            </a:xfrm>
            <a:custGeom>
              <a:avLst/>
              <a:gdLst/>
              <a:ahLst/>
              <a:cxnLst/>
              <a:rect l="l" t="t" r="r" b="b"/>
              <a:pathLst>
                <a:path w="4273" h="1564" extrusionOk="0">
                  <a:moveTo>
                    <a:pt x="3593" y="1"/>
                  </a:moveTo>
                  <a:cubicBezTo>
                    <a:pt x="3571" y="1"/>
                    <a:pt x="3549" y="2"/>
                    <a:pt x="3527" y="4"/>
                  </a:cubicBezTo>
                  <a:lnTo>
                    <a:pt x="627" y="262"/>
                  </a:lnTo>
                  <a:cubicBezTo>
                    <a:pt x="268" y="290"/>
                    <a:pt x="1" y="612"/>
                    <a:pt x="38" y="971"/>
                  </a:cubicBezTo>
                  <a:cubicBezTo>
                    <a:pt x="72" y="1308"/>
                    <a:pt x="350" y="1563"/>
                    <a:pt x="680" y="1563"/>
                  </a:cubicBezTo>
                  <a:cubicBezTo>
                    <a:pt x="702" y="1563"/>
                    <a:pt x="724" y="1562"/>
                    <a:pt x="747" y="1560"/>
                  </a:cubicBezTo>
                  <a:lnTo>
                    <a:pt x="3647" y="1302"/>
                  </a:lnTo>
                  <a:cubicBezTo>
                    <a:pt x="4006" y="1265"/>
                    <a:pt x="4273" y="952"/>
                    <a:pt x="4236" y="593"/>
                  </a:cubicBezTo>
                  <a:cubicBezTo>
                    <a:pt x="4201" y="257"/>
                    <a:pt x="3924" y="1"/>
                    <a:pt x="3593" y="1"/>
                  </a:cubicBez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2" name="Google Shape;3500;p45"/>
            <p:cNvSpPr/>
            <p:nvPr/>
          </p:nvSpPr>
          <p:spPr>
            <a:xfrm>
              <a:off x="3934850" y="1782075"/>
              <a:ext cx="33850" cy="12475"/>
            </a:xfrm>
            <a:custGeom>
              <a:avLst/>
              <a:gdLst/>
              <a:ahLst/>
              <a:cxnLst/>
              <a:rect l="l" t="t" r="r" b="b"/>
              <a:pathLst>
                <a:path w="1354" h="499" extrusionOk="0">
                  <a:moveTo>
                    <a:pt x="1132" y="0"/>
                  </a:moveTo>
                  <a:cubicBezTo>
                    <a:pt x="1126" y="0"/>
                    <a:pt x="1120" y="0"/>
                    <a:pt x="1114" y="1"/>
                  </a:cubicBezTo>
                  <a:lnTo>
                    <a:pt x="194" y="84"/>
                  </a:lnTo>
                  <a:cubicBezTo>
                    <a:pt x="83" y="93"/>
                    <a:pt x="0" y="194"/>
                    <a:pt x="10" y="314"/>
                  </a:cubicBezTo>
                  <a:cubicBezTo>
                    <a:pt x="18" y="419"/>
                    <a:pt x="110" y="499"/>
                    <a:pt x="222" y="499"/>
                  </a:cubicBezTo>
                  <a:cubicBezTo>
                    <a:pt x="228" y="499"/>
                    <a:pt x="234" y="499"/>
                    <a:pt x="240" y="498"/>
                  </a:cubicBezTo>
                  <a:lnTo>
                    <a:pt x="1160" y="415"/>
                  </a:lnTo>
                  <a:cubicBezTo>
                    <a:pt x="1271" y="406"/>
                    <a:pt x="1354" y="305"/>
                    <a:pt x="1344" y="194"/>
                  </a:cubicBezTo>
                  <a:cubicBezTo>
                    <a:pt x="1336" y="81"/>
                    <a:pt x="1244" y="0"/>
                    <a:pt x="1132" y="0"/>
                  </a:cubicBez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3" name="Google Shape;3501;p45"/>
            <p:cNvSpPr/>
            <p:nvPr/>
          </p:nvSpPr>
          <p:spPr>
            <a:xfrm>
              <a:off x="3898700" y="1785475"/>
              <a:ext cx="33875" cy="12350"/>
            </a:xfrm>
            <a:custGeom>
              <a:avLst/>
              <a:gdLst/>
              <a:ahLst/>
              <a:cxnLst/>
              <a:rect l="l" t="t" r="r" b="b"/>
              <a:pathLst>
                <a:path w="1355" h="494" extrusionOk="0">
                  <a:moveTo>
                    <a:pt x="1148" y="0"/>
                  </a:moveTo>
                  <a:cubicBezTo>
                    <a:pt x="1137" y="0"/>
                    <a:pt x="1126" y="1"/>
                    <a:pt x="1115" y="3"/>
                  </a:cubicBezTo>
                  <a:lnTo>
                    <a:pt x="194" y="86"/>
                  </a:lnTo>
                  <a:cubicBezTo>
                    <a:pt x="84" y="95"/>
                    <a:pt x="1" y="187"/>
                    <a:pt x="10" y="307"/>
                  </a:cubicBezTo>
                  <a:cubicBezTo>
                    <a:pt x="19" y="408"/>
                    <a:pt x="104" y="493"/>
                    <a:pt x="210" y="493"/>
                  </a:cubicBezTo>
                  <a:cubicBezTo>
                    <a:pt x="220" y="493"/>
                    <a:pt x="230" y="493"/>
                    <a:pt x="240" y="491"/>
                  </a:cubicBezTo>
                  <a:lnTo>
                    <a:pt x="1161" y="408"/>
                  </a:lnTo>
                  <a:cubicBezTo>
                    <a:pt x="1271" y="399"/>
                    <a:pt x="1354" y="298"/>
                    <a:pt x="1345" y="187"/>
                  </a:cubicBezTo>
                  <a:cubicBezTo>
                    <a:pt x="1337" y="79"/>
                    <a:pt x="1253" y="0"/>
                    <a:pt x="1148" y="0"/>
                  </a:cubicBez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4" name="Google Shape;3502;p45"/>
            <p:cNvSpPr/>
            <p:nvPr/>
          </p:nvSpPr>
          <p:spPr>
            <a:xfrm>
              <a:off x="3784100" y="1548775"/>
              <a:ext cx="64525" cy="83725"/>
            </a:xfrm>
            <a:custGeom>
              <a:avLst/>
              <a:gdLst/>
              <a:ahLst/>
              <a:cxnLst/>
              <a:rect l="l" t="t" r="r" b="b"/>
              <a:pathLst>
                <a:path w="2581" h="3349" extrusionOk="0">
                  <a:moveTo>
                    <a:pt x="2362" y="1"/>
                  </a:moveTo>
                  <a:cubicBezTo>
                    <a:pt x="2317" y="1"/>
                    <a:pt x="2272" y="21"/>
                    <a:pt x="2237" y="72"/>
                  </a:cubicBezTo>
                  <a:lnTo>
                    <a:pt x="74" y="3100"/>
                  </a:lnTo>
                  <a:cubicBezTo>
                    <a:pt x="0" y="3211"/>
                    <a:pt x="74" y="3349"/>
                    <a:pt x="203" y="3349"/>
                  </a:cubicBezTo>
                  <a:cubicBezTo>
                    <a:pt x="258" y="3349"/>
                    <a:pt x="304" y="3331"/>
                    <a:pt x="332" y="3284"/>
                  </a:cubicBezTo>
                  <a:lnTo>
                    <a:pt x="2495" y="246"/>
                  </a:lnTo>
                  <a:cubicBezTo>
                    <a:pt x="2581" y="128"/>
                    <a:pt x="2474" y="1"/>
                    <a:pt x="2362"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5" name="Google Shape;3503;p45"/>
            <p:cNvSpPr/>
            <p:nvPr/>
          </p:nvSpPr>
          <p:spPr>
            <a:xfrm>
              <a:off x="3783050" y="1557925"/>
              <a:ext cx="65275" cy="65850"/>
            </a:xfrm>
            <a:custGeom>
              <a:avLst/>
              <a:gdLst/>
              <a:ahLst/>
              <a:cxnLst/>
              <a:rect l="l" t="t" r="r" b="b"/>
              <a:pathLst>
                <a:path w="2611" h="2634" extrusionOk="0">
                  <a:moveTo>
                    <a:pt x="227" y="0"/>
                  </a:moveTo>
                  <a:cubicBezTo>
                    <a:pt x="106" y="0"/>
                    <a:pt x="1" y="147"/>
                    <a:pt x="107" y="267"/>
                  </a:cubicBezTo>
                  <a:lnTo>
                    <a:pt x="2325" y="2587"/>
                  </a:lnTo>
                  <a:cubicBezTo>
                    <a:pt x="2353" y="2615"/>
                    <a:pt x="2390" y="2633"/>
                    <a:pt x="2436" y="2633"/>
                  </a:cubicBezTo>
                  <a:cubicBezTo>
                    <a:pt x="2482" y="2633"/>
                    <a:pt x="2519" y="2615"/>
                    <a:pt x="2556" y="2587"/>
                  </a:cubicBezTo>
                  <a:cubicBezTo>
                    <a:pt x="2611" y="2523"/>
                    <a:pt x="2611" y="2431"/>
                    <a:pt x="2556" y="2366"/>
                  </a:cubicBezTo>
                  <a:lnTo>
                    <a:pt x="337" y="46"/>
                  </a:lnTo>
                  <a:cubicBezTo>
                    <a:pt x="302" y="14"/>
                    <a:pt x="264" y="0"/>
                    <a:pt x="227"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grpSp>
      <p:grpSp>
        <p:nvGrpSpPr>
          <p:cNvPr id="166" name="Google Shape;3636;p45"/>
          <p:cNvGrpSpPr/>
          <p:nvPr/>
        </p:nvGrpSpPr>
        <p:grpSpPr>
          <a:xfrm>
            <a:off x="5945356" y="3362303"/>
            <a:ext cx="4883065" cy="3053865"/>
            <a:chOff x="2874750" y="3500650"/>
            <a:chExt cx="2042875" cy="1268850"/>
          </a:xfrm>
        </p:grpSpPr>
        <p:sp>
          <p:nvSpPr>
            <p:cNvPr id="167" name="Google Shape;3637;p45"/>
            <p:cNvSpPr/>
            <p:nvPr/>
          </p:nvSpPr>
          <p:spPr>
            <a:xfrm>
              <a:off x="3063475" y="4591100"/>
              <a:ext cx="45825" cy="82650"/>
            </a:xfrm>
            <a:custGeom>
              <a:avLst/>
              <a:gdLst/>
              <a:ahLst/>
              <a:cxnLst/>
              <a:rect l="l" t="t" r="r" b="b"/>
              <a:pathLst>
                <a:path w="1833" h="3306" extrusionOk="0">
                  <a:moveTo>
                    <a:pt x="1" y="1"/>
                  </a:moveTo>
                  <a:lnTo>
                    <a:pt x="1" y="3306"/>
                  </a:lnTo>
                  <a:lnTo>
                    <a:pt x="1833" y="3306"/>
                  </a:lnTo>
                  <a:lnTo>
                    <a:pt x="1833" y="1"/>
                  </a:ln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8" name="Google Shape;3638;p45"/>
            <p:cNvSpPr/>
            <p:nvPr/>
          </p:nvSpPr>
          <p:spPr>
            <a:xfrm>
              <a:off x="3266250" y="4591100"/>
              <a:ext cx="45825" cy="82650"/>
            </a:xfrm>
            <a:custGeom>
              <a:avLst/>
              <a:gdLst/>
              <a:ahLst/>
              <a:cxnLst/>
              <a:rect l="l" t="t" r="r" b="b"/>
              <a:pathLst>
                <a:path w="1833" h="3306" extrusionOk="0">
                  <a:moveTo>
                    <a:pt x="0" y="1"/>
                  </a:moveTo>
                  <a:lnTo>
                    <a:pt x="0" y="3306"/>
                  </a:lnTo>
                  <a:lnTo>
                    <a:pt x="1832" y="3306"/>
                  </a:lnTo>
                  <a:lnTo>
                    <a:pt x="1832" y="1"/>
                  </a:ln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9" name="Google Shape;3639;p45"/>
            <p:cNvSpPr/>
            <p:nvPr/>
          </p:nvSpPr>
          <p:spPr>
            <a:xfrm>
              <a:off x="2962450" y="4095125"/>
              <a:ext cx="380225" cy="496000"/>
            </a:xfrm>
            <a:custGeom>
              <a:avLst/>
              <a:gdLst/>
              <a:ahLst/>
              <a:cxnLst/>
              <a:rect l="l" t="t" r="r" b="b"/>
              <a:pathLst>
                <a:path w="15209" h="19840" extrusionOk="0">
                  <a:moveTo>
                    <a:pt x="0" y="0"/>
                  </a:moveTo>
                  <a:lnTo>
                    <a:pt x="0" y="19840"/>
                  </a:lnTo>
                  <a:lnTo>
                    <a:pt x="15209" y="19840"/>
                  </a:lnTo>
                  <a:lnTo>
                    <a:pt x="15209" y="0"/>
                  </a:ln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0" name="Google Shape;3640;p45"/>
            <p:cNvSpPr/>
            <p:nvPr/>
          </p:nvSpPr>
          <p:spPr>
            <a:xfrm>
              <a:off x="2892950" y="4095125"/>
              <a:ext cx="370325" cy="496000"/>
            </a:xfrm>
            <a:custGeom>
              <a:avLst/>
              <a:gdLst/>
              <a:ahLst/>
              <a:cxnLst/>
              <a:rect l="l" t="t" r="r" b="b"/>
              <a:pathLst>
                <a:path w="14813" h="19840" extrusionOk="0">
                  <a:moveTo>
                    <a:pt x="0" y="0"/>
                  </a:moveTo>
                  <a:lnTo>
                    <a:pt x="0" y="19840"/>
                  </a:lnTo>
                  <a:lnTo>
                    <a:pt x="14813" y="19840"/>
                  </a:lnTo>
                  <a:lnTo>
                    <a:pt x="14813" y="0"/>
                  </a:lnTo>
                  <a:close/>
                </a:path>
              </a:pathLst>
            </a:custGeom>
            <a:solidFill>
              <a:srgbClr val="F5F5F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1" name="Google Shape;3641;p45"/>
            <p:cNvSpPr/>
            <p:nvPr/>
          </p:nvSpPr>
          <p:spPr>
            <a:xfrm>
              <a:off x="2925625" y="4591100"/>
              <a:ext cx="45825" cy="82650"/>
            </a:xfrm>
            <a:custGeom>
              <a:avLst/>
              <a:gdLst/>
              <a:ahLst/>
              <a:cxnLst/>
              <a:rect l="l" t="t" r="r" b="b"/>
              <a:pathLst>
                <a:path w="1833" h="3306" extrusionOk="0">
                  <a:moveTo>
                    <a:pt x="0" y="1"/>
                  </a:moveTo>
                  <a:lnTo>
                    <a:pt x="0" y="3306"/>
                  </a:lnTo>
                  <a:lnTo>
                    <a:pt x="1832" y="3306"/>
                  </a:lnTo>
                  <a:lnTo>
                    <a:pt x="1832" y="1"/>
                  </a:lnTo>
                  <a:close/>
                </a:path>
              </a:pathLst>
            </a:custGeom>
            <a:solidFill>
              <a:srgbClr val="F5F5F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2" name="Google Shape;3642;p45"/>
            <p:cNvSpPr/>
            <p:nvPr/>
          </p:nvSpPr>
          <p:spPr>
            <a:xfrm>
              <a:off x="3189600" y="4591100"/>
              <a:ext cx="45825" cy="82650"/>
            </a:xfrm>
            <a:custGeom>
              <a:avLst/>
              <a:gdLst/>
              <a:ahLst/>
              <a:cxnLst/>
              <a:rect l="l" t="t" r="r" b="b"/>
              <a:pathLst>
                <a:path w="1833" h="3306" extrusionOk="0">
                  <a:moveTo>
                    <a:pt x="1" y="1"/>
                  </a:moveTo>
                  <a:lnTo>
                    <a:pt x="1" y="3306"/>
                  </a:lnTo>
                  <a:lnTo>
                    <a:pt x="1833" y="3306"/>
                  </a:lnTo>
                  <a:lnTo>
                    <a:pt x="1833" y="1"/>
                  </a:lnTo>
                  <a:close/>
                </a:path>
              </a:pathLst>
            </a:custGeom>
            <a:solidFill>
              <a:srgbClr val="F5F5F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3" name="Google Shape;3643;p45"/>
            <p:cNvSpPr/>
            <p:nvPr/>
          </p:nvSpPr>
          <p:spPr>
            <a:xfrm>
              <a:off x="2915500" y="4410900"/>
              <a:ext cx="319000" cy="123850"/>
            </a:xfrm>
            <a:custGeom>
              <a:avLst/>
              <a:gdLst/>
              <a:ahLst/>
              <a:cxnLst/>
              <a:rect l="l" t="t" r="r" b="b"/>
              <a:pathLst>
                <a:path w="12760" h="4954" extrusionOk="0">
                  <a:moveTo>
                    <a:pt x="0" y="0"/>
                  </a:moveTo>
                  <a:lnTo>
                    <a:pt x="0" y="28"/>
                  </a:lnTo>
                  <a:lnTo>
                    <a:pt x="0" y="4925"/>
                  </a:lnTo>
                  <a:lnTo>
                    <a:pt x="0" y="4953"/>
                  </a:lnTo>
                  <a:lnTo>
                    <a:pt x="28" y="4953"/>
                  </a:lnTo>
                  <a:lnTo>
                    <a:pt x="9151" y="4944"/>
                  </a:lnTo>
                  <a:lnTo>
                    <a:pt x="11793" y="4935"/>
                  </a:lnTo>
                  <a:lnTo>
                    <a:pt x="11784" y="4935"/>
                  </a:lnTo>
                  <a:lnTo>
                    <a:pt x="9133" y="4925"/>
                  </a:lnTo>
                  <a:lnTo>
                    <a:pt x="56" y="4916"/>
                  </a:lnTo>
                  <a:lnTo>
                    <a:pt x="56" y="4916"/>
                  </a:lnTo>
                  <a:lnTo>
                    <a:pt x="56" y="74"/>
                  </a:lnTo>
                  <a:lnTo>
                    <a:pt x="56" y="74"/>
                  </a:lnTo>
                  <a:lnTo>
                    <a:pt x="12714" y="65"/>
                  </a:lnTo>
                  <a:lnTo>
                    <a:pt x="12714" y="65"/>
                  </a:lnTo>
                  <a:cubicBezTo>
                    <a:pt x="12723" y="1575"/>
                    <a:pt x="12732" y="2784"/>
                    <a:pt x="12732" y="3627"/>
                  </a:cubicBezTo>
                  <a:lnTo>
                    <a:pt x="12732" y="4603"/>
                  </a:lnTo>
                  <a:lnTo>
                    <a:pt x="12732" y="4852"/>
                  </a:lnTo>
                  <a:lnTo>
                    <a:pt x="12732" y="4944"/>
                  </a:lnTo>
                  <a:cubicBezTo>
                    <a:pt x="12732" y="4944"/>
                    <a:pt x="12751" y="4898"/>
                    <a:pt x="12751" y="4843"/>
                  </a:cubicBezTo>
                  <a:lnTo>
                    <a:pt x="12751" y="4594"/>
                  </a:lnTo>
                  <a:lnTo>
                    <a:pt x="12751" y="3627"/>
                  </a:lnTo>
                  <a:cubicBezTo>
                    <a:pt x="12751" y="2780"/>
                    <a:pt x="12760" y="1556"/>
                    <a:pt x="12760" y="28"/>
                  </a:cubicBezTo>
                  <a:lnTo>
                    <a:pt x="12760" y="9"/>
                  </a:lnTo>
                  <a:lnTo>
                    <a:pt x="12742" y="9"/>
                  </a:lnTo>
                  <a:lnTo>
                    <a:pt x="28" y="0"/>
                  </a:ln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4" name="Google Shape;3644;p45"/>
            <p:cNvSpPr/>
            <p:nvPr/>
          </p:nvSpPr>
          <p:spPr>
            <a:xfrm>
              <a:off x="3062325" y="4463050"/>
              <a:ext cx="22350" cy="20500"/>
            </a:xfrm>
            <a:custGeom>
              <a:avLst/>
              <a:gdLst/>
              <a:ahLst/>
              <a:cxnLst/>
              <a:rect l="l" t="t" r="r" b="b"/>
              <a:pathLst>
                <a:path w="894" h="820" extrusionOk="0">
                  <a:moveTo>
                    <a:pt x="490" y="0"/>
                  </a:moveTo>
                  <a:cubicBezTo>
                    <a:pt x="446" y="0"/>
                    <a:pt x="402" y="7"/>
                    <a:pt x="360" y="22"/>
                  </a:cubicBezTo>
                  <a:cubicBezTo>
                    <a:pt x="1" y="151"/>
                    <a:pt x="1" y="667"/>
                    <a:pt x="360" y="796"/>
                  </a:cubicBezTo>
                  <a:cubicBezTo>
                    <a:pt x="405" y="812"/>
                    <a:pt x="452" y="820"/>
                    <a:pt x="499" y="820"/>
                  </a:cubicBezTo>
                  <a:cubicBezTo>
                    <a:pt x="587" y="820"/>
                    <a:pt x="675" y="791"/>
                    <a:pt x="746" y="731"/>
                  </a:cubicBezTo>
                  <a:cubicBezTo>
                    <a:pt x="820" y="676"/>
                    <a:pt x="866" y="593"/>
                    <a:pt x="885" y="501"/>
                  </a:cubicBezTo>
                  <a:cubicBezTo>
                    <a:pt x="894" y="473"/>
                    <a:pt x="894" y="437"/>
                    <a:pt x="885" y="409"/>
                  </a:cubicBezTo>
                  <a:cubicBezTo>
                    <a:pt x="875" y="437"/>
                    <a:pt x="866" y="464"/>
                    <a:pt x="857" y="501"/>
                  </a:cubicBezTo>
                  <a:cubicBezTo>
                    <a:pt x="839" y="575"/>
                    <a:pt x="783" y="648"/>
                    <a:pt x="719" y="694"/>
                  </a:cubicBezTo>
                  <a:cubicBezTo>
                    <a:pt x="655" y="741"/>
                    <a:pt x="580" y="766"/>
                    <a:pt x="505" y="766"/>
                  </a:cubicBezTo>
                  <a:cubicBezTo>
                    <a:pt x="462" y="766"/>
                    <a:pt x="419" y="757"/>
                    <a:pt x="378" y="740"/>
                  </a:cubicBezTo>
                  <a:cubicBezTo>
                    <a:pt x="65" y="630"/>
                    <a:pt x="65" y="188"/>
                    <a:pt x="378" y="78"/>
                  </a:cubicBezTo>
                  <a:cubicBezTo>
                    <a:pt x="419" y="61"/>
                    <a:pt x="462" y="53"/>
                    <a:pt x="505" y="53"/>
                  </a:cubicBezTo>
                  <a:cubicBezTo>
                    <a:pt x="580" y="53"/>
                    <a:pt x="655" y="77"/>
                    <a:pt x="719" y="124"/>
                  </a:cubicBezTo>
                  <a:cubicBezTo>
                    <a:pt x="783" y="170"/>
                    <a:pt x="839" y="234"/>
                    <a:pt x="857" y="317"/>
                  </a:cubicBezTo>
                  <a:cubicBezTo>
                    <a:pt x="875" y="372"/>
                    <a:pt x="875" y="409"/>
                    <a:pt x="885" y="409"/>
                  </a:cubicBezTo>
                  <a:cubicBezTo>
                    <a:pt x="894" y="381"/>
                    <a:pt x="894" y="345"/>
                    <a:pt x="885" y="317"/>
                  </a:cubicBezTo>
                  <a:cubicBezTo>
                    <a:pt x="866" y="225"/>
                    <a:pt x="820" y="151"/>
                    <a:pt x="746" y="87"/>
                  </a:cubicBezTo>
                  <a:cubicBezTo>
                    <a:pt x="672" y="31"/>
                    <a:pt x="581" y="0"/>
                    <a:pt x="490" y="0"/>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5" name="Google Shape;3645;p45"/>
            <p:cNvSpPr/>
            <p:nvPr/>
          </p:nvSpPr>
          <p:spPr>
            <a:xfrm>
              <a:off x="2915500" y="4264750"/>
              <a:ext cx="319000" cy="123375"/>
            </a:xfrm>
            <a:custGeom>
              <a:avLst/>
              <a:gdLst/>
              <a:ahLst/>
              <a:cxnLst/>
              <a:rect l="l" t="t" r="r" b="b"/>
              <a:pathLst>
                <a:path w="12760" h="4935" extrusionOk="0">
                  <a:moveTo>
                    <a:pt x="0" y="0"/>
                  </a:moveTo>
                  <a:lnTo>
                    <a:pt x="0" y="10"/>
                  </a:lnTo>
                  <a:lnTo>
                    <a:pt x="0" y="4907"/>
                  </a:lnTo>
                  <a:lnTo>
                    <a:pt x="0" y="4935"/>
                  </a:lnTo>
                  <a:lnTo>
                    <a:pt x="28" y="4935"/>
                  </a:lnTo>
                  <a:lnTo>
                    <a:pt x="9151" y="4926"/>
                  </a:lnTo>
                  <a:lnTo>
                    <a:pt x="11793" y="4916"/>
                  </a:lnTo>
                  <a:lnTo>
                    <a:pt x="11784" y="4916"/>
                  </a:lnTo>
                  <a:lnTo>
                    <a:pt x="9133" y="4907"/>
                  </a:lnTo>
                  <a:lnTo>
                    <a:pt x="56" y="4898"/>
                  </a:lnTo>
                  <a:lnTo>
                    <a:pt x="56" y="4898"/>
                  </a:lnTo>
                  <a:lnTo>
                    <a:pt x="56" y="56"/>
                  </a:lnTo>
                  <a:lnTo>
                    <a:pt x="56" y="56"/>
                  </a:lnTo>
                  <a:lnTo>
                    <a:pt x="12714" y="46"/>
                  </a:lnTo>
                  <a:lnTo>
                    <a:pt x="12714" y="46"/>
                  </a:lnTo>
                  <a:cubicBezTo>
                    <a:pt x="12723" y="1557"/>
                    <a:pt x="12732" y="2766"/>
                    <a:pt x="12732" y="3609"/>
                  </a:cubicBezTo>
                  <a:lnTo>
                    <a:pt x="12732" y="4585"/>
                  </a:lnTo>
                  <a:lnTo>
                    <a:pt x="12732" y="4834"/>
                  </a:lnTo>
                  <a:lnTo>
                    <a:pt x="12732" y="4926"/>
                  </a:lnTo>
                  <a:cubicBezTo>
                    <a:pt x="12732" y="4926"/>
                    <a:pt x="12751" y="4907"/>
                    <a:pt x="12751" y="4843"/>
                  </a:cubicBezTo>
                  <a:lnTo>
                    <a:pt x="12751" y="4594"/>
                  </a:lnTo>
                  <a:lnTo>
                    <a:pt x="12751" y="3628"/>
                  </a:lnTo>
                  <a:cubicBezTo>
                    <a:pt x="12751" y="2781"/>
                    <a:pt x="12760" y="1556"/>
                    <a:pt x="12760" y="28"/>
                  </a:cubicBezTo>
                  <a:lnTo>
                    <a:pt x="12760" y="10"/>
                  </a:lnTo>
                  <a:lnTo>
                    <a:pt x="12742" y="10"/>
                  </a:lnTo>
                  <a:lnTo>
                    <a:pt x="28" y="0"/>
                  </a:ln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6" name="Google Shape;3646;p45"/>
            <p:cNvSpPr/>
            <p:nvPr/>
          </p:nvSpPr>
          <p:spPr>
            <a:xfrm>
              <a:off x="3062325" y="4316425"/>
              <a:ext cx="22350" cy="20525"/>
            </a:xfrm>
            <a:custGeom>
              <a:avLst/>
              <a:gdLst/>
              <a:ahLst/>
              <a:cxnLst/>
              <a:rect l="l" t="t" r="r" b="b"/>
              <a:pathLst>
                <a:path w="894" h="821" extrusionOk="0">
                  <a:moveTo>
                    <a:pt x="490" y="1"/>
                  </a:moveTo>
                  <a:cubicBezTo>
                    <a:pt x="446" y="1"/>
                    <a:pt x="402" y="8"/>
                    <a:pt x="360" y="23"/>
                  </a:cubicBezTo>
                  <a:cubicBezTo>
                    <a:pt x="1" y="152"/>
                    <a:pt x="1" y="668"/>
                    <a:pt x="360" y="796"/>
                  </a:cubicBezTo>
                  <a:cubicBezTo>
                    <a:pt x="405" y="812"/>
                    <a:pt x="452" y="821"/>
                    <a:pt x="499" y="821"/>
                  </a:cubicBezTo>
                  <a:cubicBezTo>
                    <a:pt x="587" y="821"/>
                    <a:pt x="675" y="792"/>
                    <a:pt x="746" y="732"/>
                  </a:cubicBezTo>
                  <a:cubicBezTo>
                    <a:pt x="820" y="677"/>
                    <a:pt x="866" y="594"/>
                    <a:pt x="885" y="502"/>
                  </a:cubicBezTo>
                  <a:cubicBezTo>
                    <a:pt x="894" y="474"/>
                    <a:pt x="894" y="437"/>
                    <a:pt x="885" y="410"/>
                  </a:cubicBezTo>
                  <a:cubicBezTo>
                    <a:pt x="875" y="437"/>
                    <a:pt x="866" y="465"/>
                    <a:pt x="857" y="493"/>
                  </a:cubicBezTo>
                  <a:cubicBezTo>
                    <a:pt x="839" y="575"/>
                    <a:pt x="783" y="649"/>
                    <a:pt x="719" y="695"/>
                  </a:cubicBezTo>
                  <a:cubicBezTo>
                    <a:pt x="655" y="742"/>
                    <a:pt x="580" y="766"/>
                    <a:pt x="505" y="766"/>
                  </a:cubicBezTo>
                  <a:cubicBezTo>
                    <a:pt x="462" y="766"/>
                    <a:pt x="419" y="758"/>
                    <a:pt x="378" y="741"/>
                  </a:cubicBezTo>
                  <a:cubicBezTo>
                    <a:pt x="65" y="622"/>
                    <a:pt x="65" y="189"/>
                    <a:pt x="378" y="69"/>
                  </a:cubicBezTo>
                  <a:cubicBezTo>
                    <a:pt x="419" y="55"/>
                    <a:pt x="463" y="48"/>
                    <a:pt x="507" y="48"/>
                  </a:cubicBezTo>
                  <a:cubicBezTo>
                    <a:pt x="581" y="48"/>
                    <a:pt x="655" y="69"/>
                    <a:pt x="719" y="115"/>
                  </a:cubicBezTo>
                  <a:cubicBezTo>
                    <a:pt x="783" y="170"/>
                    <a:pt x="839" y="235"/>
                    <a:pt x="857" y="318"/>
                  </a:cubicBezTo>
                  <a:cubicBezTo>
                    <a:pt x="875" y="373"/>
                    <a:pt x="875" y="410"/>
                    <a:pt x="885" y="410"/>
                  </a:cubicBezTo>
                  <a:cubicBezTo>
                    <a:pt x="894" y="382"/>
                    <a:pt x="894" y="345"/>
                    <a:pt x="885" y="318"/>
                  </a:cubicBezTo>
                  <a:cubicBezTo>
                    <a:pt x="866" y="226"/>
                    <a:pt x="820" y="143"/>
                    <a:pt x="746" y="88"/>
                  </a:cubicBezTo>
                  <a:cubicBezTo>
                    <a:pt x="672" y="32"/>
                    <a:pt x="581" y="1"/>
                    <a:pt x="490" y="1"/>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7" name="Google Shape;3647;p45"/>
            <p:cNvSpPr/>
            <p:nvPr/>
          </p:nvSpPr>
          <p:spPr>
            <a:xfrm>
              <a:off x="2915500" y="4119525"/>
              <a:ext cx="319000" cy="124075"/>
            </a:xfrm>
            <a:custGeom>
              <a:avLst/>
              <a:gdLst/>
              <a:ahLst/>
              <a:cxnLst/>
              <a:rect l="l" t="t" r="r" b="b"/>
              <a:pathLst>
                <a:path w="12760" h="4963" extrusionOk="0">
                  <a:moveTo>
                    <a:pt x="0" y="0"/>
                  </a:moveTo>
                  <a:lnTo>
                    <a:pt x="0" y="28"/>
                  </a:lnTo>
                  <a:lnTo>
                    <a:pt x="0" y="4926"/>
                  </a:lnTo>
                  <a:lnTo>
                    <a:pt x="0" y="4962"/>
                  </a:lnTo>
                  <a:lnTo>
                    <a:pt x="28" y="4962"/>
                  </a:lnTo>
                  <a:lnTo>
                    <a:pt x="9151" y="4944"/>
                  </a:lnTo>
                  <a:lnTo>
                    <a:pt x="11793" y="4935"/>
                  </a:lnTo>
                  <a:lnTo>
                    <a:pt x="11784" y="4935"/>
                  </a:lnTo>
                  <a:lnTo>
                    <a:pt x="9133" y="4926"/>
                  </a:lnTo>
                  <a:lnTo>
                    <a:pt x="56" y="4916"/>
                  </a:lnTo>
                  <a:lnTo>
                    <a:pt x="56" y="4916"/>
                  </a:lnTo>
                  <a:lnTo>
                    <a:pt x="56" y="74"/>
                  </a:lnTo>
                  <a:lnTo>
                    <a:pt x="56" y="74"/>
                  </a:lnTo>
                  <a:lnTo>
                    <a:pt x="12714" y="65"/>
                  </a:lnTo>
                  <a:lnTo>
                    <a:pt x="12714" y="65"/>
                  </a:lnTo>
                  <a:cubicBezTo>
                    <a:pt x="12723" y="1575"/>
                    <a:pt x="12732" y="2793"/>
                    <a:pt x="12732" y="3637"/>
                  </a:cubicBezTo>
                  <a:lnTo>
                    <a:pt x="12732" y="4603"/>
                  </a:lnTo>
                  <a:lnTo>
                    <a:pt x="12732" y="4861"/>
                  </a:lnTo>
                  <a:lnTo>
                    <a:pt x="12732" y="4944"/>
                  </a:lnTo>
                  <a:cubicBezTo>
                    <a:pt x="12732" y="4944"/>
                    <a:pt x="12751" y="4907"/>
                    <a:pt x="12751" y="4843"/>
                  </a:cubicBezTo>
                  <a:lnTo>
                    <a:pt x="12751" y="4594"/>
                  </a:lnTo>
                  <a:lnTo>
                    <a:pt x="12751" y="3627"/>
                  </a:lnTo>
                  <a:cubicBezTo>
                    <a:pt x="12751" y="2781"/>
                    <a:pt x="12760" y="1556"/>
                    <a:pt x="12760" y="28"/>
                  </a:cubicBezTo>
                  <a:lnTo>
                    <a:pt x="12760" y="9"/>
                  </a:lnTo>
                  <a:lnTo>
                    <a:pt x="12742" y="9"/>
                  </a:lnTo>
                  <a:lnTo>
                    <a:pt x="28" y="0"/>
                  </a:ln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8" name="Google Shape;3648;p45"/>
            <p:cNvSpPr/>
            <p:nvPr/>
          </p:nvSpPr>
          <p:spPr>
            <a:xfrm>
              <a:off x="3062325" y="4171850"/>
              <a:ext cx="22350" cy="20525"/>
            </a:xfrm>
            <a:custGeom>
              <a:avLst/>
              <a:gdLst/>
              <a:ahLst/>
              <a:cxnLst/>
              <a:rect l="l" t="t" r="r" b="b"/>
              <a:pathLst>
                <a:path w="894" h="821" extrusionOk="0">
                  <a:moveTo>
                    <a:pt x="499" y="0"/>
                  </a:moveTo>
                  <a:cubicBezTo>
                    <a:pt x="452" y="0"/>
                    <a:pt x="405" y="9"/>
                    <a:pt x="360" y="25"/>
                  </a:cubicBezTo>
                  <a:cubicBezTo>
                    <a:pt x="1" y="154"/>
                    <a:pt x="1" y="660"/>
                    <a:pt x="360" y="798"/>
                  </a:cubicBezTo>
                  <a:cubicBezTo>
                    <a:pt x="402" y="813"/>
                    <a:pt x="446" y="820"/>
                    <a:pt x="490" y="820"/>
                  </a:cubicBezTo>
                  <a:cubicBezTo>
                    <a:pt x="581" y="820"/>
                    <a:pt x="672" y="789"/>
                    <a:pt x="746" y="734"/>
                  </a:cubicBezTo>
                  <a:cubicBezTo>
                    <a:pt x="820" y="669"/>
                    <a:pt x="866" y="595"/>
                    <a:pt x="885" y="503"/>
                  </a:cubicBezTo>
                  <a:cubicBezTo>
                    <a:pt x="894" y="467"/>
                    <a:pt x="894" y="439"/>
                    <a:pt x="885" y="402"/>
                  </a:cubicBezTo>
                  <a:cubicBezTo>
                    <a:pt x="875" y="430"/>
                    <a:pt x="866" y="467"/>
                    <a:pt x="857" y="494"/>
                  </a:cubicBezTo>
                  <a:cubicBezTo>
                    <a:pt x="839" y="577"/>
                    <a:pt x="783" y="641"/>
                    <a:pt x="719" y="688"/>
                  </a:cubicBezTo>
                  <a:cubicBezTo>
                    <a:pt x="655" y="734"/>
                    <a:pt x="580" y="759"/>
                    <a:pt x="505" y="759"/>
                  </a:cubicBezTo>
                  <a:cubicBezTo>
                    <a:pt x="462" y="759"/>
                    <a:pt x="419" y="750"/>
                    <a:pt x="378" y="734"/>
                  </a:cubicBezTo>
                  <a:cubicBezTo>
                    <a:pt x="65" y="623"/>
                    <a:pt x="65" y="181"/>
                    <a:pt x="378" y="71"/>
                  </a:cubicBezTo>
                  <a:cubicBezTo>
                    <a:pt x="419" y="54"/>
                    <a:pt x="462" y="46"/>
                    <a:pt x="505" y="46"/>
                  </a:cubicBezTo>
                  <a:cubicBezTo>
                    <a:pt x="580" y="46"/>
                    <a:pt x="655" y="70"/>
                    <a:pt x="719" y="117"/>
                  </a:cubicBezTo>
                  <a:cubicBezTo>
                    <a:pt x="783" y="163"/>
                    <a:pt x="839" y="236"/>
                    <a:pt x="857" y="310"/>
                  </a:cubicBezTo>
                  <a:cubicBezTo>
                    <a:pt x="866" y="347"/>
                    <a:pt x="875" y="374"/>
                    <a:pt x="885" y="402"/>
                  </a:cubicBezTo>
                  <a:cubicBezTo>
                    <a:pt x="894" y="374"/>
                    <a:pt x="894" y="347"/>
                    <a:pt x="885" y="319"/>
                  </a:cubicBezTo>
                  <a:cubicBezTo>
                    <a:pt x="866" y="227"/>
                    <a:pt x="820" y="144"/>
                    <a:pt x="746" y="89"/>
                  </a:cubicBezTo>
                  <a:cubicBezTo>
                    <a:pt x="675" y="29"/>
                    <a:pt x="587" y="0"/>
                    <a:pt x="499" y="0"/>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9" name="Google Shape;3649;p45"/>
            <p:cNvSpPr/>
            <p:nvPr/>
          </p:nvSpPr>
          <p:spPr>
            <a:xfrm>
              <a:off x="4016775" y="4693750"/>
              <a:ext cx="130075" cy="75750"/>
            </a:xfrm>
            <a:custGeom>
              <a:avLst/>
              <a:gdLst/>
              <a:ahLst/>
              <a:cxnLst/>
              <a:rect l="l" t="t" r="r" b="b"/>
              <a:pathLst>
                <a:path w="5203" h="3030" extrusionOk="0">
                  <a:moveTo>
                    <a:pt x="2606" y="940"/>
                  </a:moveTo>
                  <a:cubicBezTo>
                    <a:pt x="3076" y="940"/>
                    <a:pt x="3462" y="1151"/>
                    <a:pt x="3462" y="1409"/>
                  </a:cubicBezTo>
                  <a:cubicBezTo>
                    <a:pt x="3462" y="1667"/>
                    <a:pt x="3076" y="1879"/>
                    <a:pt x="2606" y="1879"/>
                  </a:cubicBezTo>
                  <a:cubicBezTo>
                    <a:pt x="2127" y="1879"/>
                    <a:pt x="1741" y="1667"/>
                    <a:pt x="1741" y="1409"/>
                  </a:cubicBezTo>
                  <a:cubicBezTo>
                    <a:pt x="1741" y="1151"/>
                    <a:pt x="2127" y="940"/>
                    <a:pt x="2606" y="940"/>
                  </a:cubicBezTo>
                  <a:close/>
                  <a:moveTo>
                    <a:pt x="2606" y="1"/>
                  </a:moveTo>
                  <a:cubicBezTo>
                    <a:pt x="1170" y="1"/>
                    <a:pt x="1" y="673"/>
                    <a:pt x="1" y="1510"/>
                  </a:cubicBezTo>
                  <a:cubicBezTo>
                    <a:pt x="1" y="2348"/>
                    <a:pt x="1170" y="3029"/>
                    <a:pt x="2606" y="3029"/>
                  </a:cubicBezTo>
                  <a:cubicBezTo>
                    <a:pt x="4042" y="3029"/>
                    <a:pt x="5202" y="2357"/>
                    <a:pt x="5202" y="1510"/>
                  </a:cubicBezTo>
                  <a:cubicBezTo>
                    <a:pt x="5202" y="673"/>
                    <a:pt x="4042" y="1"/>
                    <a:pt x="2606" y="1"/>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0" name="Google Shape;3650;p45"/>
            <p:cNvSpPr/>
            <p:nvPr/>
          </p:nvSpPr>
          <p:spPr>
            <a:xfrm>
              <a:off x="2891550" y="3502250"/>
              <a:ext cx="439625" cy="566425"/>
            </a:xfrm>
            <a:custGeom>
              <a:avLst/>
              <a:gdLst/>
              <a:ahLst/>
              <a:cxnLst/>
              <a:rect l="l" t="t" r="r" b="b"/>
              <a:pathLst>
                <a:path w="17585" h="22657" extrusionOk="0">
                  <a:moveTo>
                    <a:pt x="1124" y="0"/>
                  </a:moveTo>
                  <a:lnTo>
                    <a:pt x="1" y="21810"/>
                  </a:lnTo>
                  <a:lnTo>
                    <a:pt x="16461" y="22657"/>
                  </a:lnTo>
                  <a:lnTo>
                    <a:pt x="17585" y="838"/>
                  </a:lnTo>
                  <a:lnTo>
                    <a:pt x="1124" y="0"/>
                  </a:lnTo>
                  <a:close/>
                </a:path>
              </a:pathLst>
            </a:custGeom>
            <a:solidFill>
              <a:srgbClr val="FAFA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1" name="Google Shape;3651;p45"/>
            <p:cNvSpPr/>
            <p:nvPr/>
          </p:nvSpPr>
          <p:spPr>
            <a:xfrm>
              <a:off x="2889950" y="3500650"/>
              <a:ext cx="442600" cy="569650"/>
            </a:xfrm>
            <a:custGeom>
              <a:avLst/>
              <a:gdLst/>
              <a:ahLst/>
              <a:cxnLst/>
              <a:rect l="l" t="t" r="r" b="b"/>
              <a:pathLst>
                <a:path w="17704" h="22786" extrusionOk="0">
                  <a:moveTo>
                    <a:pt x="1243" y="129"/>
                  </a:moveTo>
                  <a:lnTo>
                    <a:pt x="17584" y="967"/>
                  </a:lnTo>
                  <a:lnTo>
                    <a:pt x="16470" y="22665"/>
                  </a:lnTo>
                  <a:lnTo>
                    <a:pt x="120" y="21828"/>
                  </a:lnTo>
                  <a:lnTo>
                    <a:pt x="1243" y="129"/>
                  </a:lnTo>
                  <a:close/>
                  <a:moveTo>
                    <a:pt x="1124" y="0"/>
                  </a:moveTo>
                  <a:lnTo>
                    <a:pt x="0" y="21874"/>
                  </a:lnTo>
                  <a:lnTo>
                    <a:pt x="0" y="21938"/>
                  </a:lnTo>
                  <a:lnTo>
                    <a:pt x="16516" y="22785"/>
                  </a:lnTo>
                  <a:lnTo>
                    <a:pt x="16581" y="22785"/>
                  </a:lnTo>
                  <a:lnTo>
                    <a:pt x="17704" y="911"/>
                  </a:lnTo>
                  <a:lnTo>
                    <a:pt x="17704" y="856"/>
                  </a:lnTo>
                  <a:lnTo>
                    <a:pt x="1179" y="0"/>
                  </a:ln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2" name="Google Shape;3652;p45"/>
            <p:cNvSpPr/>
            <p:nvPr/>
          </p:nvSpPr>
          <p:spPr>
            <a:xfrm>
              <a:off x="3161075" y="3712375"/>
              <a:ext cx="52725" cy="32550"/>
            </a:xfrm>
            <a:custGeom>
              <a:avLst/>
              <a:gdLst/>
              <a:ahLst/>
              <a:cxnLst/>
              <a:rect l="l" t="t" r="r" b="b"/>
              <a:pathLst>
                <a:path w="2109" h="1302" extrusionOk="0">
                  <a:moveTo>
                    <a:pt x="1228" y="0"/>
                  </a:moveTo>
                  <a:cubicBezTo>
                    <a:pt x="1072" y="0"/>
                    <a:pt x="916" y="10"/>
                    <a:pt x="755" y="28"/>
                  </a:cubicBezTo>
                  <a:cubicBezTo>
                    <a:pt x="599" y="37"/>
                    <a:pt x="451" y="74"/>
                    <a:pt x="304" y="139"/>
                  </a:cubicBezTo>
                  <a:cubicBezTo>
                    <a:pt x="166" y="203"/>
                    <a:pt x="65" y="341"/>
                    <a:pt x="46" y="498"/>
                  </a:cubicBezTo>
                  <a:lnTo>
                    <a:pt x="0" y="1059"/>
                  </a:lnTo>
                  <a:cubicBezTo>
                    <a:pt x="46" y="1197"/>
                    <a:pt x="203" y="1243"/>
                    <a:pt x="350" y="1271"/>
                  </a:cubicBezTo>
                  <a:cubicBezTo>
                    <a:pt x="500" y="1291"/>
                    <a:pt x="651" y="1302"/>
                    <a:pt x="802" y="1302"/>
                  </a:cubicBezTo>
                  <a:cubicBezTo>
                    <a:pt x="1132" y="1302"/>
                    <a:pt x="1461" y="1252"/>
                    <a:pt x="1777" y="1151"/>
                  </a:cubicBezTo>
                  <a:cubicBezTo>
                    <a:pt x="1832" y="1133"/>
                    <a:pt x="1878" y="1115"/>
                    <a:pt x="1924" y="1078"/>
                  </a:cubicBezTo>
                  <a:cubicBezTo>
                    <a:pt x="2007" y="1004"/>
                    <a:pt x="2053" y="912"/>
                    <a:pt x="2062" y="811"/>
                  </a:cubicBezTo>
                  <a:cubicBezTo>
                    <a:pt x="2108" y="553"/>
                    <a:pt x="2053" y="249"/>
                    <a:pt x="1832" y="102"/>
                  </a:cubicBezTo>
                  <a:cubicBezTo>
                    <a:pt x="1722" y="47"/>
                    <a:pt x="1611" y="10"/>
                    <a:pt x="1482" y="10"/>
                  </a:cubicBezTo>
                  <a:cubicBezTo>
                    <a:pt x="1398" y="3"/>
                    <a:pt x="1313" y="0"/>
                    <a:pt x="1228" y="0"/>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3" name="Google Shape;3653;p45"/>
            <p:cNvSpPr/>
            <p:nvPr/>
          </p:nvSpPr>
          <p:spPr>
            <a:xfrm>
              <a:off x="3000875" y="3708800"/>
              <a:ext cx="52725" cy="32600"/>
            </a:xfrm>
            <a:custGeom>
              <a:avLst/>
              <a:gdLst/>
              <a:ahLst/>
              <a:cxnLst/>
              <a:rect l="l" t="t" r="r" b="b"/>
              <a:pathLst>
                <a:path w="2109" h="1304" extrusionOk="0">
                  <a:moveTo>
                    <a:pt x="859" y="0"/>
                  </a:moveTo>
                  <a:cubicBezTo>
                    <a:pt x="778" y="0"/>
                    <a:pt x="697" y="2"/>
                    <a:pt x="618" y="6"/>
                  </a:cubicBezTo>
                  <a:cubicBezTo>
                    <a:pt x="498" y="15"/>
                    <a:pt x="378" y="42"/>
                    <a:pt x="277" y="107"/>
                  </a:cubicBezTo>
                  <a:cubicBezTo>
                    <a:pt x="56" y="245"/>
                    <a:pt x="1" y="549"/>
                    <a:pt x="47" y="806"/>
                  </a:cubicBezTo>
                  <a:cubicBezTo>
                    <a:pt x="56" y="917"/>
                    <a:pt x="102" y="1009"/>
                    <a:pt x="176" y="1083"/>
                  </a:cubicBezTo>
                  <a:cubicBezTo>
                    <a:pt x="222" y="1110"/>
                    <a:pt x="268" y="1138"/>
                    <a:pt x="323" y="1156"/>
                  </a:cubicBezTo>
                  <a:cubicBezTo>
                    <a:pt x="630" y="1255"/>
                    <a:pt x="949" y="1304"/>
                    <a:pt x="1269" y="1304"/>
                  </a:cubicBezTo>
                  <a:cubicBezTo>
                    <a:pt x="1430" y="1304"/>
                    <a:pt x="1590" y="1291"/>
                    <a:pt x="1750" y="1267"/>
                  </a:cubicBezTo>
                  <a:cubicBezTo>
                    <a:pt x="1897" y="1248"/>
                    <a:pt x="2063" y="1193"/>
                    <a:pt x="2109" y="1055"/>
                  </a:cubicBezTo>
                  <a:lnTo>
                    <a:pt x="2054" y="503"/>
                  </a:lnTo>
                  <a:cubicBezTo>
                    <a:pt x="2045" y="337"/>
                    <a:pt x="1943" y="199"/>
                    <a:pt x="1796" y="134"/>
                  </a:cubicBezTo>
                  <a:cubicBezTo>
                    <a:pt x="1658" y="70"/>
                    <a:pt x="1501" y="33"/>
                    <a:pt x="1345" y="33"/>
                  </a:cubicBezTo>
                  <a:cubicBezTo>
                    <a:pt x="1185" y="9"/>
                    <a:pt x="1022" y="0"/>
                    <a:pt x="859" y="0"/>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4" name="Google Shape;3654;p45"/>
            <p:cNvSpPr/>
            <p:nvPr/>
          </p:nvSpPr>
          <p:spPr>
            <a:xfrm>
              <a:off x="2963375" y="3717150"/>
              <a:ext cx="292075" cy="175725"/>
            </a:xfrm>
            <a:custGeom>
              <a:avLst/>
              <a:gdLst/>
              <a:ahLst/>
              <a:cxnLst/>
              <a:rect l="l" t="t" r="r" b="b"/>
              <a:pathLst>
                <a:path w="11683" h="7029" extrusionOk="0">
                  <a:moveTo>
                    <a:pt x="2286" y="1"/>
                  </a:moveTo>
                  <a:cubicBezTo>
                    <a:pt x="1906" y="1"/>
                    <a:pt x="1518" y="81"/>
                    <a:pt x="1252" y="344"/>
                  </a:cubicBezTo>
                  <a:cubicBezTo>
                    <a:pt x="626" y="960"/>
                    <a:pt x="0" y="5020"/>
                    <a:pt x="37" y="5858"/>
                  </a:cubicBezTo>
                  <a:cubicBezTo>
                    <a:pt x="73" y="6521"/>
                    <a:pt x="750" y="7029"/>
                    <a:pt x="1350" y="7029"/>
                  </a:cubicBezTo>
                  <a:cubicBezTo>
                    <a:pt x="1508" y="7029"/>
                    <a:pt x="1661" y="6993"/>
                    <a:pt x="1795" y="6917"/>
                  </a:cubicBezTo>
                  <a:cubicBezTo>
                    <a:pt x="2431" y="6549"/>
                    <a:pt x="3314" y="4809"/>
                    <a:pt x="3535" y="4781"/>
                  </a:cubicBezTo>
                  <a:cubicBezTo>
                    <a:pt x="3546" y="4780"/>
                    <a:pt x="3557" y="4779"/>
                    <a:pt x="3569" y="4779"/>
                  </a:cubicBezTo>
                  <a:cubicBezTo>
                    <a:pt x="3720" y="4779"/>
                    <a:pt x="4004" y="4875"/>
                    <a:pt x="4290" y="4875"/>
                  </a:cubicBezTo>
                  <a:cubicBezTo>
                    <a:pt x="4454" y="4875"/>
                    <a:pt x="4619" y="4843"/>
                    <a:pt x="4760" y="4744"/>
                  </a:cubicBezTo>
                  <a:cubicBezTo>
                    <a:pt x="4971" y="4597"/>
                    <a:pt x="5174" y="4422"/>
                    <a:pt x="5358" y="4238"/>
                  </a:cubicBezTo>
                  <a:cubicBezTo>
                    <a:pt x="5358" y="4238"/>
                    <a:pt x="6159" y="4210"/>
                    <a:pt x="6224" y="4210"/>
                  </a:cubicBezTo>
                  <a:cubicBezTo>
                    <a:pt x="6297" y="4210"/>
                    <a:pt x="6573" y="4744"/>
                    <a:pt x="6951" y="4864"/>
                  </a:cubicBezTo>
                  <a:cubicBezTo>
                    <a:pt x="7029" y="4886"/>
                    <a:pt x="7120" y="4895"/>
                    <a:pt x="7217" y="4895"/>
                  </a:cubicBezTo>
                  <a:cubicBezTo>
                    <a:pt x="7596" y="4895"/>
                    <a:pt x="8058" y="4753"/>
                    <a:pt x="8138" y="4716"/>
                  </a:cubicBezTo>
                  <a:cubicBezTo>
                    <a:pt x="8140" y="4716"/>
                    <a:pt x="8141" y="4716"/>
                    <a:pt x="8143" y="4716"/>
                  </a:cubicBezTo>
                  <a:cubicBezTo>
                    <a:pt x="8258" y="4716"/>
                    <a:pt x="8921" y="5996"/>
                    <a:pt x="9593" y="6641"/>
                  </a:cubicBezTo>
                  <a:cubicBezTo>
                    <a:pt x="9820" y="6861"/>
                    <a:pt x="10112" y="6963"/>
                    <a:pt x="10403" y="6963"/>
                  </a:cubicBezTo>
                  <a:cubicBezTo>
                    <a:pt x="10987" y="6963"/>
                    <a:pt x="11569" y="6552"/>
                    <a:pt x="11618" y="5858"/>
                  </a:cubicBezTo>
                  <a:cubicBezTo>
                    <a:pt x="11683" y="4818"/>
                    <a:pt x="10477" y="1043"/>
                    <a:pt x="10062" y="500"/>
                  </a:cubicBezTo>
                  <a:cubicBezTo>
                    <a:pt x="9849" y="220"/>
                    <a:pt x="9350" y="126"/>
                    <a:pt x="8832" y="126"/>
                  </a:cubicBezTo>
                  <a:cubicBezTo>
                    <a:pt x="8346" y="126"/>
                    <a:pt x="7843" y="208"/>
                    <a:pt x="7540" y="298"/>
                  </a:cubicBezTo>
                  <a:cubicBezTo>
                    <a:pt x="7252" y="382"/>
                    <a:pt x="6971" y="403"/>
                    <a:pt x="6699" y="403"/>
                  </a:cubicBezTo>
                  <a:cubicBezTo>
                    <a:pt x="6446" y="403"/>
                    <a:pt x="6201" y="385"/>
                    <a:pt x="5962" y="385"/>
                  </a:cubicBezTo>
                  <a:cubicBezTo>
                    <a:pt x="5898" y="385"/>
                    <a:pt x="5835" y="386"/>
                    <a:pt x="5772" y="390"/>
                  </a:cubicBezTo>
                  <a:cubicBezTo>
                    <a:pt x="5711" y="391"/>
                    <a:pt x="5648" y="392"/>
                    <a:pt x="5585" y="392"/>
                  </a:cubicBezTo>
                  <a:cubicBezTo>
                    <a:pt x="4738" y="392"/>
                    <a:pt x="3754" y="282"/>
                    <a:pt x="3471" y="196"/>
                  </a:cubicBezTo>
                  <a:cubicBezTo>
                    <a:pt x="3301" y="149"/>
                    <a:pt x="2800" y="1"/>
                    <a:pt x="2286" y="1"/>
                  </a:cubicBezTo>
                  <a:close/>
                </a:path>
              </a:pathLst>
            </a:custGeom>
            <a:solidFill>
              <a:srgbClr val="EBEBE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5" name="Google Shape;3655;p45"/>
            <p:cNvSpPr/>
            <p:nvPr/>
          </p:nvSpPr>
          <p:spPr>
            <a:xfrm>
              <a:off x="2964275" y="3805350"/>
              <a:ext cx="289575" cy="87425"/>
            </a:xfrm>
            <a:custGeom>
              <a:avLst/>
              <a:gdLst/>
              <a:ahLst/>
              <a:cxnLst/>
              <a:rect l="l" t="t" r="r" b="b"/>
              <a:pathLst>
                <a:path w="11583" h="3497" extrusionOk="0">
                  <a:moveTo>
                    <a:pt x="6188" y="1"/>
                  </a:moveTo>
                  <a:cubicBezTo>
                    <a:pt x="6123" y="1"/>
                    <a:pt x="5322" y="29"/>
                    <a:pt x="5322" y="29"/>
                  </a:cubicBezTo>
                  <a:cubicBezTo>
                    <a:pt x="5138" y="222"/>
                    <a:pt x="4935" y="397"/>
                    <a:pt x="4724" y="544"/>
                  </a:cubicBezTo>
                  <a:cubicBezTo>
                    <a:pt x="4590" y="641"/>
                    <a:pt x="4430" y="672"/>
                    <a:pt x="4269" y="672"/>
                  </a:cubicBezTo>
                  <a:cubicBezTo>
                    <a:pt x="3979" y="672"/>
                    <a:pt x="3685" y="570"/>
                    <a:pt x="3532" y="570"/>
                  </a:cubicBezTo>
                  <a:cubicBezTo>
                    <a:pt x="3520" y="570"/>
                    <a:pt x="3509" y="570"/>
                    <a:pt x="3499" y="572"/>
                  </a:cubicBezTo>
                  <a:cubicBezTo>
                    <a:pt x="3288" y="599"/>
                    <a:pt x="2404" y="2339"/>
                    <a:pt x="1759" y="2708"/>
                  </a:cubicBezTo>
                  <a:cubicBezTo>
                    <a:pt x="1622" y="2787"/>
                    <a:pt x="1466" y="2823"/>
                    <a:pt x="1305" y="2823"/>
                  </a:cubicBezTo>
                  <a:cubicBezTo>
                    <a:pt x="753" y="2823"/>
                    <a:pt x="141" y="2397"/>
                    <a:pt x="19" y="1805"/>
                  </a:cubicBezTo>
                  <a:cubicBezTo>
                    <a:pt x="10" y="1980"/>
                    <a:pt x="1" y="2155"/>
                    <a:pt x="1" y="2330"/>
                  </a:cubicBezTo>
                  <a:cubicBezTo>
                    <a:pt x="37" y="2990"/>
                    <a:pt x="708" y="3496"/>
                    <a:pt x="1306" y="3496"/>
                  </a:cubicBezTo>
                  <a:cubicBezTo>
                    <a:pt x="1467" y="3496"/>
                    <a:pt x="1623" y="3460"/>
                    <a:pt x="1759" y="3380"/>
                  </a:cubicBezTo>
                  <a:cubicBezTo>
                    <a:pt x="2395" y="3011"/>
                    <a:pt x="3288" y="1271"/>
                    <a:pt x="3499" y="1244"/>
                  </a:cubicBezTo>
                  <a:cubicBezTo>
                    <a:pt x="3509" y="1242"/>
                    <a:pt x="3520" y="1242"/>
                    <a:pt x="3532" y="1242"/>
                  </a:cubicBezTo>
                  <a:cubicBezTo>
                    <a:pt x="3685" y="1242"/>
                    <a:pt x="3979" y="1344"/>
                    <a:pt x="4269" y="1344"/>
                  </a:cubicBezTo>
                  <a:cubicBezTo>
                    <a:pt x="4430" y="1344"/>
                    <a:pt x="4590" y="1313"/>
                    <a:pt x="4724" y="1216"/>
                  </a:cubicBezTo>
                  <a:cubicBezTo>
                    <a:pt x="4935" y="1069"/>
                    <a:pt x="5138" y="894"/>
                    <a:pt x="5322" y="701"/>
                  </a:cubicBezTo>
                  <a:cubicBezTo>
                    <a:pt x="5322" y="701"/>
                    <a:pt x="6123" y="673"/>
                    <a:pt x="6188" y="673"/>
                  </a:cubicBezTo>
                  <a:cubicBezTo>
                    <a:pt x="6261" y="673"/>
                    <a:pt x="6537" y="1216"/>
                    <a:pt x="6915" y="1327"/>
                  </a:cubicBezTo>
                  <a:cubicBezTo>
                    <a:pt x="6996" y="1352"/>
                    <a:pt x="7091" y="1362"/>
                    <a:pt x="7191" y="1362"/>
                  </a:cubicBezTo>
                  <a:cubicBezTo>
                    <a:pt x="7568" y="1362"/>
                    <a:pt x="8022" y="1218"/>
                    <a:pt x="8102" y="1188"/>
                  </a:cubicBezTo>
                  <a:cubicBezTo>
                    <a:pt x="8104" y="1188"/>
                    <a:pt x="8106" y="1187"/>
                    <a:pt x="8108" y="1187"/>
                  </a:cubicBezTo>
                  <a:cubicBezTo>
                    <a:pt x="8227" y="1187"/>
                    <a:pt x="8887" y="2461"/>
                    <a:pt x="9557" y="3113"/>
                  </a:cubicBezTo>
                  <a:cubicBezTo>
                    <a:pt x="9784" y="3333"/>
                    <a:pt x="10076" y="3435"/>
                    <a:pt x="10367" y="3435"/>
                  </a:cubicBezTo>
                  <a:cubicBezTo>
                    <a:pt x="10951" y="3435"/>
                    <a:pt x="11533" y="3024"/>
                    <a:pt x="11582" y="2330"/>
                  </a:cubicBezTo>
                  <a:cubicBezTo>
                    <a:pt x="11582" y="2164"/>
                    <a:pt x="11573" y="1999"/>
                    <a:pt x="11555" y="1842"/>
                  </a:cubicBezTo>
                  <a:cubicBezTo>
                    <a:pt x="11424" y="2424"/>
                    <a:pt x="10899" y="2761"/>
                    <a:pt x="10369" y="2761"/>
                  </a:cubicBezTo>
                  <a:cubicBezTo>
                    <a:pt x="10078" y="2761"/>
                    <a:pt x="9786" y="2659"/>
                    <a:pt x="9557" y="2441"/>
                  </a:cubicBezTo>
                  <a:cubicBezTo>
                    <a:pt x="8887" y="1798"/>
                    <a:pt x="8227" y="515"/>
                    <a:pt x="8108" y="515"/>
                  </a:cubicBezTo>
                  <a:cubicBezTo>
                    <a:pt x="8106" y="515"/>
                    <a:pt x="8104" y="516"/>
                    <a:pt x="8102" y="516"/>
                  </a:cubicBezTo>
                  <a:cubicBezTo>
                    <a:pt x="8022" y="553"/>
                    <a:pt x="7560" y="695"/>
                    <a:pt x="7181" y="695"/>
                  </a:cubicBezTo>
                  <a:cubicBezTo>
                    <a:pt x="7084" y="695"/>
                    <a:pt x="6993" y="686"/>
                    <a:pt x="6915" y="664"/>
                  </a:cubicBezTo>
                  <a:cubicBezTo>
                    <a:pt x="6537" y="544"/>
                    <a:pt x="6261" y="1"/>
                    <a:pt x="6188" y="1"/>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6" name="Google Shape;3656;p45"/>
            <p:cNvSpPr/>
            <p:nvPr/>
          </p:nvSpPr>
          <p:spPr>
            <a:xfrm>
              <a:off x="3002250" y="3733775"/>
              <a:ext cx="63325" cy="63325"/>
            </a:xfrm>
            <a:custGeom>
              <a:avLst/>
              <a:gdLst/>
              <a:ahLst/>
              <a:cxnLst/>
              <a:rect l="l" t="t" r="r" b="b"/>
              <a:pathLst>
                <a:path w="2533" h="2533" extrusionOk="0">
                  <a:moveTo>
                    <a:pt x="1262" y="1"/>
                  </a:moveTo>
                  <a:cubicBezTo>
                    <a:pt x="572" y="1"/>
                    <a:pt x="1" y="572"/>
                    <a:pt x="1" y="1271"/>
                  </a:cubicBezTo>
                  <a:cubicBezTo>
                    <a:pt x="1" y="1962"/>
                    <a:pt x="572" y="2532"/>
                    <a:pt x="1262" y="2532"/>
                  </a:cubicBezTo>
                  <a:cubicBezTo>
                    <a:pt x="1962" y="2532"/>
                    <a:pt x="2533" y="1962"/>
                    <a:pt x="2533" y="1271"/>
                  </a:cubicBezTo>
                  <a:cubicBezTo>
                    <a:pt x="2533" y="572"/>
                    <a:pt x="1962" y="1"/>
                    <a:pt x="1262" y="1"/>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7" name="Google Shape;3657;p45"/>
            <p:cNvSpPr/>
            <p:nvPr/>
          </p:nvSpPr>
          <p:spPr>
            <a:xfrm>
              <a:off x="2994900" y="3730875"/>
              <a:ext cx="72050" cy="63150"/>
            </a:xfrm>
            <a:custGeom>
              <a:avLst/>
              <a:gdLst/>
              <a:ahLst/>
              <a:cxnLst/>
              <a:rect l="l" t="t" r="r" b="b"/>
              <a:pathLst>
                <a:path w="2882" h="2526" extrusionOk="0">
                  <a:moveTo>
                    <a:pt x="1441" y="0"/>
                  </a:moveTo>
                  <a:cubicBezTo>
                    <a:pt x="1214" y="0"/>
                    <a:pt x="983" y="62"/>
                    <a:pt x="774" y="190"/>
                  </a:cubicBezTo>
                  <a:cubicBezTo>
                    <a:pt x="185" y="549"/>
                    <a:pt x="0" y="1332"/>
                    <a:pt x="359" y="1930"/>
                  </a:cubicBezTo>
                  <a:cubicBezTo>
                    <a:pt x="599" y="2314"/>
                    <a:pt x="1014" y="2525"/>
                    <a:pt x="1439" y="2525"/>
                  </a:cubicBezTo>
                  <a:cubicBezTo>
                    <a:pt x="1668" y="2525"/>
                    <a:pt x="1899" y="2464"/>
                    <a:pt x="2109" y="2335"/>
                  </a:cubicBezTo>
                  <a:cubicBezTo>
                    <a:pt x="2698" y="1967"/>
                    <a:pt x="2882" y="1194"/>
                    <a:pt x="2514" y="596"/>
                  </a:cubicBezTo>
                  <a:cubicBezTo>
                    <a:pt x="2274" y="212"/>
                    <a:pt x="1863" y="0"/>
                    <a:pt x="1441" y="0"/>
                  </a:cubicBezTo>
                  <a:close/>
                </a:path>
              </a:pathLst>
            </a:custGeom>
            <a:solidFill>
              <a:srgbClr val="F5F5F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8" name="Google Shape;3658;p45"/>
            <p:cNvSpPr/>
            <p:nvPr/>
          </p:nvSpPr>
          <p:spPr>
            <a:xfrm>
              <a:off x="3144275" y="3735400"/>
              <a:ext cx="73900" cy="63350"/>
            </a:xfrm>
            <a:custGeom>
              <a:avLst/>
              <a:gdLst/>
              <a:ahLst/>
              <a:cxnLst/>
              <a:rect l="l" t="t" r="r" b="b"/>
              <a:pathLst>
                <a:path w="2956" h="2534" extrusionOk="0">
                  <a:moveTo>
                    <a:pt x="1694" y="0"/>
                  </a:moveTo>
                  <a:cubicBezTo>
                    <a:pt x="562" y="0"/>
                    <a:pt x="0" y="1363"/>
                    <a:pt x="801" y="2164"/>
                  </a:cubicBezTo>
                  <a:cubicBezTo>
                    <a:pt x="1057" y="2419"/>
                    <a:pt x="1372" y="2534"/>
                    <a:pt x="1682" y="2534"/>
                  </a:cubicBezTo>
                  <a:cubicBezTo>
                    <a:pt x="2331" y="2534"/>
                    <a:pt x="2955" y="2031"/>
                    <a:pt x="2955" y="1271"/>
                  </a:cubicBezTo>
                  <a:cubicBezTo>
                    <a:pt x="2955" y="571"/>
                    <a:pt x="2394" y="0"/>
                    <a:pt x="1694" y="0"/>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9" name="Google Shape;3659;p45"/>
            <p:cNvSpPr/>
            <p:nvPr/>
          </p:nvSpPr>
          <p:spPr>
            <a:xfrm>
              <a:off x="3155075" y="3730900"/>
              <a:ext cx="69550" cy="63325"/>
            </a:xfrm>
            <a:custGeom>
              <a:avLst/>
              <a:gdLst/>
              <a:ahLst/>
              <a:cxnLst/>
              <a:rect l="l" t="t" r="r" b="b"/>
              <a:pathLst>
                <a:path w="2782" h="2533" extrusionOk="0">
                  <a:moveTo>
                    <a:pt x="1394" y="1"/>
                  </a:moveTo>
                  <a:cubicBezTo>
                    <a:pt x="1071" y="1"/>
                    <a:pt x="747" y="125"/>
                    <a:pt x="498" y="374"/>
                  </a:cubicBezTo>
                  <a:cubicBezTo>
                    <a:pt x="1" y="871"/>
                    <a:pt x="1" y="1672"/>
                    <a:pt x="498" y="2160"/>
                  </a:cubicBezTo>
                  <a:cubicBezTo>
                    <a:pt x="747" y="2408"/>
                    <a:pt x="1071" y="2532"/>
                    <a:pt x="1394" y="2532"/>
                  </a:cubicBezTo>
                  <a:cubicBezTo>
                    <a:pt x="1718" y="2532"/>
                    <a:pt x="2040" y="2408"/>
                    <a:pt x="2284" y="2160"/>
                  </a:cubicBezTo>
                  <a:cubicBezTo>
                    <a:pt x="2781" y="1672"/>
                    <a:pt x="2781" y="871"/>
                    <a:pt x="2284" y="374"/>
                  </a:cubicBezTo>
                  <a:cubicBezTo>
                    <a:pt x="2040" y="125"/>
                    <a:pt x="1718" y="1"/>
                    <a:pt x="1394" y="1"/>
                  </a:cubicBezTo>
                  <a:close/>
                </a:path>
              </a:pathLst>
            </a:custGeom>
            <a:solidFill>
              <a:srgbClr val="F5F5F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0" name="Google Shape;3660;p45"/>
            <p:cNvSpPr/>
            <p:nvPr/>
          </p:nvSpPr>
          <p:spPr>
            <a:xfrm>
              <a:off x="3121700" y="3788875"/>
              <a:ext cx="47000" cy="42575"/>
            </a:xfrm>
            <a:custGeom>
              <a:avLst/>
              <a:gdLst/>
              <a:ahLst/>
              <a:cxnLst/>
              <a:rect l="l" t="t" r="r" b="b"/>
              <a:pathLst>
                <a:path w="1880" h="1703" extrusionOk="0">
                  <a:moveTo>
                    <a:pt x="937" y="1"/>
                  </a:moveTo>
                  <a:cubicBezTo>
                    <a:pt x="556" y="1"/>
                    <a:pt x="206" y="265"/>
                    <a:pt x="111" y="651"/>
                  </a:cubicBezTo>
                  <a:cubicBezTo>
                    <a:pt x="1" y="1111"/>
                    <a:pt x="286" y="1571"/>
                    <a:pt x="747" y="1682"/>
                  </a:cubicBezTo>
                  <a:cubicBezTo>
                    <a:pt x="811" y="1696"/>
                    <a:pt x="875" y="1703"/>
                    <a:pt x="937" y="1703"/>
                  </a:cubicBezTo>
                  <a:cubicBezTo>
                    <a:pt x="1326" y="1703"/>
                    <a:pt x="1673" y="1443"/>
                    <a:pt x="1769" y="1047"/>
                  </a:cubicBezTo>
                  <a:cubicBezTo>
                    <a:pt x="1879" y="586"/>
                    <a:pt x="1594" y="126"/>
                    <a:pt x="1133" y="25"/>
                  </a:cubicBezTo>
                  <a:cubicBezTo>
                    <a:pt x="1068" y="9"/>
                    <a:pt x="1002" y="1"/>
                    <a:pt x="937" y="1"/>
                  </a:cubicBezTo>
                  <a:close/>
                </a:path>
              </a:pathLst>
            </a:custGeom>
            <a:solidFill>
              <a:srgbClr val="F5F5F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1" name="Google Shape;3661;p45"/>
            <p:cNvSpPr/>
            <p:nvPr/>
          </p:nvSpPr>
          <p:spPr>
            <a:xfrm>
              <a:off x="3044375" y="3788875"/>
              <a:ext cx="46750" cy="42575"/>
            </a:xfrm>
            <a:custGeom>
              <a:avLst/>
              <a:gdLst/>
              <a:ahLst/>
              <a:cxnLst/>
              <a:rect l="l" t="t" r="r" b="b"/>
              <a:pathLst>
                <a:path w="1870" h="1703" extrusionOk="0">
                  <a:moveTo>
                    <a:pt x="933" y="1"/>
                  </a:moveTo>
                  <a:cubicBezTo>
                    <a:pt x="546" y="1"/>
                    <a:pt x="198" y="265"/>
                    <a:pt x="111" y="651"/>
                  </a:cubicBezTo>
                  <a:cubicBezTo>
                    <a:pt x="1" y="1111"/>
                    <a:pt x="286" y="1571"/>
                    <a:pt x="737" y="1682"/>
                  </a:cubicBezTo>
                  <a:cubicBezTo>
                    <a:pt x="801" y="1696"/>
                    <a:pt x="865" y="1703"/>
                    <a:pt x="928" y="1703"/>
                  </a:cubicBezTo>
                  <a:cubicBezTo>
                    <a:pt x="1319" y="1703"/>
                    <a:pt x="1673" y="1443"/>
                    <a:pt x="1768" y="1047"/>
                  </a:cubicBezTo>
                  <a:cubicBezTo>
                    <a:pt x="1870" y="586"/>
                    <a:pt x="1593" y="126"/>
                    <a:pt x="1133" y="25"/>
                  </a:cubicBezTo>
                  <a:cubicBezTo>
                    <a:pt x="1066" y="9"/>
                    <a:pt x="999" y="1"/>
                    <a:pt x="933" y="1"/>
                  </a:cubicBezTo>
                  <a:close/>
                </a:path>
              </a:pathLst>
            </a:custGeom>
            <a:solidFill>
              <a:srgbClr val="F5F5F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2" name="Google Shape;3662;p45"/>
            <p:cNvSpPr/>
            <p:nvPr/>
          </p:nvSpPr>
          <p:spPr>
            <a:xfrm>
              <a:off x="3008025" y="3739525"/>
              <a:ext cx="45825" cy="46075"/>
            </a:xfrm>
            <a:custGeom>
              <a:avLst/>
              <a:gdLst/>
              <a:ahLst/>
              <a:cxnLst/>
              <a:rect l="l" t="t" r="r" b="b"/>
              <a:pathLst>
                <a:path w="1833" h="1843" extrusionOk="0">
                  <a:moveTo>
                    <a:pt x="819" y="1"/>
                  </a:moveTo>
                  <a:cubicBezTo>
                    <a:pt x="672" y="1"/>
                    <a:pt x="562" y="121"/>
                    <a:pt x="562" y="259"/>
                  </a:cubicBezTo>
                  <a:lnTo>
                    <a:pt x="562" y="572"/>
                  </a:lnTo>
                  <a:lnTo>
                    <a:pt x="258" y="572"/>
                  </a:lnTo>
                  <a:cubicBezTo>
                    <a:pt x="111" y="572"/>
                    <a:pt x="0" y="691"/>
                    <a:pt x="0" y="830"/>
                  </a:cubicBezTo>
                  <a:lnTo>
                    <a:pt x="0" y="1014"/>
                  </a:lnTo>
                  <a:cubicBezTo>
                    <a:pt x="0" y="1161"/>
                    <a:pt x="111" y="1271"/>
                    <a:pt x="258" y="1271"/>
                  </a:cubicBezTo>
                  <a:lnTo>
                    <a:pt x="562" y="1271"/>
                  </a:lnTo>
                  <a:lnTo>
                    <a:pt x="562" y="1584"/>
                  </a:lnTo>
                  <a:cubicBezTo>
                    <a:pt x="562" y="1722"/>
                    <a:pt x="681" y="1842"/>
                    <a:pt x="819" y="1842"/>
                  </a:cubicBezTo>
                  <a:lnTo>
                    <a:pt x="1004" y="1842"/>
                  </a:lnTo>
                  <a:cubicBezTo>
                    <a:pt x="1151" y="1842"/>
                    <a:pt x="1261" y="1722"/>
                    <a:pt x="1261" y="1584"/>
                  </a:cubicBezTo>
                  <a:lnTo>
                    <a:pt x="1261" y="1271"/>
                  </a:lnTo>
                  <a:lnTo>
                    <a:pt x="1574" y="1271"/>
                  </a:lnTo>
                  <a:cubicBezTo>
                    <a:pt x="1712" y="1271"/>
                    <a:pt x="1832" y="1161"/>
                    <a:pt x="1832" y="1014"/>
                  </a:cubicBezTo>
                  <a:lnTo>
                    <a:pt x="1832" y="830"/>
                  </a:lnTo>
                  <a:cubicBezTo>
                    <a:pt x="1832" y="691"/>
                    <a:pt x="1712" y="572"/>
                    <a:pt x="1574" y="572"/>
                  </a:cubicBezTo>
                  <a:lnTo>
                    <a:pt x="1261" y="572"/>
                  </a:lnTo>
                  <a:lnTo>
                    <a:pt x="1261" y="259"/>
                  </a:lnTo>
                  <a:cubicBezTo>
                    <a:pt x="1261" y="121"/>
                    <a:pt x="1151" y="1"/>
                    <a:pt x="1004" y="1"/>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3" name="Google Shape;3663;p45"/>
            <p:cNvSpPr/>
            <p:nvPr/>
          </p:nvSpPr>
          <p:spPr>
            <a:xfrm>
              <a:off x="3177650" y="3737475"/>
              <a:ext cx="21875" cy="18575"/>
            </a:xfrm>
            <a:custGeom>
              <a:avLst/>
              <a:gdLst/>
              <a:ahLst/>
              <a:cxnLst/>
              <a:rect l="l" t="t" r="r" b="b"/>
              <a:pathLst>
                <a:path w="875" h="743" extrusionOk="0">
                  <a:moveTo>
                    <a:pt x="506" y="0"/>
                  </a:moveTo>
                  <a:cubicBezTo>
                    <a:pt x="175" y="0"/>
                    <a:pt x="0" y="396"/>
                    <a:pt x="239" y="635"/>
                  </a:cubicBezTo>
                  <a:cubicBezTo>
                    <a:pt x="316" y="709"/>
                    <a:pt x="409" y="742"/>
                    <a:pt x="500" y="742"/>
                  </a:cubicBezTo>
                  <a:cubicBezTo>
                    <a:pt x="692" y="742"/>
                    <a:pt x="875" y="594"/>
                    <a:pt x="875" y="368"/>
                  </a:cubicBezTo>
                  <a:cubicBezTo>
                    <a:pt x="875" y="166"/>
                    <a:pt x="709" y="0"/>
                    <a:pt x="506" y="0"/>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4" name="Google Shape;3664;p45"/>
            <p:cNvSpPr/>
            <p:nvPr/>
          </p:nvSpPr>
          <p:spPr>
            <a:xfrm>
              <a:off x="3196500" y="3753800"/>
              <a:ext cx="21900" cy="18750"/>
            </a:xfrm>
            <a:custGeom>
              <a:avLst/>
              <a:gdLst/>
              <a:ahLst/>
              <a:cxnLst/>
              <a:rect l="l" t="t" r="r" b="b"/>
              <a:pathLst>
                <a:path w="876" h="750" extrusionOk="0">
                  <a:moveTo>
                    <a:pt x="498" y="1"/>
                  </a:moveTo>
                  <a:cubicBezTo>
                    <a:pt x="167" y="1"/>
                    <a:pt x="1" y="406"/>
                    <a:pt x="240" y="636"/>
                  </a:cubicBezTo>
                  <a:cubicBezTo>
                    <a:pt x="316" y="714"/>
                    <a:pt x="410" y="749"/>
                    <a:pt x="502" y="749"/>
                  </a:cubicBezTo>
                  <a:cubicBezTo>
                    <a:pt x="692" y="749"/>
                    <a:pt x="876" y="601"/>
                    <a:pt x="876" y="378"/>
                  </a:cubicBezTo>
                  <a:cubicBezTo>
                    <a:pt x="876" y="166"/>
                    <a:pt x="710" y="1"/>
                    <a:pt x="498" y="1"/>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5" name="Google Shape;3665;p45"/>
            <p:cNvSpPr/>
            <p:nvPr/>
          </p:nvSpPr>
          <p:spPr>
            <a:xfrm>
              <a:off x="3177650" y="3769000"/>
              <a:ext cx="21875" cy="18575"/>
            </a:xfrm>
            <a:custGeom>
              <a:avLst/>
              <a:gdLst/>
              <a:ahLst/>
              <a:cxnLst/>
              <a:rect l="l" t="t" r="r" b="b"/>
              <a:pathLst>
                <a:path w="875" h="743" extrusionOk="0">
                  <a:moveTo>
                    <a:pt x="506" y="0"/>
                  </a:moveTo>
                  <a:cubicBezTo>
                    <a:pt x="175" y="0"/>
                    <a:pt x="0" y="396"/>
                    <a:pt x="239" y="636"/>
                  </a:cubicBezTo>
                  <a:cubicBezTo>
                    <a:pt x="316" y="709"/>
                    <a:pt x="409" y="742"/>
                    <a:pt x="500" y="742"/>
                  </a:cubicBezTo>
                  <a:cubicBezTo>
                    <a:pt x="692" y="742"/>
                    <a:pt x="875" y="594"/>
                    <a:pt x="875" y="369"/>
                  </a:cubicBezTo>
                  <a:cubicBezTo>
                    <a:pt x="875" y="166"/>
                    <a:pt x="709" y="0"/>
                    <a:pt x="506" y="0"/>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6" name="Google Shape;3666;p45"/>
            <p:cNvSpPr/>
            <p:nvPr/>
          </p:nvSpPr>
          <p:spPr>
            <a:xfrm>
              <a:off x="3158075" y="3754025"/>
              <a:ext cx="21900" cy="18750"/>
            </a:xfrm>
            <a:custGeom>
              <a:avLst/>
              <a:gdLst/>
              <a:ahLst/>
              <a:cxnLst/>
              <a:rect l="l" t="t" r="r" b="b"/>
              <a:pathLst>
                <a:path w="876" h="750" extrusionOk="0">
                  <a:moveTo>
                    <a:pt x="498" y="1"/>
                  </a:moveTo>
                  <a:cubicBezTo>
                    <a:pt x="166" y="1"/>
                    <a:pt x="1" y="406"/>
                    <a:pt x="240" y="636"/>
                  </a:cubicBezTo>
                  <a:cubicBezTo>
                    <a:pt x="315" y="714"/>
                    <a:pt x="409" y="749"/>
                    <a:pt x="502" y="749"/>
                  </a:cubicBezTo>
                  <a:cubicBezTo>
                    <a:pt x="692" y="749"/>
                    <a:pt x="875" y="601"/>
                    <a:pt x="875" y="378"/>
                  </a:cubicBezTo>
                  <a:cubicBezTo>
                    <a:pt x="875" y="167"/>
                    <a:pt x="709" y="1"/>
                    <a:pt x="498" y="1"/>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7" name="Google Shape;3667;p45"/>
            <p:cNvSpPr/>
            <p:nvPr/>
          </p:nvSpPr>
          <p:spPr>
            <a:xfrm>
              <a:off x="3069225" y="3724125"/>
              <a:ext cx="84050" cy="44775"/>
            </a:xfrm>
            <a:custGeom>
              <a:avLst/>
              <a:gdLst/>
              <a:ahLst/>
              <a:cxnLst/>
              <a:rect l="l" t="t" r="r" b="b"/>
              <a:pathLst>
                <a:path w="3362" h="1791" extrusionOk="0">
                  <a:moveTo>
                    <a:pt x="3361" y="0"/>
                  </a:moveTo>
                  <a:lnTo>
                    <a:pt x="3306" y="19"/>
                  </a:lnTo>
                  <a:cubicBezTo>
                    <a:pt x="3024" y="102"/>
                    <a:pt x="2749" y="123"/>
                    <a:pt x="2482" y="123"/>
                  </a:cubicBezTo>
                  <a:cubicBezTo>
                    <a:pt x="2201" y="123"/>
                    <a:pt x="1929" y="99"/>
                    <a:pt x="1665" y="99"/>
                  </a:cubicBezTo>
                  <a:cubicBezTo>
                    <a:pt x="1622" y="99"/>
                    <a:pt x="1580" y="100"/>
                    <a:pt x="1538" y="101"/>
                  </a:cubicBezTo>
                  <a:cubicBezTo>
                    <a:pt x="1472" y="103"/>
                    <a:pt x="1405" y="103"/>
                    <a:pt x="1339" y="103"/>
                  </a:cubicBezTo>
                  <a:cubicBezTo>
                    <a:pt x="892" y="103"/>
                    <a:pt x="450" y="77"/>
                    <a:pt x="1" y="37"/>
                  </a:cubicBezTo>
                  <a:lnTo>
                    <a:pt x="1" y="37"/>
                  </a:lnTo>
                  <a:cubicBezTo>
                    <a:pt x="1" y="83"/>
                    <a:pt x="10" y="138"/>
                    <a:pt x="19" y="193"/>
                  </a:cubicBezTo>
                  <a:cubicBezTo>
                    <a:pt x="75" y="571"/>
                    <a:pt x="130" y="958"/>
                    <a:pt x="185" y="1335"/>
                  </a:cubicBezTo>
                  <a:cubicBezTo>
                    <a:pt x="168" y="1532"/>
                    <a:pt x="326" y="1697"/>
                    <a:pt x="518" y="1697"/>
                  </a:cubicBezTo>
                  <a:cubicBezTo>
                    <a:pt x="533" y="1697"/>
                    <a:pt x="548" y="1696"/>
                    <a:pt x="563" y="1694"/>
                  </a:cubicBezTo>
                  <a:cubicBezTo>
                    <a:pt x="1014" y="1749"/>
                    <a:pt x="1474" y="1786"/>
                    <a:pt x="1925" y="1786"/>
                  </a:cubicBezTo>
                  <a:cubicBezTo>
                    <a:pt x="1980" y="1789"/>
                    <a:pt x="2034" y="1791"/>
                    <a:pt x="2088" y="1791"/>
                  </a:cubicBezTo>
                  <a:cubicBezTo>
                    <a:pt x="2356" y="1791"/>
                    <a:pt x="2621" y="1754"/>
                    <a:pt x="2873" y="1685"/>
                  </a:cubicBezTo>
                  <a:cubicBezTo>
                    <a:pt x="2919" y="1676"/>
                    <a:pt x="2956" y="1657"/>
                    <a:pt x="2993" y="1620"/>
                  </a:cubicBezTo>
                  <a:cubicBezTo>
                    <a:pt x="3021" y="1593"/>
                    <a:pt x="3039" y="1556"/>
                    <a:pt x="3048" y="1519"/>
                  </a:cubicBezTo>
                  <a:cubicBezTo>
                    <a:pt x="3223" y="1031"/>
                    <a:pt x="3334" y="516"/>
                    <a:pt x="3361" y="0"/>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8" name="Google Shape;3668;p45"/>
            <p:cNvSpPr/>
            <p:nvPr/>
          </p:nvSpPr>
          <p:spPr>
            <a:xfrm>
              <a:off x="2930225" y="3520200"/>
              <a:ext cx="20275" cy="17350"/>
            </a:xfrm>
            <a:custGeom>
              <a:avLst/>
              <a:gdLst/>
              <a:ahLst/>
              <a:cxnLst/>
              <a:rect l="l" t="t" r="r" b="b"/>
              <a:pathLst>
                <a:path w="811" h="694" extrusionOk="0">
                  <a:moveTo>
                    <a:pt x="461" y="1"/>
                  </a:moveTo>
                  <a:cubicBezTo>
                    <a:pt x="157" y="1"/>
                    <a:pt x="0" y="378"/>
                    <a:pt x="212" y="590"/>
                  </a:cubicBezTo>
                  <a:cubicBezTo>
                    <a:pt x="284" y="661"/>
                    <a:pt x="372" y="693"/>
                    <a:pt x="459" y="693"/>
                  </a:cubicBezTo>
                  <a:cubicBezTo>
                    <a:pt x="639" y="693"/>
                    <a:pt x="811" y="555"/>
                    <a:pt x="811" y="350"/>
                  </a:cubicBezTo>
                  <a:cubicBezTo>
                    <a:pt x="811" y="157"/>
                    <a:pt x="654" y="1"/>
                    <a:pt x="461" y="1"/>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9" name="Google Shape;3669;p45"/>
            <p:cNvSpPr/>
            <p:nvPr/>
          </p:nvSpPr>
          <p:spPr>
            <a:xfrm>
              <a:off x="3032650" y="3648175"/>
              <a:ext cx="31100" cy="49275"/>
            </a:xfrm>
            <a:custGeom>
              <a:avLst/>
              <a:gdLst/>
              <a:ahLst/>
              <a:cxnLst/>
              <a:rect l="l" t="t" r="r" b="b"/>
              <a:pathLst>
                <a:path w="1244" h="1971" extrusionOk="0">
                  <a:moveTo>
                    <a:pt x="764" y="0"/>
                  </a:moveTo>
                  <a:cubicBezTo>
                    <a:pt x="589" y="9"/>
                    <a:pt x="442" y="92"/>
                    <a:pt x="341" y="230"/>
                  </a:cubicBezTo>
                  <a:cubicBezTo>
                    <a:pt x="203" y="387"/>
                    <a:pt x="111" y="571"/>
                    <a:pt x="65" y="773"/>
                  </a:cubicBezTo>
                  <a:cubicBezTo>
                    <a:pt x="28" y="902"/>
                    <a:pt x="9" y="1040"/>
                    <a:pt x="9" y="1179"/>
                  </a:cubicBezTo>
                  <a:cubicBezTo>
                    <a:pt x="0" y="1372"/>
                    <a:pt x="46" y="1565"/>
                    <a:pt x="147" y="1740"/>
                  </a:cubicBezTo>
                  <a:cubicBezTo>
                    <a:pt x="212" y="1860"/>
                    <a:pt x="332" y="1943"/>
                    <a:pt x="461" y="1970"/>
                  </a:cubicBezTo>
                  <a:lnTo>
                    <a:pt x="525" y="1970"/>
                  </a:lnTo>
                  <a:cubicBezTo>
                    <a:pt x="672" y="1961"/>
                    <a:pt x="820" y="1887"/>
                    <a:pt x="921" y="1758"/>
                  </a:cubicBezTo>
                  <a:cubicBezTo>
                    <a:pt x="1059" y="1611"/>
                    <a:pt x="1160" y="1427"/>
                    <a:pt x="1215" y="1234"/>
                  </a:cubicBezTo>
                  <a:cubicBezTo>
                    <a:pt x="1225" y="1197"/>
                    <a:pt x="1234" y="1160"/>
                    <a:pt x="1243" y="1114"/>
                  </a:cubicBezTo>
                  <a:cubicBezTo>
                    <a:pt x="1243" y="1105"/>
                    <a:pt x="1243" y="1096"/>
                    <a:pt x="1243" y="1086"/>
                  </a:cubicBezTo>
                  <a:cubicBezTo>
                    <a:pt x="1243" y="1050"/>
                    <a:pt x="1225" y="1013"/>
                    <a:pt x="1197" y="994"/>
                  </a:cubicBezTo>
                  <a:cubicBezTo>
                    <a:pt x="1179" y="994"/>
                    <a:pt x="1160" y="985"/>
                    <a:pt x="1142" y="985"/>
                  </a:cubicBezTo>
                  <a:lnTo>
                    <a:pt x="672" y="985"/>
                  </a:lnTo>
                  <a:cubicBezTo>
                    <a:pt x="667" y="984"/>
                    <a:pt x="662" y="983"/>
                    <a:pt x="657" y="983"/>
                  </a:cubicBezTo>
                  <a:cubicBezTo>
                    <a:pt x="624" y="983"/>
                    <a:pt x="587" y="1008"/>
                    <a:pt x="571" y="1040"/>
                  </a:cubicBezTo>
                  <a:cubicBezTo>
                    <a:pt x="562" y="1050"/>
                    <a:pt x="562" y="1059"/>
                    <a:pt x="562" y="1068"/>
                  </a:cubicBezTo>
                  <a:cubicBezTo>
                    <a:pt x="562" y="1132"/>
                    <a:pt x="599" y="1169"/>
                    <a:pt x="672" y="1188"/>
                  </a:cubicBezTo>
                  <a:lnTo>
                    <a:pt x="1013" y="1188"/>
                  </a:lnTo>
                  <a:cubicBezTo>
                    <a:pt x="958" y="1344"/>
                    <a:pt x="875" y="1492"/>
                    <a:pt x="774" y="1620"/>
                  </a:cubicBezTo>
                  <a:cubicBezTo>
                    <a:pt x="718" y="1694"/>
                    <a:pt x="635" y="1740"/>
                    <a:pt x="543" y="1758"/>
                  </a:cubicBezTo>
                  <a:cubicBezTo>
                    <a:pt x="424" y="1749"/>
                    <a:pt x="332" y="1676"/>
                    <a:pt x="295" y="1574"/>
                  </a:cubicBezTo>
                  <a:cubicBezTo>
                    <a:pt x="240" y="1445"/>
                    <a:pt x="212" y="1298"/>
                    <a:pt x="212" y="1160"/>
                  </a:cubicBezTo>
                  <a:cubicBezTo>
                    <a:pt x="221" y="976"/>
                    <a:pt x="258" y="801"/>
                    <a:pt x="332" y="635"/>
                  </a:cubicBezTo>
                  <a:cubicBezTo>
                    <a:pt x="378" y="488"/>
                    <a:pt x="470" y="359"/>
                    <a:pt x="589" y="267"/>
                  </a:cubicBezTo>
                  <a:cubicBezTo>
                    <a:pt x="626" y="230"/>
                    <a:pt x="681" y="212"/>
                    <a:pt x="737" y="212"/>
                  </a:cubicBezTo>
                  <a:cubicBezTo>
                    <a:pt x="744" y="211"/>
                    <a:pt x="751" y="211"/>
                    <a:pt x="759" y="211"/>
                  </a:cubicBezTo>
                  <a:cubicBezTo>
                    <a:pt x="850" y="211"/>
                    <a:pt x="924" y="264"/>
                    <a:pt x="967" y="341"/>
                  </a:cubicBezTo>
                  <a:cubicBezTo>
                    <a:pt x="994" y="378"/>
                    <a:pt x="1013" y="414"/>
                    <a:pt x="1022" y="460"/>
                  </a:cubicBezTo>
                  <a:lnTo>
                    <a:pt x="1022" y="470"/>
                  </a:lnTo>
                  <a:cubicBezTo>
                    <a:pt x="1031" y="497"/>
                    <a:pt x="1059" y="516"/>
                    <a:pt x="1087" y="525"/>
                  </a:cubicBezTo>
                  <a:cubicBezTo>
                    <a:pt x="1096" y="534"/>
                    <a:pt x="1114" y="534"/>
                    <a:pt x="1123" y="534"/>
                  </a:cubicBezTo>
                  <a:cubicBezTo>
                    <a:pt x="1179" y="534"/>
                    <a:pt x="1225" y="488"/>
                    <a:pt x="1225" y="433"/>
                  </a:cubicBezTo>
                  <a:cubicBezTo>
                    <a:pt x="1225" y="414"/>
                    <a:pt x="1215" y="396"/>
                    <a:pt x="1215" y="387"/>
                  </a:cubicBezTo>
                  <a:cubicBezTo>
                    <a:pt x="1169" y="239"/>
                    <a:pt x="1068" y="111"/>
                    <a:pt x="939" y="37"/>
                  </a:cubicBezTo>
                  <a:cubicBezTo>
                    <a:pt x="884" y="9"/>
                    <a:pt x="820" y="0"/>
                    <a:pt x="764" y="0"/>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0" name="Google Shape;3670;p45"/>
            <p:cNvSpPr/>
            <p:nvPr/>
          </p:nvSpPr>
          <p:spPr>
            <a:xfrm>
              <a:off x="3063950" y="3648625"/>
              <a:ext cx="33850" cy="48825"/>
            </a:xfrm>
            <a:custGeom>
              <a:avLst/>
              <a:gdLst/>
              <a:ahLst/>
              <a:cxnLst/>
              <a:rect l="l" t="t" r="r" b="b"/>
              <a:pathLst>
                <a:path w="1354" h="1953" extrusionOk="0">
                  <a:moveTo>
                    <a:pt x="893" y="442"/>
                  </a:moveTo>
                  <a:lnTo>
                    <a:pt x="1022" y="1096"/>
                  </a:lnTo>
                  <a:lnTo>
                    <a:pt x="580" y="1096"/>
                  </a:lnTo>
                  <a:lnTo>
                    <a:pt x="893" y="442"/>
                  </a:lnTo>
                  <a:close/>
                  <a:moveTo>
                    <a:pt x="912" y="1"/>
                  </a:moveTo>
                  <a:cubicBezTo>
                    <a:pt x="875" y="10"/>
                    <a:pt x="838" y="37"/>
                    <a:pt x="820" y="74"/>
                  </a:cubicBezTo>
                  <a:cubicBezTo>
                    <a:pt x="737" y="231"/>
                    <a:pt x="497" y="755"/>
                    <a:pt x="92" y="1630"/>
                  </a:cubicBezTo>
                  <a:cubicBezTo>
                    <a:pt x="55" y="1722"/>
                    <a:pt x="28" y="1787"/>
                    <a:pt x="9" y="1823"/>
                  </a:cubicBezTo>
                  <a:cubicBezTo>
                    <a:pt x="9" y="1833"/>
                    <a:pt x="0" y="1842"/>
                    <a:pt x="0" y="1851"/>
                  </a:cubicBezTo>
                  <a:cubicBezTo>
                    <a:pt x="0" y="1906"/>
                    <a:pt x="46" y="1952"/>
                    <a:pt x="102" y="1952"/>
                  </a:cubicBezTo>
                  <a:cubicBezTo>
                    <a:pt x="138" y="1952"/>
                    <a:pt x="166" y="1934"/>
                    <a:pt x="194" y="1906"/>
                  </a:cubicBezTo>
                  <a:cubicBezTo>
                    <a:pt x="194" y="1897"/>
                    <a:pt x="194" y="1888"/>
                    <a:pt x="203" y="1888"/>
                  </a:cubicBezTo>
                  <a:lnTo>
                    <a:pt x="479" y="1308"/>
                  </a:lnTo>
                  <a:lnTo>
                    <a:pt x="1050" y="1308"/>
                  </a:lnTo>
                  <a:lnTo>
                    <a:pt x="1169" y="1888"/>
                  </a:lnTo>
                  <a:cubicBezTo>
                    <a:pt x="1179" y="1925"/>
                    <a:pt x="1206" y="1952"/>
                    <a:pt x="1243" y="1952"/>
                  </a:cubicBezTo>
                  <a:lnTo>
                    <a:pt x="1261" y="1952"/>
                  </a:lnTo>
                  <a:cubicBezTo>
                    <a:pt x="1298" y="1952"/>
                    <a:pt x="1326" y="1934"/>
                    <a:pt x="1344" y="1906"/>
                  </a:cubicBezTo>
                  <a:cubicBezTo>
                    <a:pt x="1354" y="1888"/>
                    <a:pt x="1354" y="1869"/>
                    <a:pt x="1354" y="1851"/>
                  </a:cubicBezTo>
                  <a:cubicBezTo>
                    <a:pt x="1354" y="1842"/>
                    <a:pt x="1354" y="1833"/>
                    <a:pt x="1354" y="1823"/>
                  </a:cubicBezTo>
                  <a:cubicBezTo>
                    <a:pt x="1160" y="737"/>
                    <a:pt x="1050" y="157"/>
                    <a:pt x="1031" y="93"/>
                  </a:cubicBezTo>
                  <a:cubicBezTo>
                    <a:pt x="1022" y="74"/>
                    <a:pt x="1013" y="65"/>
                    <a:pt x="1013" y="56"/>
                  </a:cubicBezTo>
                  <a:cubicBezTo>
                    <a:pt x="995" y="19"/>
                    <a:pt x="958" y="1"/>
                    <a:pt x="912" y="1"/>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1" name="Google Shape;3671;p45"/>
            <p:cNvSpPr/>
            <p:nvPr/>
          </p:nvSpPr>
          <p:spPr>
            <a:xfrm>
              <a:off x="3104900" y="3648400"/>
              <a:ext cx="40075" cy="49050"/>
            </a:xfrm>
            <a:custGeom>
              <a:avLst/>
              <a:gdLst/>
              <a:ahLst/>
              <a:cxnLst/>
              <a:rect l="l" t="t" r="r" b="b"/>
              <a:pathLst>
                <a:path w="1603" h="1962" extrusionOk="0">
                  <a:moveTo>
                    <a:pt x="1502" y="0"/>
                  </a:moveTo>
                  <a:cubicBezTo>
                    <a:pt x="1465" y="0"/>
                    <a:pt x="1437" y="19"/>
                    <a:pt x="1409" y="46"/>
                  </a:cubicBezTo>
                  <a:cubicBezTo>
                    <a:pt x="1409" y="56"/>
                    <a:pt x="1400" y="65"/>
                    <a:pt x="1400" y="74"/>
                  </a:cubicBezTo>
                  <a:lnTo>
                    <a:pt x="719" y="1519"/>
                  </a:lnTo>
                  <a:cubicBezTo>
                    <a:pt x="701" y="1427"/>
                    <a:pt x="664" y="1216"/>
                    <a:pt x="590" y="884"/>
                  </a:cubicBezTo>
                  <a:cubicBezTo>
                    <a:pt x="498" y="433"/>
                    <a:pt x="443" y="157"/>
                    <a:pt x="434" y="65"/>
                  </a:cubicBezTo>
                  <a:cubicBezTo>
                    <a:pt x="424" y="37"/>
                    <a:pt x="406" y="19"/>
                    <a:pt x="369" y="10"/>
                  </a:cubicBezTo>
                  <a:lnTo>
                    <a:pt x="342" y="10"/>
                  </a:lnTo>
                  <a:cubicBezTo>
                    <a:pt x="337" y="8"/>
                    <a:pt x="332" y="8"/>
                    <a:pt x="327" y="8"/>
                  </a:cubicBezTo>
                  <a:cubicBezTo>
                    <a:pt x="295" y="8"/>
                    <a:pt x="265" y="32"/>
                    <a:pt x="249" y="56"/>
                  </a:cubicBezTo>
                  <a:cubicBezTo>
                    <a:pt x="240" y="65"/>
                    <a:pt x="240" y="83"/>
                    <a:pt x="231" y="102"/>
                  </a:cubicBezTo>
                  <a:cubicBezTo>
                    <a:pt x="231" y="120"/>
                    <a:pt x="213" y="240"/>
                    <a:pt x="185" y="470"/>
                  </a:cubicBezTo>
                  <a:cubicBezTo>
                    <a:pt x="65" y="1372"/>
                    <a:pt x="1" y="1823"/>
                    <a:pt x="1" y="1832"/>
                  </a:cubicBezTo>
                  <a:cubicBezTo>
                    <a:pt x="1" y="1869"/>
                    <a:pt x="19" y="1915"/>
                    <a:pt x="56" y="1934"/>
                  </a:cubicBezTo>
                  <a:cubicBezTo>
                    <a:pt x="75" y="1943"/>
                    <a:pt x="93" y="1952"/>
                    <a:pt x="111" y="1952"/>
                  </a:cubicBezTo>
                  <a:cubicBezTo>
                    <a:pt x="167" y="1952"/>
                    <a:pt x="194" y="1915"/>
                    <a:pt x="203" y="1851"/>
                  </a:cubicBezTo>
                  <a:cubicBezTo>
                    <a:pt x="259" y="1538"/>
                    <a:pt x="314" y="1179"/>
                    <a:pt x="360" y="801"/>
                  </a:cubicBezTo>
                  <a:lnTo>
                    <a:pt x="581" y="1869"/>
                  </a:lnTo>
                  <a:cubicBezTo>
                    <a:pt x="599" y="1915"/>
                    <a:pt x="627" y="1943"/>
                    <a:pt x="655" y="1952"/>
                  </a:cubicBezTo>
                  <a:lnTo>
                    <a:pt x="682" y="1952"/>
                  </a:lnTo>
                  <a:cubicBezTo>
                    <a:pt x="728" y="1952"/>
                    <a:pt x="765" y="1924"/>
                    <a:pt x="783" y="1878"/>
                  </a:cubicBezTo>
                  <a:cubicBezTo>
                    <a:pt x="783" y="1878"/>
                    <a:pt x="802" y="1851"/>
                    <a:pt x="820" y="1796"/>
                  </a:cubicBezTo>
                  <a:cubicBezTo>
                    <a:pt x="940" y="1556"/>
                    <a:pt x="1096" y="1225"/>
                    <a:pt x="1290" y="801"/>
                  </a:cubicBezTo>
                  <a:lnTo>
                    <a:pt x="1290" y="801"/>
                  </a:lnTo>
                  <a:cubicBezTo>
                    <a:pt x="1216" y="1473"/>
                    <a:pt x="1179" y="1823"/>
                    <a:pt x="1179" y="1832"/>
                  </a:cubicBezTo>
                  <a:cubicBezTo>
                    <a:pt x="1170" y="1878"/>
                    <a:pt x="1198" y="1915"/>
                    <a:pt x="1225" y="1943"/>
                  </a:cubicBezTo>
                  <a:cubicBezTo>
                    <a:pt x="1244" y="1952"/>
                    <a:pt x="1262" y="1961"/>
                    <a:pt x="1281" y="1961"/>
                  </a:cubicBezTo>
                  <a:cubicBezTo>
                    <a:pt x="1336" y="1961"/>
                    <a:pt x="1373" y="1924"/>
                    <a:pt x="1382" y="1860"/>
                  </a:cubicBezTo>
                  <a:cubicBezTo>
                    <a:pt x="1400" y="1740"/>
                    <a:pt x="1474" y="1179"/>
                    <a:pt x="1594" y="184"/>
                  </a:cubicBezTo>
                  <a:cubicBezTo>
                    <a:pt x="1594" y="157"/>
                    <a:pt x="1603" y="129"/>
                    <a:pt x="1603" y="102"/>
                  </a:cubicBezTo>
                  <a:cubicBezTo>
                    <a:pt x="1603" y="65"/>
                    <a:pt x="1584" y="28"/>
                    <a:pt x="1548" y="19"/>
                  </a:cubicBezTo>
                  <a:cubicBezTo>
                    <a:pt x="1538" y="10"/>
                    <a:pt x="1520" y="0"/>
                    <a:pt x="1502" y="0"/>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2" name="Google Shape;3672;p45"/>
            <p:cNvSpPr/>
            <p:nvPr/>
          </p:nvSpPr>
          <p:spPr>
            <a:xfrm>
              <a:off x="3151625" y="3648625"/>
              <a:ext cx="31100" cy="49050"/>
            </a:xfrm>
            <a:custGeom>
              <a:avLst/>
              <a:gdLst/>
              <a:ahLst/>
              <a:cxnLst/>
              <a:rect l="l" t="t" r="r" b="b"/>
              <a:pathLst>
                <a:path w="1244" h="1962" extrusionOk="0">
                  <a:moveTo>
                    <a:pt x="314" y="1"/>
                  </a:moveTo>
                  <a:cubicBezTo>
                    <a:pt x="277" y="10"/>
                    <a:pt x="249" y="37"/>
                    <a:pt x="240" y="74"/>
                  </a:cubicBezTo>
                  <a:cubicBezTo>
                    <a:pt x="240" y="83"/>
                    <a:pt x="231" y="102"/>
                    <a:pt x="231" y="111"/>
                  </a:cubicBezTo>
                  <a:cubicBezTo>
                    <a:pt x="84" y="1253"/>
                    <a:pt x="1" y="1823"/>
                    <a:pt x="1" y="1842"/>
                  </a:cubicBezTo>
                  <a:cubicBezTo>
                    <a:pt x="1" y="1879"/>
                    <a:pt x="19" y="1915"/>
                    <a:pt x="56" y="1943"/>
                  </a:cubicBezTo>
                  <a:cubicBezTo>
                    <a:pt x="65" y="1952"/>
                    <a:pt x="93" y="1961"/>
                    <a:pt x="111" y="1961"/>
                  </a:cubicBezTo>
                  <a:lnTo>
                    <a:pt x="949" y="1961"/>
                  </a:lnTo>
                  <a:cubicBezTo>
                    <a:pt x="995" y="1961"/>
                    <a:pt x="1032" y="1934"/>
                    <a:pt x="1050" y="1888"/>
                  </a:cubicBezTo>
                  <a:cubicBezTo>
                    <a:pt x="1050" y="1879"/>
                    <a:pt x="1050" y="1869"/>
                    <a:pt x="1050" y="1860"/>
                  </a:cubicBezTo>
                  <a:cubicBezTo>
                    <a:pt x="1050" y="1814"/>
                    <a:pt x="1023" y="1777"/>
                    <a:pt x="986" y="1759"/>
                  </a:cubicBezTo>
                  <a:cubicBezTo>
                    <a:pt x="967" y="1759"/>
                    <a:pt x="949" y="1750"/>
                    <a:pt x="931" y="1750"/>
                  </a:cubicBezTo>
                  <a:lnTo>
                    <a:pt x="213" y="1750"/>
                  </a:lnTo>
                  <a:lnTo>
                    <a:pt x="295" y="1114"/>
                  </a:lnTo>
                  <a:lnTo>
                    <a:pt x="857" y="1114"/>
                  </a:lnTo>
                  <a:cubicBezTo>
                    <a:pt x="894" y="1105"/>
                    <a:pt x="940" y="1087"/>
                    <a:pt x="958" y="1041"/>
                  </a:cubicBezTo>
                  <a:cubicBezTo>
                    <a:pt x="958" y="1032"/>
                    <a:pt x="958" y="1022"/>
                    <a:pt x="958" y="1013"/>
                  </a:cubicBezTo>
                  <a:cubicBezTo>
                    <a:pt x="958" y="967"/>
                    <a:pt x="931" y="930"/>
                    <a:pt x="894" y="912"/>
                  </a:cubicBezTo>
                  <a:cubicBezTo>
                    <a:pt x="875" y="903"/>
                    <a:pt x="857" y="903"/>
                    <a:pt x="839" y="903"/>
                  </a:cubicBezTo>
                  <a:lnTo>
                    <a:pt x="314" y="903"/>
                  </a:lnTo>
                  <a:lnTo>
                    <a:pt x="406" y="212"/>
                  </a:lnTo>
                  <a:lnTo>
                    <a:pt x="1133" y="212"/>
                  </a:lnTo>
                  <a:cubicBezTo>
                    <a:pt x="1170" y="212"/>
                    <a:pt x="1207" y="185"/>
                    <a:pt x="1234" y="148"/>
                  </a:cubicBezTo>
                  <a:cubicBezTo>
                    <a:pt x="1234" y="129"/>
                    <a:pt x="1234" y="120"/>
                    <a:pt x="1244" y="111"/>
                  </a:cubicBezTo>
                  <a:cubicBezTo>
                    <a:pt x="1244" y="65"/>
                    <a:pt x="1216" y="19"/>
                    <a:pt x="1170" y="10"/>
                  </a:cubicBezTo>
                  <a:cubicBezTo>
                    <a:pt x="1152" y="10"/>
                    <a:pt x="1142" y="1"/>
                    <a:pt x="1124" y="1"/>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3" name="Google Shape;3673;p45"/>
            <p:cNvSpPr/>
            <p:nvPr/>
          </p:nvSpPr>
          <p:spPr>
            <a:xfrm>
              <a:off x="3033575" y="3866300"/>
              <a:ext cx="30400" cy="48875"/>
            </a:xfrm>
            <a:custGeom>
              <a:avLst/>
              <a:gdLst/>
              <a:ahLst/>
              <a:cxnLst/>
              <a:rect l="l" t="t" r="r" b="b"/>
              <a:pathLst>
                <a:path w="1216" h="1955" extrusionOk="0">
                  <a:moveTo>
                    <a:pt x="317" y="1"/>
                  </a:moveTo>
                  <a:cubicBezTo>
                    <a:pt x="285" y="1"/>
                    <a:pt x="257" y="26"/>
                    <a:pt x="249" y="58"/>
                  </a:cubicBezTo>
                  <a:cubicBezTo>
                    <a:pt x="239" y="67"/>
                    <a:pt x="239" y="85"/>
                    <a:pt x="239" y="95"/>
                  </a:cubicBezTo>
                  <a:lnTo>
                    <a:pt x="9" y="1825"/>
                  </a:lnTo>
                  <a:cubicBezTo>
                    <a:pt x="0" y="1862"/>
                    <a:pt x="28" y="1908"/>
                    <a:pt x="55" y="1927"/>
                  </a:cubicBezTo>
                  <a:cubicBezTo>
                    <a:pt x="74" y="1936"/>
                    <a:pt x="92" y="1945"/>
                    <a:pt x="110" y="1945"/>
                  </a:cubicBezTo>
                  <a:cubicBezTo>
                    <a:pt x="166" y="1945"/>
                    <a:pt x="203" y="1908"/>
                    <a:pt x="212" y="1844"/>
                  </a:cubicBezTo>
                  <a:cubicBezTo>
                    <a:pt x="230" y="1752"/>
                    <a:pt x="249" y="1558"/>
                    <a:pt x="285" y="1245"/>
                  </a:cubicBezTo>
                  <a:cubicBezTo>
                    <a:pt x="755" y="1678"/>
                    <a:pt x="1003" y="1899"/>
                    <a:pt x="1031" y="1927"/>
                  </a:cubicBezTo>
                  <a:cubicBezTo>
                    <a:pt x="1059" y="1945"/>
                    <a:pt x="1086" y="1954"/>
                    <a:pt x="1114" y="1954"/>
                  </a:cubicBezTo>
                  <a:cubicBezTo>
                    <a:pt x="1151" y="1954"/>
                    <a:pt x="1178" y="1936"/>
                    <a:pt x="1197" y="1908"/>
                  </a:cubicBezTo>
                  <a:cubicBezTo>
                    <a:pt x="1206" y="1890"/>
                    <a:pt x="1215" y="1871"/>
                    <a:pt x="1215" y="1853"/>
                  </a:cubicBezTo>
                  <a:cubicBezTo>
                    <a:pt x="1206" y="1816"/>
                    <a:pt x="1188" y="1789"/>
                    <a:pt x="1169" y="1761"/>
                  </a:cubicBezTo>
                  <a:cubicBezTo>
                    <a:pt x="1114" y="1715"/>
                    <a:pt x="921" y="1531"/>
                    <a:pt x="562" y="1209"/>
                  </a:cubicBezTo>
                  <a:lnTo>
                    <a:pt x="377" y="1043"/>
                  </a:lnTo>
                  <a:cubicBezTo>
                    <a:pt x="875" y="500"/>
                    <a:pt x="1132" y="214"/>
                    <a:pt x="1160" y="187"/>
                  </a:cubicBezTo>
                  <a:cubicBezTo>
                    <a:pt x="1178" y="159"/>
                    <a:pt x="1188" y="131"/>
                    <a:pt x="1188" y="104"/>
                  </a:cubicBezTo>
                  <a:cubicBezTo>
                    <a:pt x="1188" y="67"/>
                    <a:pt x="1169" y="39"/>
                    <a:pt x="1142" y="21"/>
                  </a:cubicBezTo>
                  <a:cubicBezTo>
                    <a:pt x="1123" y="12"/>
                    <a:pt x="1105" y="12"/>
                    <a:pt x="1086" y="3"/>
                  </a:cubicBezTo>
                  <a:cubicBezTo>
                    <a:pt x="1050" y="12"/>
                    <a:pt x="1022" y="30"/>
                    <a:pt x="1003" y="49"/>
                  </a:cubicBezTo>
                  <a:cubicBezTo>
                    <a:pt x="976" y="67"/>
                    <a:pt x="764" y="306"/>
                    <a:pt x="350" y="767"/>
                  </a:cubicBezTo>
                  <a:lnTo>
                    <a:pt x="433" y="95"/>
                  </a:lnTo>
                  <a:cubicBezTo>
                    <a:pt x="433" y="58"/>
                    <a:pt x="414" y="30"/>
                    <a:pt x="377" y="12"/>
                  </a:cubicBezTo>
                  <a:cubicBezTo>
                    <a:pt x="368" y="3"/>
                    <a:pt x="350" y="3"/>
                    <a:pt x="331" y="3"/>
                  </a:cubicBezTo>
                  <a:cubicBezTo>
                    <a:pt x="327" y="1"/>
                    <a:pt x="322" y="1"/>
                    <a:pt x="317" y="1"/>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4" name="Google Shape;3674;p45"/>
            <p:cNvSpPr/>
            <p:nvPr/>
          </p:nvSpPr>
          <p:spPr>
            <a:xfrm>
              <a:off x="3071300" y="3866350"/>
              <a:ext cx="10625" cy="48575"/>
            </a:xfrm>
            <a:custGeom>
              <a:avLst/>
              <a:gdLst/>
              <a:ahLst/>
              <a:cxnLst/>
              <a:rect l="l" t="t" r="r" b="b"/>
              <a:pathLst>
                <a:path w="425" h="1943" extrusionOk="0">
                  <a:moveTo>
                    <a:pt x="323" y="1"/>
                  </a:moveTo>
                  <a:cubicBezTo>
                    <a:pt x="286" y="1"/>
                    <a:pt x="249" y="19"/>
                    <a:pt x="231" y="65"/>
                  </a:cubicBezTo>
                  <a:lnTo>
                    <a:pt x="231" y="93"/>
                  </a:lnTo>
                  <a:lnTo>
                    <a:pt x="1" y="1823"/>
                  </a:lnTo>
                  <a:cubicBezTo>
                    <a:pt x="1" y="1869"/>
                    <a:pt x="19" y="1906"/>
                    <a:pt x="56" y="1934"/>
                  </a:cubicBezTo>
                  <a:cubicBezTo>
                    <a:pt x="65" y="1943"/>
                    <a:pt x="84" y="1943"/>
                    <a:pt x="102" y="1943"/>
                  </a:cubicBezTo>
                  <a:cubicBezTo>
                    <a:pt x="157" y="1943"/>
                    <a:pt x="194" y="1906"/>
                    <a:pt x="203" y="1842"/>
                  </a:cubicBezTo>
                  <a:cubicBezTo>
                    <a:pt x="213" y="1805"/>
                    <a:pt x="286" y="1216"/>
                    <a:pt x="424" y="93"/>
                  </a:cubicBezTo>
                  <a:cubicBezTo>
                    <a:pt x="424" y="56"/>
                    <a:pt x="406" y="28"/>
                    <a:pt x="369" y="10"/>
                  </a:cubicBezTo>
                  <a:cubicBezTo>
                    <a:pt x="360" y="1"/>
                    <a:pt x="341" y="1"/>
                    <a:pt x="323" y="1"/>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5" name="Google Shape;3675;p45"/>
            <p:cNvSpPr/>
            <p:nvPr/>
          </p:nvSpPr>
          <p:spPr>
            <a:xfrm>
              <a:off x="3088100" y="3866125"/>
              <a:ext cx="36625" cy="48800"/>
            </a:xfrm>
            <a:custGeom>
              <a:avLst/>
              <a:gdLst/>
              <a:ahLst/>
              <a:cxnLst/>
              <a:rect l="l" t="t" r="r" b="b"/>
              <a:pathLst>
                <a:path w="1465" h="1952" extrusionOk="0">
                  <a:moveTo>
                    <a:pt x="1363" y="0"/>
                  </a:moveTo>
                  <a:cubicBezTo>
                    <a:pt x="1327" y="0"/>
                    <a:pt x="1290" y="28"/>
                    <a:pt x="1281" y="56"/>
                  </a:cubicBezTo>
                  <a:cubicBezTo>
                    <a:pt x="1271" y="74"/>
                    <a:pt x="1271" y="83"/>
                    <a:pt x="1271" y="102"/>
                  </a:cubicBezTo>
                  <a:lnTo>
                    <a:pt x="1087" y="1483"/>
                  </a:lnTo>
                  <a:lnTo>
                    <a:pt x="452" y="56"/>
                  </a:lnTo>
                  <a:cubicBezTo>
                    <a:pt x="434" y="28"/>
                    <a:pt x="397" y="10"/>
                    <a:pt x="342" y="10"/>
                  </a:cubicBezTo>
                  <a:cubicBezTo>
                    <a:pt x="305" y="10"/>
                    <a:pt x="268" y="28"/>
                    <a:pt x="249" y="65"/>
                  </a:cubicBezTo>
                  <a:cubicBezTo>
                    <a:pt x="240" y="74"/>
                    <a:pt x="240" y="92"/>
                    <a:pt x="240" y="102"/>
                  </a:cubicBezTo>
                  <a:lnTo>
                    <a:pt x="10" y="1832"/>
                  </a:lnTo>
                  <a:cubicBezTo>
                    <a:pt x="1" y="1869"/>
                    <a:pt x="19" y="1906"/>
                    <a:pt x="56" y="1934"/>
                  </a:cubicBezTo>
                  <a:cubicBezTo>
                    <a:pt x="75" y="1943"/>
                    <a:pt x="93" y="1952"/>
                    <a:pt x="111" y="1952"/>
                  </a:cubicBezTo>
                  <a:cubicBezTo>
                    <a:pt x="167" y="1952"/>
                    <a:pt x="203" y="1915"/>
                    <a:pt x="213" y="1851"/>
                  </a:cubicBezTo>
                  <a:cubicBezTo>
                    <a:pt x="231" y="1749"/>
                    <a:pt x="277" y="1354"/>
                    <a:pt x="360" y="654"/>
                  </a:cubicBezTo>
                  <a:cubicBezTo>
                    <a:pt x="378" y="571"/>
                    <a:pt x="388" y="488"/>
                    <a:pt x="397" y="424"/>
                  </a:cubicBezTo>
                  <a:lnTo>
                    <a:pt x="1032" y="1878"/>
                  </a:lnTo>
                  <a:cubicBezTo>
                    <a:pt x="1050" y="1915"/>
                    <a:pt x="1087" y="1952"/>
                    <a:pt x="1133" y="1952"/>
                  </a:cubicBezTo>
                  <a:cubicBezTo>
                    <a:pt x="1198" y="1952"/>
                    <a:pt x="1225" y="1915"/>
                    <a:pt x="1235" y="1851"/>
                  </a:cubicBezTo>
                  <a:cubicBezTo>
                    <a:pt x="1253" y="1740"/>
                    <a:pt x="1327" y="1188"/>
                    <a:pt x="1446" y="194"/>
                  </a:cubicBezTo>
                  <a:cubicBezTo>
                    <a:pt x="1455" y="157"/>
                    <a:pt x="1465" y="129"/>
                    <a:pt x="1465" y="102"/>
                  </a:cubicBezTo>
                  <a:cubicBezTo>
                    <a:pt x="1465" y="65"/>
                    <a:pt x="1446" y="37"/>
                    <a:pt x="1419" y="19"/>
                  </a:cubicBezTo>
                  <a:cubicBezTo>
                    <a:pt x="1400" y="10"/>
                    <a:pt x="1382" y="0"/>
                    <a:pt x="1363" y="0"/>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6" name="Google Shape;3676;p45"/>
            <p:cNvSpPr/>
            <p:nvPr/>
          </p:nvSpPr>
          <p:spPr>
            <a:xfrm>
              <a:off x="3130700" y="3865900"/>
              <a:ext cx="31325" cy="48975"/>
            </a:xfrm>
            <a:custGeom>
              <a:avLst/>
              <a:gdLst/>
              <a:ahLst/>
              <a:cxnLst/>
              <a:rect l="l" t="t" r="r" b="b"/>
              <a:pathLst>
                <a:path w="1253" h="1959" extrusionOk="0">
                  <a:moveTo>
                    <a:pt x="764" y="0"/>
                  </a:moveTo>
                  <a:cubicBezTo>
                    <a:pt x="598" y="9"/>
                    <a:pt x="442" y="83"/>
                    <a:pt x="341" y="221"/>
                  </a:cubicBezTo>
                  <a:cubicBezTo>
                    <a:pt x="212" y="378"/>
                    <a:pt x="110" y="562"/>
                    <a:pt x="64" y="764"/>
                  </a:cubicBezTo>
                  <a:cubicBezTo>
                    <a:pt x="28" y="893"/>
                    <a:pt x="9" y="1031"/>
                    <a:pt x="9" y="1160"/>
                  </a:cubicBezTo>
                  <a:cubicBezTo>
                    <a:pt x="0" y="1363"/>
                    <a:pt x="46" y="1556"/>
                    <a:pt x="147" y="1722"/>
                  </a:cubicBezTo>
                  <a:cubicBezTo>
                    <a:pt x="212" y="1851"/>
                    <a:pt x="331" y="1933"/>
                    <a:pt x="470" y="1952"/>
                  </a:cubicBezTo>
                  <a:cubicBezTo>
                    <a:pt x="479" y="1956"/>
                    <a:pt x="488" y="1959"/>
                    <a:pt x="497" y="1959"/>
                  </a:cubicBezTo>
                  <a:cubicBezTo>
                    <a:pt x="506" y="1959"/>
                    <a:pt x="516" y="1956"/>
                    <a:pt x="525" y="1952"/>
                  </a:cubicBezTo>
                  <a:cubicBezTo>
                    <a:pt x="681" y="1943"/>
                    <a:pt x="829" y="1869"/>
                    <a:pt x="921" y="1749"/>
                  </a:cubicBezTo>
                  <a:cubicBezTo>
                    <a:pt x="1059" y="1602"/>
                    <a:pt x="1160" y="1418"/>
                    <a:pt x="1215" y="1215"/>
                  </a:cubicBezTo>
                  <a:cubicBezTo>
                    <a:pt x="1224" y="1188"/>
                    <a:pt x="1234" y="1142"/>
                    <a:pt x="1243" y="1105"/>
                  </a:cubicBezTo>
                  <a:cubicBezTo>
                    <a:pt x="1252" y="1096"/>
                    <a:pt x="1252" y="1086"/>
                    <a:pt x="1243" y="1077"/>
                  </a:cubicBezTo>
                  <a:cubicBezTo>
                    <a:pt x="1252" y="1040"/>
                    <a:pt x="1224" y="1004"/>
                    <a:pt x="1197" y="985"/>
                  </a:cubicBezTo>
                  <a:cubicBezTo>
                    <a:pt x="1178" y="976"/>
                    <a:pt x="1160" y="976"/>
                    <a:pt x="1151" y="976"/>
                  </a:cubicBezTo>
                  <a:lnTo>
                    <a:pt x="681" y="976"/>
                  </a:lnTo>
                  <a:cubicBezTo>
                    <a:pt x="675" y="975"/>
                    <a:pt x="669" y="974"/>
                    <a:pt x="663" y="974"/>
                  </a:cubicBezTo>
                  <a:cubicBezTo>
                    <a:pt x="624" y="974"/>
                    <a:pt x="587" y="999"/>
                    <a:pt x="571" y="1031"/>
                  </a:cubicBezTo>
                  <a:cubicBezTo>
                    <a:pt x="562" y="1040"/>
                    <a:pt x="562" y="1059"/>
                    <a:pt x="562" y="1068"/>
                  </a:cubicBezTo>
                  <a:cubicBezTo>
                    <a:pt x="562" y="1132"/>
                    <a:pt x="608" y="1169"/>
                    <a:pt x="681" y="1178"/>
                  </a:cubicBezTo>
                  <a:lnTo>
                    <a:pt x="1013" y="1178"/>
                  </a:lnTo>
                  <a:cubicBezTo>
                    <a:pt x="967" y="1344"/>
                    <a:pt x="884" y="1492"/>
                    <a:pt x="773" y="1620"/>
                  </a:cubicBezTo>
                  <a:cubicBezTo>
                    <a:pt x="718" y="1694"/>
                    <a:pt x="635" y="1740"/>
                    <a:pt x="543" y="1749"/>
                  </a:cubicBezTo>
                  <a:cubicBezTo>
                    <a:pt x="433" y="1749"/>
                    <a:pt x="331" y="1676"/>
                    <a:pt x="295" y="1565"/>
                  </a:cubicBezTo>
                  <a:cubicBezTo>
                    <a:pt x="239" y="1436"/>
                    <a:pt x="212" y="1298"/>
                    <a:pt x="221" y="1151"/>
                  </a:cubicBezTo>
                  <a:cubicBezTo>
                    <a:pt x="221" y="976"/>
                    <a:pt x="258" y="792"/>
                    <a:pt x="331" y="626"/>
                  </a:cubicBezTo>
                  <a:cubicBezTo>
                    <a:pt x="377" y="479"/>
                    <a:pt x="470" y="359"/>
                    <a:pt x="589" y="258"/>
                  </a:cubicBezTo>
                  <a:cubicBezTo>
                    <a:pt x="635" y="221"/>
                    <a:pt x="690" y="203"/>
                    <a:pt x="746" y="203"/>
                  </a:cubicBezTo>
                  <a:cubicBezTo>
                    <a:pt x="838" y="203"/>
                    <a:pt x="921" y="258"/>
                    <a:pt x="976" y="341"/>
                  </a:cubicBezTo>
                  <a:cubicBezTo>
                    <a:pt x="994" y="378"/>
                    <a:pt x="1013" y="414"/>
                    <a:pt x="1031" y="451"/>
                  </a:cubicBezTo>
                  <a:lnTo>
                    <a:pt x="1031" y="460"/>
                  </a:lnTo>
                  <a:cubicBezTo>
                    <a:pt x="1039" y="501"/>
                    <a:pt x="1068" y="527"/>
                    <a:pt x="1106" y="527"/>
                  </a:cubicBezTo>
                  <a:cubicBezTo>
                    <a:pt x="1111" y="527"/>
                    <a:pt x="1117" y="526"/>
                    <a:pt x="1123" y="525"/>
                  </a:cubicBezTo>
                  <a:cubicBezTo>
                    <a:pt x="1128" y="526"/>
                    <a:pt x="1133" y="527"/>
                    <a:pt x="1138" y="527"/>
                  </a:cubicBezTo>
                  <a:cubicBezTo>
                    <a:pt x="1170" y="527"/>
                    <a:pt x="1199" y="503"/>
                    <a:pt x="1215" y="479"/>
                  </a:cubicBezTo>
                  <a:cubicBezTo>
                    <a:pt x="1224" y="460"/>
                    <a:pt x="1224" y="451"/>
                    <a:pt x="1224" y="433"/>
                  </a:cubicBezTo>
                  <a:cubicBezTo>
                    <a:pt x="1224" y="414"/>
                    <a:pt x="1224" y="396"/>
                    <a:pt x="1215" y="378"/>
                  </a:cubicBezTo>
                  <a:cubicBezTo>
                    <a:pt x="1169" y="239"/>
                    <a:pt x="1077" y="111"/>
                    <a:pt x="939" y="37"/>
                  </a:cubicBezTo>
                  <a:cubicBezTo>
                    <a:pt x="884" y="9"/>
                    <a:pt x="829" y="0"/>
                    <a:pt x="764" y="0"/>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7" name="Google Shape;3677;p45"/>
            <p:cNvSpPr/>
            <p:nvPr/>
          </p:nvSpPr>
          <p:spPr>
            <a:xfrm>
              <a:off x="2971650" y="3625375"/>
              <a:ext cx="42375" cy="42150"/>
            </a:xfrm>
            <a:custGeom>
              <a:avLst/>
              <a:gdLst/>
              <a:ahLst/>
              <a:cxnLst/>
              <a:rect l="l" t="t" r="r" b="b"/>
              <a:pathLst>
                <a:path w="1695" h="1686" extrusionOk="0">
                  <a:moveTo>
                    <a:pt x="848" y="1"/>
                  </a:moveTo>
                  <a:lnTo>
                    <a:pt x="737" y="194"/>
                  </a:lnTo>
                  <a:cubicBezTo>
                    <a:pt x="608" y="424"/>
                    <a:pt x="424" y="608"/>
                    <a:pt x="203" y="728"/>
                  </a:cubicBezTo>
                  <a:lnTo>
                    <a:pt x="1" y="838"/>
                  </a:lnTo>
                  <a:lnTo>
                    <a:pt x="203" y="958"/>
                  </a:lnTo>
                  <a:cubicBezTo>
                    <a:pt x="424" y="1078"/>
                    <a:pt x="608" y="1262"/>
                    <a:pt x="737" y="1483"/>
                  </a:cubicBezTo>
                  <a:lnTo>
                    <a:pt x="848" y="1685"/>
                  </a:lnTo>
                  <a:lnTo>
                    <a:pt x="967" y="1483"/>
                  </a:lnTo>
                  <a:cubicBezTo>
                    <a:pt x="1087" y="1262"/>
                    <a:pt x="1271" y="1078"/>
                    <a:pt x="1501" y="958"/>
                  </a:cubicBezTo>
                  <a:lnTo>
                    <a:pt x="1694" y="838"/>
                  </a:lnTo>
                  <a:lnTo>
                    <a:pt x="1501" y="728"/>
                  </a:lnTo>
                  <a:cubicBezTo>
                    <a:pt x="1271" y="608"/>
                    <a:pt x="1087" y="424"/>
                    <a:pt x="967" y="194"/>
                  </a:cubicBezTo>
                  <a:lnTo>
                    <a:pt x="848" y="1"/>
                  </a:lnTo>
                  <a:close/>
                </a:path>
              </a:pathLst>
            </a:custGeom>
            <a:solidFill>
              <a:srgbClr val="EBEBE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8" name="Google Shape;3678;p45"/>
            <p:cNvSpPr/>
            <p:nvPr/>
          </p:nvSpPr>
          <p:spPr>
            <a:xfrm>
              <a:off x="3034250" y="3998925"/>
              <a:ext cx="42375" cy="42375"/>
            </a:xfrm>
            <a:custGeom>
              <a:avLst/>
              <a:gdLst/>
              <a:ahLst/>
              <a:cxnLst/>
              <a:rect l="l" t="t" r="r" b="b"/>
              <a:pathLst>
                <a:path w="1695" h="1695" extrusionOk="0">
                  <a:moveTo>
                    <a:pt x="848" y="0"/>
                  </a:moveTo>
                  <a:lnTo>
                    <a:pt x="728" y="203"/>
                  </a:lnTo>
                  <a:cubicBezTo>
                    <a:pt x="608" y="424"/>
                    <a:pt x="424" y="608"/>
                    <a:pt x="203" y="737"/>
                  </a:cubicBezTo>
                  <a:lnTo>
                    <a:pt x="1" y="847"/>
                  </a:lnTo>
                  <a:lnTo>
                    <a:pt x="203" y="958"/>
                  </a:lnTo>
                  <a:cubicBezTo>
                    <a:pt x="424" y="1077"/>
                    <a:pt x="608" y="1261"/>
                    <a:pt x="728" y="1492"/>
                  </a:cubicBezTo>
                  <a:lnTo>
                    <a:pt x="848" y="1694"/>
                  </a:lnTo>
                  <a:lnTo>
                    <a:pt x="958" y="1492"/>
                  </a:lnTo>
                  <a:cubicBezTo>
                    <a:pt x="1087" y="1261"/>
                    <a:pt x="1271" y="1077"/>
                    <a:pt x="1492" y="958"/>
                  </a:cubicBezTo>
                  <a:lnTo>
                    <a:pt x="1695" y="847"/>
                  </a:lnTo>
                  <a:lnTo>
                    <a:pt x="1492" y="737"/>
                  </a:lnTo>
                  <a:cubicBezTo>
                    <a:pt x="1271" y="608"/>
                    <a:pt x="1087" y="424"/>
                    <a:pt x="958" y="203"/>
                  </a:cubicBezTo>
                  <a:lnTo>
                    <a:pt x="848" y="0"/>
                  </a:lnTo>
                  <a:close/>
                </a:path>
              </a:pathLst>
            </a:custGeom>
            <a:solidFill>
              <a:srgbClr val="EBEBE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9" name="Google Shape;3679;p45"/>
            <p:cNvSpPr/>
            <p:nvPr/>
          </p:nvSpPr>
          <p:spPr>
            <a:xfrm>
              <a:off x="3244375" y="3690975"/>
              <a:ext cx="12925" cy="12900"/>
            </a:xfrm>
            <a:custGeom>
              <a:avLst/>
              <a:gdLst/>
              <a:ahLst/>
              <a:cxnLst/>
              <a:rect l="l" t="t" r="r" b="b"/>
              <a:pathLst>
                <a:path w="517" h="516" extrusionOk="0">
                  <a:moveTo>
                    <a:pt x="259" y="0"/>
                  </a:moveTo>
                  <a:lnTo>
                    <a:pt x="231" y="65"/>
                  </a:lnTo>
                  <a:cubicBezTo>
                    <a:pt x="194" y="129"/>
                    <a:pt x="130" y="185"/>
                    <a:pt x="65" y="231"/>
                  </a:cubicBezTo>
                  <a:lnTo>
                    <a:pt x="1" y="258"/>
                  </a:lnTo>
                  <a:lnTo>
                    <a:pt x="65" y="295"/>
                  </a:lnTo>
                  <a:cubicBezTo>
                    <a:pt x="130" y="332"/>
                    <a:pt x="185" y="387"/>
                    <a:pt x="231" y="452"/>
                  </a:cubicBezTo>
                  <a:lnTo>
                    <a:pt x="259" y="516"/>
                  </a:lnTo>
                  <a:lnTo>
                    <a:pt x="295" y="452"/>
                  </a:lnTo>
                  <a:cubicBezTo>
                    <a:pt x="332" y="387"/>
                    <a:pt x="388" y="332"/>
                    <a:pt x="452" y="295"/>
                  </a:cubicBezTo>
                  <a:lnTo>
                    <a:pt x="516" y="258"/>
                  </a:lnTo>
                  <a:lnTo>
                    <a:pt x="452" y="231"/>
                  </a:lnTo>
                  <a:cubicBezTo>
                    <a:pt x="388" y="185"/>
                    <a:pt x="332" y="129"/>
                    <a:pt x="295" y="65"/>
                  </a:cubicBezTo>
                  <a:lnTo>
                    <a:pt x="259" y="0"/>
                  </a:ln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0" name="Google Shape;3680;p45"/>
            <p:cNvSpPr/>
            <p:nvPr/>
          </p:nvSpPr>
          <p:spPr>
            <a:xfrm>
              <a:off x="2950475" y="3995925"/>
              <a:ext cx="15900" cy="15900"/>
            </a:xfrm>
            <a:custGeom>
              <a:avLst/>
              <a:gdLst/>
              <a:ahLst/>
              <a:cxnLst/>
              <a:rect l="l" t="t" r="r" b="b"/>
              <a:pathLst>
                <a:path w="636" h="636" extrusionOk="0">
                  <a:moveTo>
                    <a:pt x="314" y="1"/>
                  </a:moveTo>
                  <a:lnTo>
                    <a:pt x="277" y="74"/>
                  </a:lnTo>
                  <a:cubicBezTo>
                    <a:pt x="231" y="157"/>
                    <a:pt x="157" y="231"/>
                    <a:pt x="74" y="277"/>
                  </a:cubicBezTo>
                  <a:lnTo>
                    <a:pt x="1" y="314"/>
                  </a:lnTo>
                  <a:lnTo>
                    <a:pt x="74" y="360"/>
                  </a:lnTo>
                  <a:cubicBezTo>
                    <a:pt x="157" y="406"/>
                    <a:pt x="231" y="479"/>
                    <a:pt x="277" y="562"/>
                  </a:cubicBezTo>
                  <a:lnTo>
                    <a:pt x="314" y="636"/>
                  </a:lnTo>
                  <a:lnTo>
                    <a:pt x="360" y="562"/>
                  </a:lnTo>
                  <a:cubicBezTo>
                    <a:pt x="406" y="479"/>
                    <a:pt x="470" y="406"/>
                    <a:pt x="562" y="360"/>
                  </a:cubicBezTo>
                  <a:lnTo>
                    <a:pt x="636" y="314"/>
                  </a:lnTo>
                  <a:lnTo>
                    <a:pt x="562" y="277"/>
                  </a:lnTo>
                  <a:cubicBezTo>
                    <a:pt x="470" y="231"/>
                    <a:pt x="406" y="157"/>
                    <a:pt x="360" y="74"/>
                  </a:cubicBezTo>
                  <a:lnTo>
                    <a:pt x="314" y="1"/>
                  </a:ln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1" name="Google Shape;3681;p45"/>
            <p:cNvSpPr/>
            <p:nvPr/>
          </p:nvSpPr>
          <p:spPr>
            <a:xfrm>
              <a:off x="3129775" y="3981650"/>
              <a:ext cx="15900" cy="15900"/>
            </a:xfrm>
            <a:custGeom>
              <a:avLst/>
              <a:gdLst/>
              <a:ahLst/>
              <a:cxnLst/>
              <a:rect l="l" t="t" r="r" b="b"/>
              <a:pathLst>
                <a:path w="636" h="636" extrusionOk="0">
                  <a:moveTo>
                    <a:pt x="313" y="1"/>
                  </a:moveTo>
                  <a:lnTo>
                    <a:pt x="276" y="74"/>
                  </a:lnTo>
                  <a:cubicBezTo>
                    <a:pt x="230" y="157"/>
                    <a:pt x="157" y="231"/>
                    <a:pt x="74" y="277"/>
                  </a:cubicBezTo>
                  <a:lnTo>
                    <a:pt x="0" y="314"/>
                  </a:lnTo>
                  <a:lnTo>
                    <a:pt x="74" y="360"/>
                  </a:lnTo>
                  <a:cubicBezTo>
                    <a:pt x="157" y="406"/>
                    <a:pt x="230" y="480"/>
                    <a:pt x="276" y="562"/>
                  </a:cubicBezTo>
                  <a:lnTo>
                    <a:pt x="313" y="636"/>
                  </a:lnTo>
                  <a:lnTo>
                    <a:pt x="359" y="562"/>
                  </a:lnTo>
                  <a:cubicBezTo>
                    <a:pt x="405" y="480"/>
                    <a:pt x="479" y="406"/>
                    <a:pt x="562" y="360"/>
                  </a:cubicBezTo>
                  <a:lnTo>
                    <a:pt x="635" y="314"/>
                  </a:lnTo>
                  <a:lnTo>
                    <a:pt x="562" y="277"/>
                  </a:lnTo>
                  <a:cubicBezTo>
                    <a:pt x="470" y="231"/>
                    <a:pt x="405" y="157"/>
                    <a:pt x="350" y="74"/>
                  </a:cubicBezTo>
                  <a:lnTo>
                    <a:pt x="313" y="1"/>
                  </a:ln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2" name="Google Shape;3682;p45"/>
            <p:cNvSpPr/>
            <p:nvPr/>
          </p:nvSpPr>
          <p:spPr>
            <a:xfrm>
              <a:off x="3116425" y="3571750"/>
              <a:ext cx="15450" cy="15675"/>
            </a:xfrm>
            <a:custGeom>
              <a:avLst/>
              <a:gdLst/>
              <a:ahLst/>
              <a:cxnLst/>
              <a:rect l="l" t="t" r="r" b="b"/>
              <a:pathLst>
                <a:path w="618" h="627" extrusionOk="0">
                  <a:moveTo>
                    <a:pt x="304" y="1"/>
                  </a:moveTo>
                  <a:lnTo>
                    <a:pt x="267" y="74"/>
                  </a:lnTo>
                  <a:cubicBezTo>
                    <a:pt x="221" y="157"/>
                    <a:pt x="148" y="231"/>
                    <a:pt x="74" y="277"/>
                  </a:cubicBezTo>
                  <a:lnTo>
                    <a:pt x="0" y="314"/>
                  </a:lnTo>
                  <a:lnTo>
                    <a:pt x="74" y="360"/>
                  </a:lnTo>
                  <a:cubicBezTo>
                    <a:pt x="148" y="397"/>
                    <a:pt x="221" y="470"/>
                    <a:pt x="267" y="553"/>
                  </a:cubicBezTo>
                  <a:lnTo>
                    <a:pt x="304" y="627"/>
                  </a:lnTo>
                  <a:lnTo>
                    <a:pt x="350" y="553"/>
                  </a:lnTo>
                  <a:cubicBezTo>
                    <a:pt x="387" y="470"/>
                    <a:pt x="461" y="397"/>
                    <a:pt x="543" y="360"/>
                  </a:cubicBezTo>
                  <a:lnTo>
                    <a:pt x="617" y="314"/>
                  </a:lnTo>
                  <a:lnTo>
                    <a:pt x="543" y="277"/>
                  </a:lnTo>
                  <a:cubicBezTo>
                    <a:pt x="461" y="231"/>
                    <a:pt x="387" y="157"/>
                    <a:pt x="350" y="74"/>
                  </a:cubicBezTo>
                  <a:lnTo>
                    <a:pt x="304" y="1"/>
                  </a:ln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3" name="Google Shape;3683;p45"/>
            <p:cNvSpPr/>
            <p:nvPr/>
          </p:nvSpPr>
          <p:spPr>
            <a:xfrm>
              <a:off x="2974875" y="3719750"/>
              <a:ext cx="27175" cy="148475"/>
            </a:xfrm>
            <a:custGeom>
              <a:avLst/>
              <a:gdLst/>
              <a:ahLst/>
              <a:cxnLst/>
              <a:rect l="l" t="t" r="r" b="b"/>
              <a:pathLst>
                <a:path w="1087" h="5939" extrusionOk="0">
                  <a:moveTo>
                    <a:pt x="1087" y="0"/>
                  </a:moveTo>
                  <a:cubicBezTo>
                    <a:pt x="1078" y="19"/>
                    <a:pt x="1068" y="37"/>
                    <a:pt x="1068" y="55"/>
                  </a:cubicBezTo>
                  <a:lnTo>
                    <a:pt x="1013" y="230"/>
                  </a:lnTo>
                  <a:cubicBezTo>
                    <a:pt x="976" y="378"/>
                    <a:pt x="921" y="589"/>
                    <a:pt x="847" y="856"/>
                  </a:cubicBezTo>
                  <a:cubicBezTo>
                    <a:pt x="719" y="1381"/>
                    <a:pt x="544" y="2127"/>
                    <a:pt x="396" y="2946"/>
                  </a:cubicBezTo>
                  <a:cubicBezTo>
                    <a:pt x="249" y="3766"/>
                    <a:pt x="148" y="4520"/>
                    <a:pt x="83" y="5064"/>
                  </a:cubicBezTo>
                  <a:cubicBezTo>
                    <a:pt x="46" y="5331"/>
                    <a:pt x="28" y="5552"/>
                    <a:pt x="19" y="5708"/>
                  </a:cubicBezTo>
                  <a:cubicBezTo>
                    <a:pt x="10" y="5772"/>
                    <a:pt x="0" y="5837"/>
                    <a:pt x="0" y="5883"/>
                  </a:cubicBezTo>
                  <a:cubicBezTo>
                    <a:pt x="0" y="5901"/>
                    <a:pt x="0" y="5920"/>
                    <a:pt x="0" y="5938"/>
                  </a:cubicBezTo>
                  <a:cubicBezTo>
                    <a:pt x="10" y="5920"/>
                    <a:pt x="19" y="5901"/>
                    <a:pt x="19" y="5883"/>
                  </a:cubicBezTo>
                  <a:lnTo>
                    <a:pt x="37" y="5708"/>
                  </a:lnTo>
                  <a:cubicBezTo>
                    <a:pt x="65" y="5552"/>
                    <a:pt x="93" y="5331"/>
                    <a:pt x="129" y="5064"/>
                  </a:cubicBezTo>
                  <a:cubicBezTo>
                    <a:pt x="194" y="4520"/>
                    <a:pt x="304" y="3784"/>
                    <a:pt x="461" y="2955"/>
                  </a:cubicBezTo>
                  <a:cubicBezTo>
                    <a:pt x="608" y="2127"/>
                    <a:pt x="765" y="1400"/>
                    <a:pt x="893" y="866"/>
                  </a:cubicBezTo>
                  <a:lnTo>
                    <a:pt x="1041" y="230"/>
                  </a:lnTo>
                  <a:lnTo>
                    <a:pt x="1078" y="65"/>
                  </a:lnTo>
                  <a:cubicBezTo>
                    <a:pt x="1087" y="37"/>
                    <a:pt x="1087" y="19"/>
                    <a:pt x="1087" y="0"/>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4" name="Google Shape;3684;p45"/>
            <p:cNvSpPr/>
            <p:nvPr/>
          </p:nvSpPr>
          <p:spPr>
            <a:xfrm>
              <a:off x="3215850" y="3780725"/>
              <a:ext cx="30850" cy="93475"/>
            </a:xfrm>
            <a:custGeom>
              <a:avLst/>
              <a:gdLst/>
              <a:ahLst/>
              <a:cxnLst/>
              <a:rect l="l" t="t" r="r" b="b"/>
              <a:pathLst>
                <a:path w="1234" h="3739" extrusionOk="0">
                  <a:moveTo>
                    <a:pt x="0" y="1"/>
                  </a:moveTo>
                  <a:cubicBezTo>
                    <a:pt x="10" y="47"/>
                    <a:pt x="19" y="102"/>
                    <a:pt x="37" y="148"/>
                  </a:cubicBezTo>
                  <a:cubicBezTo>
                    <a:pt x="65" y="249"/>
                    <a:pt x="102" y="388"/>
                    <a:pt x="148" y="562"/>
                  </a:cubicBezTo>
                  <a:cubicBezTo>
                    <a:pt x="249" y="903"/>
                    <a:pt x="387" y="1373"/>
                    <a:pt x="553" y="1888"/>
                  </a:cubicBezTo>
                  <a:cubicBezTo>
                    <a:pt x="728" y="2404"/>
                    <a:pt x="893" y="2864"/>
                    <a:pt x="1013" y="3205"/>
                  </a:cubicBezTo>
                  <a:cubicBezTo>
                    <a:pt x="1077" y="3361"/>
                    <a:pt x="1133" y="3499"/>
                    <a:pt x="1169" y="3591"/>
                  </a:cubicBezTo>
                  <a:cubicBezTo>
                    <a:pt x="1188" y="3646"/>
                    <a:pt x="1206" y="3693"/>
                    <a:pt x="1234" y="3739"/>
                  </a:cubicBezTo>
                  <a:cubicBezTo>
                    <a:pt x="1225" y="3683"/>
                    <a:pt x="1206" y="3637"/>
                    <a:pt x="1188" y="3591"/>
                  </a:cubicBezTo>
                  <a:lnTo>
                    <a:pt x="1050" y="3186"/>
                  </a:lnTo>
                  <a:cubicBezTo>
                    <a:pt x="939" y="2855"/>
                    <a:pt x="774" y="2394"/>
                    <a:pt x="608" y="1870"/>
                  </a:cubicBezTo>
                  <a:cubicBezTo>
                    <a:pt x="442" y="1354"/>
                    <a:pt x="295" y="894"/>
                    <a:pt x="184" y="544"/>
                  </a:cubicBezTo>
                  <a:cubicBezTo>
                    <a:pt x="129" y="388"/>
                    <a:pt x="92" y="249"/>
                    <a:pt x="56" y="148"/>
                  </a:cubicBezTo>
                  <a:cubicBezTo>
                    <a:pt x="46" y="93"/>
                    <a:pt x="28" y="47"/>
                    <a:pt x="0" y="1"/>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5" name="Google Shape;3685;p45"/>
            <p:cNvSpPr/>
            <p:nvPr/>
          </p:nvSpPr>
          <p:spPr>
            <a:xfrm>
              <a:off x="3167050" y="3584875"/>
              <a:ext cx="124300" cy="164600"/>
            </a:xfrm>
            <a:custGeom>
              <a:avLst/>
              <a:gdLst/>
              <a:ahLst/>
              <a:cxnLst/>
              <a:rect l="l" t="t" r="r" b="b"/>
              <a:pathLst>
                <a:path w="4972" h="6584" extrusionOk="0">
                  <a:moveTo>
                    <a:pt x="792" y="0"/>
                  </a:moveTo>
                  <a:cubicBezTo>
                    <a:pt x="746" y="0"/>
                    <a:pt x="700" y="10"/>
                    <a:pt x="663" y="28"/>
                  </a:cubicBezTo>
                  <a:cubicBezTo>
                    <a:pt x="544" y="65"/>
                    <a:pt x="442" y="129"/>
                    <a:pt x="360" y="212"/>
                  </a:cubicBezTo>
                  <a:cubicBezTo>
                    <a:pt x="212" y="341"/>
                    <a:pt x="111" y="507"/>
                    <a:pt x="65" y="691"/>
                  </a:cubicBezTo>
                  <a:cubicBezTo>
                    <a:pt x="1" y="939"/>
                    <a:pt x="47" y="1206"/>
                    <a:pt x="194" y="1418"/>
                  </a:cubicBezTo>
                  <a:cubicBezTo>
                    <a:pt x="268" y="1547"/>
                    <a:pt x="378" y="1648"/>
                    <a:pt x="498" y="1731"/>
                  </a:cubicBezTo>
                  <a:cubicBezTo>
                    <a:pt x="636" y="1814"/>
                    <a:pt x="802" y="1860"/>
                    <a:pt x="958" y="1869"/>
                  </a:cubicBezTo>
                  <a:cubicBezTo>
                    <a:pt x="1001" y="1873"/>
                    <a:pt x="1043" y="1874"/>
                    <a:pt x="1086" y="1874"/>
                  </a:cubicBezTo>
                  <a:cubicBezTo>
                    <a:pt x="1384" y="1874"/>
                    <a:pt x="1684" y="1797"/>
                    <a:pt x="1998" y="1740"/>
                  </a:cubicBezTo>
                  <a:cubicBezTo>
                    <a:pt x="2150" y="1712"/>
                    <a:pt x="2303" y="1698"/>
                    <a:pt x="2454" y="1698"/>
                  </a:cubicBezTo>
                  <a:cubicBezTo>
                    <a:pt x="3083" y="1698"/>
                    <a:pt x="3694" y="1940"/>
                    <a:pt x="4162" y="2385"/>
                  </a:cubicBezTo>
                  <a:cubicBezTo>
                    <a:pt x="4456" y="2661"/>
                    <a:pt x="4668" y="3020"/>
                    <a:pt x="4788" y="3407"/>
                  </a:cubicBezTo>
                  <a:cubicBezTo>
                    <a:pt x="4889" y="3766"/>
                    <a:pt x="4917" y="4152"/>
                    <a:pt x="4852" y="4530"/>
                  </a:cubicBezTo>
                  <a:cubicBezTo>
                    <a:pt x="4834" y="4696"/>
                    <a:pt x="4788" y="4870"/>
                    <a:pt x="4723" y="5036"/>
                  </a:cubicBezTo>
                  <a:cubicBezTo>
                    <a:pt x="4659" y="5183"/>
                    <a:pt x="4585" y="5331"/>
                    <a:pt x="4493" y="5469"/>
                  </a:cubicBezTo>
                  <a:cubicBezTo>
                    <a:pt x="4318" y="5717"/>
                    <a:pt x="4107" y="5938"/>
                    <a:pt x="3867" y="6104"/>
                  </a:cubicBezTo>
                  <a:cubicBezTo>
                    <a:pt x="3508" y="6353"/>
                    <a:pt x="3094" y="6509"/>
                    <a:pt x="2661" y="6546"/>
                  </a:cubicBezTo>
                  <a:cubicBezTo>
                    <a:pt x="2591" y="6557"/>
                    <a:pt x="2521" y="6561"/>
                    <a:pt x="2453" y="6561"/>
                  </a:cubicBezTo>
                  <a:cubicBezTo>
                    <a:pt x="2404" y="6561"/>
                    <a:pt x="2357" y="6559"/>
                    <a:pt x="2311" y="6555"/>
                  </a:cubicBezTo>
                  <a:lnTo>
                    <a:pt x="2182" y="6555"/>
                  </a:lnTo>
                  <a:cubicBezTo>
                    <a:pt x="2284" y="6573"/>
                    <a:pt x="2388" y="6583"/>
                    <a:pt x="2492" y="6583"/>
                  </a:cubicBezTo>
                  <a:cubicBezTo>
                    <a:pt x="2549" y="6583"/>
                    <a:pt x="2606" y="6580"/>
                    <a:pt x="2661" y="6574"/>
                  </a:cubicBezTo>
                  <a:cubicBezTo>
                    <a:pt x="3103" y="6546"/>
                    <a:pt x="3527" y="6389"/>
                    <a:pt x="3886" y="6141"/>
                  </a:cubicBezTo>
                  <a:cubicBezTo>
                    <a:pt x="4143" y="5975"/>
                    <a:pt x="4355" y="5754"/>
                    <a:pt x="4530" y="5506"/>
                  </a:cubicBezTo>
                  <a:cubicBezTo>
                    <a:pt x="4622" y="5368"/>
                    <a:pt x="4705" y="5211"/>
                    <a:pt x="4769" y="5055"/>
                  </a:cubicBezTo>
                  <a:cubicBezTo>
                    <a:pt x="4834" y="4889"/>
                    <a:pt x="4880" y="4714"/>
                    <a:pt x="4907" y="4539"/>
                  </a:cubicBezTo>
                  <a:cubicBezTo>
                    <a:pt x="4972" y="4152"/>
                    <a:pt x="4944" y="3766"/>
                    <a:pt x="4843" y="3398"/>
                  </a:cubicBezTo>
                  <a:cubicBezTo>
                    <a:pt x="4723" y="2992"/>
                    <a:pt x="4502" y="2633"/>
                    <a:pt x="4199" y="2348"/>
                  </a:cubicBezTo>
                  <a:cubicBezTo>
                    <a:pt x="3721" y="1893"/>
                    <a:pt x="3087" y="1644"/>
                    <a:pt x="2442" y="1644"/>
                  </a:cubicBezTo>
                  <a:cubicBezTo>
                    <a:pt x="2291" y="1644"/>
                    <a:pt x="2139" y="1657"/>
                    <a:pt x="1989" y="1685"/>
                  </a:cubicBezTo>
                  <a:cubicBezTo>
                    <a:pt x="1675" y="1750"/>
                    <a:pt x="1374" y="1828"/>
                    <a:pt x="1088" y="1828"/>
                  </a:cubicBezTo>
                  <a:cubicBezTo>
                    <a:pt x="1048" y="1828"/>
                    <a:pt x="1007" y="1827"/>
                    <a:pt x="967" y="1823"/>
                  </a:cubicBezTo>
                  <a:cubicBezTo>
                    <a:pt x="820" y="1814"/>
                    <a:pt x="663" y="1768"/>
                    <a:pt x="535" y="1694"/>
                  </a:cubicBezTo>
                  <a:cubicBezTo>
                    <a:pt x="415" y="1621"/>
                    <a:pt x="314" y="1519"/>
                    <a:pt x="240" y="1400"/>
                  </a:cubicBezTo>
                  <a:cubicBezTo>
                    <a:pt x="102" y="1197"/>
                    <a:pt x="56" y="939"/>
                    <a:pt x="111" y="700"/>
                  </a:cubicBezTo>
                  <a:cubicBezTo>
                    <a:pt x="148" y="525"/>
                    <a:pt x="249" y="359"/>
                    <a:pt x="378" y="231"/>
                  </a:cubicBezTo>
                  <a:cubicBezTo>
                    <a:pt x="470" y="148"/>
                    <a:pt x="562" y="83"/>
                    <a:pt x="673" y="37"/>
                  </a:cubicBezTo>
                  <a:cubicBezTo>
                    <a:pt x="746" y="10"/>
                    <a:pt x="792" y="0"/>
                    <a:pt x="792" y="0"/>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6" name="Google Shape;3686;p45"/>
            <p:cNvSpPr/>
            <p:nvPr/>
          </p:nvSpPr>
          <p:spPr>
            <a:xfrm>
              <a:off x="3177650" y="3548050"/>
              <a:ext cx="56625" cy="53500"/>
            </a:xfrm>
            <a:custGeom>
              <a:avLst/>
              <a:gdLst/>
              <a:ahLst/>
              <a:cxnLst/>
              <a:rect l="l" t="t" r="r" b="b"/>
              <a:pathLst>
                <a:path w="2265" h="2140" extrusionOk="0">
                  <a:moveTo>
                    <a:pt x="1436" y="0"/>
                  </a:moveTo>
                  <a:lnTo>
                    <a:pt x="626" y="415"/>
                  </a:lnTo>
                  <a:cubicBezTo>
                    <a:pt x="175" y="645"/>
                    <a:pt x="0" y="1197"/>
                    <a:pt x="230" y="1648"/>
                  </a:cubicBezTo>
                  <a:cubicBezTo>
                    <a:pt x="393" y="1961"/>
                    <a:pt x="712" y="2140"/>
                    <a:pt x="1045" y="2140"/>
                  </a:cubicBezTo>
                  <a:cubicBezTo>
                    <a:pt x="1182" y="2140"/>
                    <a:pt x="1322" y="2109"/>
                    <a:pt x="1455" y="2044"/>
                  </a:cubicBezTo>
                  <a:lnTo>
                    <a:pt x="2265" y="1621"/>
                  </a:lnTo>
                  <a:lnTo>
                    <a:pt x="1436" y="0"/>
                  </a:lnTo>
                  <a:close/>
                </a:path>
              </a:pathLst>
            </a:custGeom>
            <a:solidFill>
              <a:srgbClr val="EBEBE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7" name="Google Shape;3687;p45"/>
            <p:cNvSpPr/>
            <p:nvPr/>
          </p:nvSpPr>
          <p:spPr>
            <a:xfrm>
              <a:off x="3297550" y="3524325"/>
              <a:ext cx="20425" cy="17200"/>
            </a:xfrm>
            <a:custGeom>
              <a:avLst/>
              <a:gdLst/>
              <a:ahLst/>
              <a:cxnLst/>
              <a:rect l="l" t="t" r="r" b="b"/>
              <a:pathLst>
                <a:path w="817" h="688" extrusionOk="0">
                  <a:moveTo>
                    <a:pt x="485" y="1"/>
                  </a:moveTo>
                  <a:cubicBezTo>
                    <a:pt x="480" y="1"/>
                    <a:pt x="475" y="1"/>
                    <a:pt x="470" y="1"/>
                  </a:cubicBezTo>
                  <a:cubicBezTo>
                    <a:pt x="157" y="1"/>
                    <a:pt x="0" y="369"/>
                    <a:pt x="221" y="590"/>
                  </a:cubicBezTo>
                  <a:cubicBezTo>
                    <a:pt x="292" y="658"/>
                    <a:pt x="378" y="688"/>
                    <a:pt x="462" y="688"/>
                  </a:cubicBezTo>
                  <a:cubicBezTo>
                    <a:pt x="643" y="688"/>
                    <a:pt x="817" y="549"/>
                    <a:pt x="811" y="342"/>
                  </a:cubicBezTo>
                  <a:cubicBezTo>
                    <a:pt x="811" y="154"/>
                    <a:pt x="663" y="1"/>
                    <a:pt x="485" y="1"/>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8" name="Google Shape;3688;p45"/>
            <p:cNvSpPr/>
            <p:nvPr/>
          </p:nvSpPr>
          <p:spPr>
            <a:xfrm>
              <a:off x="4481925" y="3616875"/>
              <a:ext cx="370575" cy="249050"/>
            </a:xfrm>
            <a:custGeom>
              <a:avLst/>
              <a:gdLst/>
              <a:ahLst/>
              <a:cxnLst/>
              <a:rect l="l" t="t" r="r" b="b"/>
              <a:pathLst>
                <a:path w="14823" h="9962" extrusionOk="0">
                  <a:moveTo>
                    <a:pt x="14822" y="0"/>
                  </a:moveTo>
                  <a:lnTo>
                    <a:pt x="0" y="74"/>
                  </a:lnTo>
                  <a:lnTo>
                    <a:pt x="516" y="9961"/>
                  </a:lnTo>
                  <a:lnTo>
                    <a:pt x="14822" y="9961"/>
                  </a:lnTo>
                  <a:lnTo>
                    <a:pt x="14822" y="0"/>
                  </a:ln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9" name="Google Shape;3689;p45"/>
            <p:cNvSpPr/>
            <p:nvPr/>
          </p:nvSpPr>
          <p:spPr>
            <a:xfrm>
              <a:off x="4481925" y="3618700"/>
              <a:ext cx="357675" cy="246750"/>
            </a:xfrm>
            <a:custGeom>
              <a:avLst/>
              <a:gdLst/>
              <a:ahLst/>
              <a:cxnLst/>
              <a:rect l="l" t="t" r="r" b="b"/>
              <a:pathLst>
                <a:path w="14307" h="9870" extrusionOk="0">
                  <a:moveTo>
                    <a:pt x="0" y="1"/>
                  </a:moveTo>
                  <a:lnTo>
                    <a:pt x="0" y="9870"/>
                  </a:lnTo>
                  <a:lnTo>
                    <a:pt x="14307" y="9870"/>
                  </a:lnTo>
                  <a:lnTo>
                    <a:pt x="14307" y="1"/>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0" name="Google Shape;3690;p45"/>
            <p:cNvSpPr/>
            <p:nvPr/>
          </p:nvSpPr>
          <p:spPr>
            <a:xfrm>
              <a:off x="4480550" y="3617325"/>
              <a:ext cx="360675" cy="249500"/>
            </a:xfrm>
            <a:custGeom>
              <a:avLst/>
              <a:gdLst/>
              <a:ahLst/>
              <a:cxnLst/>
              <a:rect l="l" t="t" r="r" b="b"/>
              <a:pathLst>
                <a:path w="14427" h="9980" extrusionOk="0">
                  <a:moveTo>
                    <a:pt x="14316" y="111"/>
                  </a:moveTo>
                  <a:lnTo>
                    <a:pt x="14316" y="9869"/>
                  </a:lnTo>
                  <a:lnTo>
                    <a:pt x="120" y="9869"/>
                  </a:lnTo>
                  <a:lnTo>
                    <a:pt x="120" y="111"/>
                  </a:lnTo>
                  <a:close/>
                  <a:moveTo>
                    <a:pt x="0" y="1"/>
                  </a:moveTo>
                  <a:lnTo>
                    <a:pt x="0" y="9980"/>
                  </a:lnTo>
                  <a:lnTo>
                    <a:pt x="14426" y="9980"/>
                  </a:lnTo>
                  <a:lnTo>
                    <a:pt x="14426" y="1"/>
                  </a:ln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1" name="Google Shape;3691;p45"/>
            <p:cNvSpPr/>
            <p:nvPr/>
          </p:nvSpPr>
          <p:spPr>
            <a:xfrm>
              <a:off x="4520600" y="3649325"/>
              <a:ext cx="280350" cy="185525"/>
            </a:xfrm>
            <a:custGeom>
              <a:avLst/>
              <a:gdLst/>
              <a:ahLst/>
              <a:cxnLst/>
              <a:rect l="l" t="t" r="r" b="b"/>
              <a:pathLst>
                <a:path w="11214" h="7421" extrusionOk="0">
                  <a:moveTo>
                    <a:pt x="0" y="0"/>
                  </a:moveTo>
                  <a:lnTo>
                    <a:pt x="0" y="7420"/>
                  </a:lnTo>
                  <a:lnTo>
                    <a:pt x="11213" y="7420"/>
                  </a:lnTo>
                  <a:lnTo>
                    <a:pt x="11213"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2" name="Google Shape;3692;p45"/>
            <p:cNvSpPr/>
            <p:nvPr/>
          </p:nvSpPr>
          <p:spPr>
            <a:xfrm>
              <a:off x="4520125" y="3647925"/>
              <a:ext cx="281050" cy="186925"/>
            </a:xfrm>
            <a:custGeom>
              <a:avLst/>
              <a:gdLst/>
              <a:ahLst/>
              <a:cxnLst/>
              <a:rect l="l" t="t" r="r" b="b"/>
              <a:pathLst>
                <a:path w="11242" h="7477" extrusionOk="0">
                  <a:moveTo>
                    <a:pt x="1" y="1"/>
                  </a:moveTo>
                  <a:lnTo>
                    <a:pt x="1" y="29"/>
                  </a:lnTo>
                  <a:lnTo>
                    <a:pt x="1" y="7449"/>
                  </a:lnTo>
                  <a:lnTo>
                    <a:pt x="1" y="7476"/>
                  </a:lnTo>
                  <a:lnTo>
                    <a:pt x="11241" y="7476"/>
                  </a:lnTo>
                  <a:lnTo>
                    <a:pt x="11241" y="7449"/>
                  </a:lnTo>
                  <a:cubicBezTo>
                    <a:pt x="11232" y="5193"/>
                    <a:pt x="11223" y="3334"/>
                    <a:pt x="11223" y="2045"/>
                  </a:cubicBezTo>
                  <a:cubicBezTo>
                    <a:pt x="11223" y="2051"/>
                    <a:pt x="11223" y="2057"/>
                    <a:pt x="11223" y="2063"/>
                  </a:cubicBezTo>
                  <a:cubicBezTo>
                    <a:pt x="11214" y="3348"/>
                    <a:pt x="11205" y="5192"/>
                    <a:pt x="11205" y="7439"/>
                  </a:cubicBezTo>
                  <a:lnTo>
                    <a:pt x="56" y="7439"/>
                  </a:lnTo>
                  <a:lnTo>
                    <a:pt x="56" y="75"/>
                  </a:lnTo>
                  <a:lnTo>
                    <a:pt x="56" y="75"/>
                  </a:lnTo>
                  <a:lnTo>
                    <a:pt x="8093" y="65"/>
                  </a:lnTo>
                  <a:lnTo>
                    <a:pt x="10404" y="56"/>
                  </a:lnTo>
                  <a:lnTo>
                    <a:pt x="11232" y="56"/>
                  </a:lnTo>
                  <a:lnTo>
                    <a:pt x="11223" y="52"/>
                  </a:lnTo>
                  <a:lnTo>
                    <a:pt x="11223" y="52"/>
                  </a:lnTo>
                  <a:lnTo>
                    <a:pt x="11223" y="52"/>
                  </a:lnTo>
                  <a:lnTo>
                    <a:pt x="11223" y="52"/>
                  </a:lnTo>
                  <a:lnTo>
                    <a:pt x="11177" y="29"/>
                  </a:lnTo>
                  <a:lnTo>
                    <a:pt x="10413" y="29"/>
                  </a:lnTo>
                  <a:lnTo>
                    <a:pt x="8111" y="19"/>
                  </a:lnTo>
                  <a:lnTo>
                    <a:pt x="28" y="1"/>
                  </a:ln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3" name="Google Shape;3693;p45"/>
            <p:cNvSpPr/>
            <p:nvPr/>
          </p:nvSpPr>
          <p:spPr>
            <a:xfrm>
              <a:off x="4481925" y="3618025"/>
              <a:ext cx="38925" cy="31550"/>
            </a:xfrm>
            <a:custGeom>
              <a:avLst/>
              <a:gdLst/>
              <a:ahLst/>
              <a:cxnLst/>
              <a:rect l="l" t="t" r="r" b="b"/>
              <a:pathLst>
                <a:path w="1557" h="1262" extrusionOk="0">
                  <a:moveTo>
                    <a:pt x="0" y="0"/>
                  </a:moveTo>
                  <a:lnTo>
                    <a:pt x="0" y="0"/>
                  </a:lnTo>
                  <a:cubicBezTo>
                    <a:pt x="65" y="74"/>
                    <a:pt x="148" y="138"/>
                    <a:pt x="221" y="203"/>
                  </a:cubicBezTo>
                  <a:lnTo>
                    <a:pt x="774" y="645"/>
                  </a:lnTo>
                  <a:lnTo>
                    <a:pt x="1326" y="1086"/>
                  </a:lnTo>
                  <a:cubicBezTo>
                    <a:pt x="1391" y="1151"/>
                    <a:pt x="1473" y="1206"/>
                    <a:pt x="1556" y="1261"/>
                  </a:cubicBezTo>
                  <a:cubicBezTo>
                    <a:pt x="1492" y="1179"/>
                    <a:pt x="1418" y="1114"/>
                    <a:pt x="1344" y="1050"/>
                  </a:cubicBezTo>
                  <a:cubicBezTo>
                    <a:pt x="1216" y="930"/>
                    <a:pt x="1022" y="764"/>
                    <a:pt x="811" y="589"/>
                  </a:cubicBezTo>
                  <a:cubicBezTo>
                    <a:pt x="590" y="414"/>
                    <a:pt x="396" y="267"/>
                    <a:pt x="249" y="166"/>
                  </a:cubicBezTo>
                  <a:cubicBezTo>
                    <a:pt x="166" y="101"/>
                    <a:pt x="92" y="46"/>
                    <a:pt x="0" y="0"/>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4" name="Google Shape;3694;p45"/>
            <p:cNvSpPr/>
            <p:nvPr/>
          </p:nvSpPr>
          <p:spPr>
            <a:xfrm>
              <a:off x="4800925" y="3618700"/>
              <a:ext cx="38675" cy="30650"/>
            </a:xfrm>
            <a:custGeom>
              <a:avLst/>
              <a:gdLst/>
              <a:ahLst/>
              <a:cxnLst/>
              <a:rect l="l" t="t" r="r" b="b"/>
              <a:pathLst>
                <a:path w="1547" h="1226" extrusionOk="0">
                  <a:moveTo>
                    <a:pt x="1547" y="1"/>
                  </a:moveTo>
                  <a:lnTo>
                    <a:pt x="1547" y="1"/>
                  </a:lnTo>
                  <a:cubicBezTo>
                    <a:pt x="1271" y="185"/>
                    <a:pt x="1013" y="378"/>
                    <a:pt x="755" y="590"/>
                  </a:cubicBezTo>
                  <a:cubicBezTo>
                    <a:pt x="488" y="783"/>
                    <a:pt x="239" y="995"/>
                    <a:pt x="0" y="1225"/>
                  </a:cubicBezTo>
                  <a:cubicBezTo>
                    <a:pt x="543" y="848"/>
                    <a:pt x="1059" y="443"/>
                    <a:pt x="1547" y="1"/>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5" name="Google Shape;3695;p45"/>
            <p:cNvSpPr/>
            <p:nvPr/>
          </p:nvSpPr>
          <p:spPr>
            <a:xfrm>
              <a:off x="4799525" y="3833200"/>
              <a:ext cx="39850" cy="32250"/>
            </a:xfrm>
            <a:custGeom>
              <a:avLst/>
              <a:gdLst/>
              <a:ahLst/>
              <a:cxnLst/>
              <a:rect l="l" t="t" r="r" b="b"/>
              <a:pathLst>
                <a:path w="1594" h="1290" extrusionOk="0">
                  <a:moveTo>
                    <a:pt x="1594" y="1290"/>
                  </a:moveTo>
                  <a:lnTo>
                    <a:pt x="1" y="1"/>
                  </a:lnTo>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6" name="Google Shape;3696;p45"/>
            <p:cNvSpPr/>
            <p:nvPr/>
          </p:nvSpPr>
          <p:spPr>
            <a:xfrm>
              <a:off x="4799525" y="3833200"/>
              <a:ext cx="39850" cy="32475"/>
            </a:xfrm>
            <a:custGeom>
              <a:avLst/>
              <a:gdLst/>
              <a:ahLst/>
              <a:cxnLst/>
              <a:rect l="l" t="t" r="r" b="b"/>
              <a:pathLst>
                <a:path w="1594" h="1299" extrusionOk="0">
                  <a:moveTo>
                    <a:pt x="1" y="1"/>
                  </a:moveTo>
                  <a:lnTo>
                    <a:pt x="1" y="1"/>
                  </a:lnTo>
                  <a:cubicBezTo>
                    <a:pt x="240" y="240"/>
                    <a:pt x="507" y="461"/>
                    <a:pt x="774" y="673"/>
                  </a:cubicBezTo>
                  <a:cubicBezTo>
                    <a:pt x="1032" y="894"/>
                    <a:pt x="1308" y="1106"/>
                    <a:pt x="1594" y="1299"/>
                  </a:cubicBezTo>
                  <a:cubicBezTo>
                    <a:pt x="1345" y="1060"/>
                    <a:pt x="1087" y="829"/>
                    <a:pt x="811" y="627"/>
                  </a:cubicBezTo>
                  <a:cubicBezTo>
                    <a:pt x="553" y="406"/>
                    <a:pt x="277" y="194"/>
                    <a:pt x="1" y="1"/>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7" name="Google Shape;3697;p45"/>
            <p:cNvSpPr/>
            <p:nvPr/>
          </p:nvSpPr>
          <p:spPr>
            <a:xfrm>
              <a:off x="4481925" y="3835050"/>
              <a:ext cx="38450" cy="30400"/>
            </a:xfrm>
            <a:custGeom>
              <a:avLst/>
              <a:gdLst/>
              <a:ahLst/>
              <a:cxnLst/>
              <a:rect l="l" t="t" r="r" b="b"/>
              <a:pathLst>
                <a:path w="1538" h="1216" extrusionOk="0">
                  <a:moveTo>
                    <a:pt x="1538" y="0"/>
                  </a:moveTo>
                  <a:cubicBezTo>
                    <a:pt x="1262" y="185"/>
                    <a:pt x="1004" y="378"/>
                    <a:pt x="755" y="590"/>
                  </a:cubicBezTo>
                  <a:cubicBezTo>
                    <a:pt x="488" y="783"/>
                    <a:pt x="240" y="986"/>
                    <a:pt x="0" y="1216"/>
                  </a:cubicBezTo>
                  <a:cubicBezTo>
                    <a:pt x="277" y="1041"/>
                    <a:pt x="534" y="838"/>
                    <a:pt x="792" y="636"/>
                  </a:cubicBezTo>
                  <a:cubicBezTo>
                    <a:pt x="1050" y="433"/>
                    <a:pt x="1298" y="231"/>
                    <a:pt x="1538" y="0"/>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8" name="Google Shape;3698;p45"/>
            <p:cNvSpPr/>
            <p:nvPr/>
          </p:nvSpPr>
          <p:spPr>
            <a:xfrm>
              <a:off x="4604600" y="3684875"/>
              <a:ext cx="126825" cy="104875"/>
            </a:xfrm>
            <a:custGeom>
              <a:avLst/>
              <a:gdLst/>
              <a:ahLst/>
              <a:cxnLst/>
              <a:rect l="l" t="t" r="r" b="b"/>
              <a:pathLst>
                <a:path w="5073" h="4195" extrusionOk="0">
                  <a:moveTo>
                    <a:pt x="2436" y="1"/>
                  </a:moveTo>
                  <a:cubicBezTo>
                    <a:pt x="2176" y="1"/>
                    <a:pt x="1917" y="45"/>
                    <a:pt x="1667" y="134"/>
                  </a:cubicBezTo>
                  <a:cubicBezTo>
                    <a:pt x="1519" y="180"/>
                    <a:pt x="1381" y="254"/>
                    <a:pt x="1252" y="346"/>
                  </a:cubicBezTo>
                  <a:cubicBezTo>
                    <a:pt x="820" y="650"/>
                    <a:pt x="46" y="1266"/>
                    <a:pt x="19" y="2482"/>
                  </a:cubicBezTo>
                  <a:cubicBezTo>
                    <a:pt x="0" y="3697"/>
                    <a:pt x="709" y="4037"/>
                    <a:pt x="1059" y="4148"/>
                  </a:cubicBezTo>
                  <a:cubicBezTo>
                    <a:pt x="1157" y="4182"/>
                    <a:pt x="1446" y="4195"/>
                    <a:pt x="1806" y="4195"/>
                  </a:cubicBezTo>
                  <a:cubicBezTo>
                    <a:pt x="2692" y="4195"/>
                    <a:pt x="4014" y="4120"/>
                    <a:pt x="4014" y="4120"/>
                  </a:cubicBezTo>
                  <a:cubicBezTo>
                    <a:pt x="4014" y="4120"/>
                    <a:pt x="5073" y="3568"/>
                    <a:pt x="4981" y="2509"/>
                  </a:cubicBezTo>
                  <a:cubicBezTo>
                    <a:pt x="4898" y="1598"/>
                    <a:pt x="4336" y="419"/>
                    <a:pt x="3029" y="79"/>
                  </a:cubicBezTo>
                  <a:cubicBezTo>
                    <a:pt x="2834" y="27"/>
                    <a:pt x="2635" y="1"/>
                    <a:pt x="2436" y="1"/>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9" name="Google Shape;3699;p45"/>
            <p:cNvSpPr/>
            <p:nvPr/>
          </p:nvSpPr>
          <p:spPr>
            <a:xfrm>
              <a:off x="4627600" y="3764000"/>
              <a:ext cx="78975" cy="44850"/>
            </a:xfrm>
            <a:custGeom>
              <a:avLst/>
              <a:gdLst/>
              <a:ahLst/>
              <a:cxnLst/>
              <a:rect l="l" t="t" r="r" b="b"/>
              <a:pathLst>
                <a:path w="3159" h="1794" extrusionOk="0">
                  <a:moveTo>
                    <a:pt x="1687" y="0"/>
                  </a:moveTo>
                  <a:cubicBezTo>
                    <a:pt x="1627" y="0"/>
                    <a:pt x="1565" y="2"/>
                    <a:pt x="1501" y="7"/>
                  </a:cubicBezTo>
                  <a:cubicBezTo>
                    <a:pt x="526" y="71"/>
                    <a:pt x="56" y="596"/>
                    <a:pt x="56" y="596"/>
                  </a:cubicBezTo>
                  <a:cubicBezTo>
                    <a:pt x="56" y="596"/>
                    <a:pt x="1" y="1241"/>
                    <a:pt x="286" y="1471"/>
                  </a:cubicBezTo>
                  <a:cubicBezTo>
                    <a:pt x="551" y="1691"/>
                    <a:pt x="1103" y="1794"/>
                    <a:pt x="1562" y="1794"/>
                  </a:cubicBezTo>
                  <a:cubicBezTo>
                    <a:pt x="1582" y="1794"/>
                    <a:pt x="1602" y="1793"/>
                    <a:pt x="1621" y="1793"/>
                  </a:cubicBezTo>
                  <a:cubicBezTo>
                    <a:pt x="2091" y="1784"/>
                    <a:pt x="2818" y="1673"/>
                    <a:pt x="2974" y="1351"/>
                  </a:cubicBezTo>
                  <a:cubicBezTo>
                    <a:pt x="3131" y="1020"/>
                    <a:pt x="3159" y="578"/>
                    <a:pt x="3113" y="523"/>
                  </a:cubicBezTo>
                  <a:cubicBezTo>
                    <a:pt x="3078" y="471"/>
                    <a:pt x="2560" y="0"/>
                    <a:pt x="1687" y="0"/>
                  </a:cubicBezTo>
                  <a:close/>
                </a:path>
              </a:pathLst>
            </a:custGeom>
            <a:solidFill>
              <a:srgbClr val="F5F5F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30" name="Google Shape;3700;p45"/>
            <p:cNvSpPr/>
            <p:nvPr/>
          </p:nvSpPr>
          <p:spPr>
            <a:xfrm>
              <a:off x="4625075" y="3686600"/>
              <a:ext cx="70850" cy="60125"/>
            </a:xfrm>
            <a:custGeom>
              <a:avLst/>
              <a:gdLst/>
              <a:ahLst/>
              <a:cxnLst/>
              <a:rect l="l" t="t" r="r" b="b"/>
              <a:pathLst>
                <a:path w="2834" h="2405" extrusionOk="0">
                  <a:moveTo>
                    <a:pt x="1618" y="0"/>
                  </a:moveTo>
                  <a:cubicBezTo>
                    <a:pt x="1607" y="0"/>
                    <a:pt x="1596" y="0"/>
                    <a:pt x="1584" y="1"/>
                  </a:cubicBezTo>
                  <a:cubicBezTo>
                    <a:pt x="507" y="19"/>
                    <a:pt x="1" y="1335"/>
                    <a:pt x="783" y="2072"/>
                  </a:cubicBezTo>
                  <a:cubicBezTo>
                    <a:pt x="1024" y="2302"/>
                    <a:pt x="1316" y="2404"/>
                    <a:pt x="1601" y="2404"/>
                  </a:cubicBezTo>
                  <a:cubicBezTo>
                    <a:pt x="2231" y="2404"/>
                    <a:pt x="2834" y="1905"/>
                    <a:pt x="2809" y="1170"/>
                  </a:cubicBezTo>
                  <a:cubicBezTo>
                    <a:pt x="2790" y="509"/>
                    <a:pt x="2266" y="0"/>
                    <a:pt x="1618"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31" name="Google Shape;3701;p45"/>
            <p:cNvSpPr/>
            <p:nvPr/>
          </p:nvSpPr>
          <p:spPr>
            <a:xfrm>
              <a:off x="4604825" y="3714000"/>
              <a:ext cx="17275" cy="49025"/>
            </a:xfrm>
            <a:custGeom>
              <a:avLst/>
              <a:gdLst/>
              <a:ahLst/>
              <a:cxnLst/>
              <a:rect l="l" t="t" r="r" b="b"/>
              <a:pathLst>
                <a:path w="691" h="1961" extrusionOk="0">
                  <a:moveTo>
                    <a:pt x="415" y="0"/>
                  </a:moveTo>
                  <a:cubicBezTo>
                    <a:pt x="415" y="0"/>
                    <a:pt x="47" y="617"/>
                    <a:pt x="19" y="1160"/>
                  </a:cubicBezTo>
                  <a:cubicBezTo>
                    <a:pt x="0" y="1740"/>
                    <a:pt x="83" y="1961"/>
                    <a:pt x="83" y="1961"/>
                  </a:cubicBezTo>
                  <a:cubicBezTo>
                    <a:pt x="378" y="1731"/>
                    <a:pt x="571" y="1399"/>
                    <a:pt x="645" y="1040"/>
                  </a:cubicBezTo>
                  <a:cubicBezTo>
                    <a:pt x="691" y="672"/>
                    <a:pt x="617" y="304"/>
                    <a:pt x="415"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32" name="Google Shape;3702;p45"/>
            <p:cNvSpPr/>
            <p:nvPr/>
          </p:nvSpPr>
          <p:spPr>
            <a:xfrm>
              <a:off x="4711150" y="3712600"/>
              <a:ext cx="19600" cy="47450"/>
            </a:xfrm>
            <a:custGeom>
              <a:avLst/>
              <a:gdLst/>
              <a:ahLst/>
              <a:cxnLst/>
              <a:rect l="l" t="t" r="r" b="b"/>
              <a:pathLst>
                <a:path w="784" h="1898" extrusionOk="0">
                  <a:moveTo>
                    <a:pt x="222" y="1"/>
                  </a:moveTo>
                  <a:cubicBezTo>
                    <a:pt x="47" y="305"/>
                    <a:pt x="1" y="664"/>
                    <a:pt x="74" y="1004"/>
                  </a:cubicBezTo>
                  <a:cubicBezTo>
                    <a:pt x="166" y="1363"/>
                    <a:pt x="378" y="1676"/>
                    <a:pt x="682" y="1897"/>
                  </a:cubicBezTo>
                  <a:cubicBezTo>
                    <a:pt x="682" y="1897"/>
                    <a:pt x="783" y="1676"/>
                    <a:pt x="682" y="1087"/>
                  </a:cubicBezTo>
                  <a:cubicBezTo>
                    <a:pt x="599" y="701"/>
                    <a:pt x="443" y="332"/>
                    <a:pt x="222"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33" name="Google Shape;3703;p45"/>
            <p:cNvSpPr/>
            <p:nvPr/>
          </p:nvSpPr>
          <p:spPr>
            <a:xfrm>
              <a:off x="2874750" y="4673275"/>
              <a:ext cx="1986725" cy="1625"/>
            </a:xfrm>
            <a:custGeom>
              <a:avLst/>
              <a:gdLst/>
              <a:ahLst/>
              <a:cxnLst/>
              <a:rect l="l" t="t" r="r" b="b"/>
              <a:pathLst>
                <a:path w="79469" h="65" extrusionOk="0">
                  <a:moveTo>
                    <a:pt x="39735" y="0"/>
                  </a:moveTo>
                  <a:cubicBezTo>
                    <a:pt x="17787" y="0"/>
                    <a:pt x="1" y="19"/>
                    <a:pt x="1" y="37"/>
                  </a:cubicBezTo>
                  <a:cubicBezTo>
                    <a:pt x="1" y="46"/>
                    <a:pt x="17796" y="65"/>
                    <a:pt x="39735" y="65"/>
                  </a:cubicBezTo>
                  <a:cubicBezTo>
                    <a:pt x="61682" y="65"/>
                    <a:pt x="79468" y="46"/>
                    <a:pt x="79468" y="37"/>
                  </a:cubicBezTo>
                  <a:cubicBezTo>
                    <a:pt x="79468" y="19"/>
                    <a:pt x="61691" y="0"/>
                    <a:pt x="39735"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34" name="Google Shape;3704;p45"/>
            <p:cNvSpPr/>
            <p:nvPr/>
          </p:nvSpPr>
          <p:spPr>
            <a:xfrm>
              <a:off x="4066500" y="4308475"/>
              <a:ext cx="166200" cy="22575"/>
            </a:xfrm>
            <a:custGeom>
              <a:avLst/>
              <a:gdLst/>
              <a:ahLst/>
              <a:cxnLst/>
              <a:rect l="l" t="t" r="r" b="b"/>
              <a:pathLst>
                <a:path w="6648" h="903" extrusionOk="0">
                  <a:moveTo>
                    <a:pt x="451" y="0"/>
                  </a:moveTo>
                  <a:cubicBezTo>
                    <a:pt x="203" y="0"/>
                    <a:pt x="0" y="203"/>
                    <a:pt x="0" y="452"/>
                  </a:cubicBezTo>
                  <a:cubicBezTo>
                    <a:pt x="0" y="700"/>
                    <a:pt x="203" y="893"/>
                    <a:pt x="451" y="903"/>
                  </a:cubicBezTo>
                  <a:lnTo>
                    <a:pt x="6196" y="903"/>
                  </a:lnTo>
                  <a:cubicBezTo>
                    <a:pt x="6445" y="903"/>
                    <a:pt x="6647" y="700"/>
                    <a:pt x="6647" y="452"/>
                  </a:cubicBezTo>
                  <a:cubicBezTo>
                    <a:pt x="6647" y="203"/>
                    <a:pt x="6445" y="0"/>
                    <a:pt x="6196"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35" name="Google Shape;3705;p45"/>
            <p:cNvSpPr/>
            <p:nvPr/>
          </p:nvSpPr>
          <p:spPr>
            <a:xfrm>
              <a:off x="4056375" y="4285450"/>
              <a:ext cx="166200" cy="22600"/>
            </a:xfrm>
            <a:custGeom>
              <a:avLst/>
              <a:gdLst/>
              <a:ahLst/>
              <a:cxnLst/>
              <a:rect l="l" t="t" r="r" b="b"/>
              <a:pathLst>
                <a:path w="6648" h="904" extrusionOk="0">
                  <a:moveTo>
                    <a:pt x="451" y="1"/>
                  </a:moveTo>
                  <a:cubicBezTo>
                    <a:pt x="203" y="1"/>
                    <a:pt x="0" y="203"/>
                    <a:pt x="0" y="452"/>
                  </a:cubicBezTo>
                  <a:cubicBezTo>
                    <a:pt x="0" y="701"/>
                    <a:pt x="203" y="894"/>
                    <a:pt x="451" y="903"/>
                  </a:cubicBezTo>
                  <a:lnTo>
                    <a:pt x="6196" y="903"/>
                  </a:lnTo>
                  <a:cubicBezTo>
                    <a:pt x="6445" y="903"/>
                    <a:pt x="6647" y="701"/>
                    <a:pt x="6647" y="452"/>
                  </a:cubicBezTo>
                  <a:cubicBezTo>
                    <a:pt x="6647" y="194"/>
                    <a:pt x="6445" y="1"/>
                    <a:pt x="6196" y="1"/>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36" name="Google Shape;3706;p45"/>
            <p:cNvSpPr/>
            <p:nvPr/>
          </p:nvSpPr>
          <p:spPr>
            <a:xfrm>
              <a:off x="4091125" y="4296275"/>
              <a:ext cx="113475" cy="1400"/>
            </a:xfrm>
            <a:custGeom>
              <a:avLst/>
              <a:gdLst/>
              <a:ahLst/>
              <a:cxnLst/>
              <a:rect l="l" t="t" r="r" b="b"/>
              <a:pathLst>
                <a:path w="4539" h="56" extrusionOk="0">
                  <a:moveTo>
                    <a:pt x="2274" y="1"/>
                  </a:moveTo>
                  <a:cubicBezTo>
                    <a:pt x="1022" y="1"/>
                    <a:pt x="0" y="10"/>
                    <a:pt x="0" y="28"/>
                  </a:cubicBezTo>
                  <a:cubicBezTo>
                    <a:pt x="0" y="47"/>
                    <a:pt x="1022" y="56"/>
                    <a:pt x="2274" y="56"/>
                  </a:cubicBezTo>
                  <a:cubicBezTo>
                    <a:pt x="3526" y="56"/>
                    <a:pt x="4539" y="47"/>
                    <a:pt x="4539" y="28"/>
                  </a:cubicBezTo>
                  <a:cubicBezTo>
                    <a:pt x="4539" y="10"/>
                    <a:pt x="3526" y="1"/>
                    <a:pt x="2274"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37" name="Google Shape;3707;p45"/>
            <p:cNvSpPr/>
            <p:nvPr/>
          </p:nvSpPr>
          <p:spPr>
            <a:xfrm>
              <a:off x="3510450" y="4331025"/>
              <a:ext cx="896700" cy="342950"/>
            </a:xfrm>
            <a:custGeom>
              <a:avLst/>
              <a:gdLst/>
              <a:ahLst/>
              <a:cxnLst/>
              <a:rect l="l" t="t" r="r" b="b"/>
              <a:pathLst>
                <a:path w="35868" h="13718" extrusionOk="0">
                  <a:moveTo>
                    <a:pt x="0" y="1"/>
                  </a:moveTo>
                  <a:lnTo>
                    <a:pt x="0" y="13718"/>
                  </a:lnTo>
                  <a:lnTo>
                    <a:pt x="35867" y="13718"/>
                  </a:lnTo>
                  <a:lnTo>
                    <a:pt x="35867" y="1"/>
                  </a:ln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38" name="Google Shape;3708;p45"/>
            <p:cNvSpPr/>
            <p:nvPr/>
          </p:nvSpPr>
          <p:spPr>
            <a:xfrm>
              <a:off x="3434025" y="4331025"/>
              <a:ext cx="896700" cy="342950"/>
            </a:xfrm>
            <a:custGeom>
              <a:avLst/>
              <a:gdLst/>
              <a:ahLst/>
              <a:cxnLst/>
              <a:rect l="l" t="t" r="r" b="b"/>
              <a:pathLst>
                <a:path w="35868" h="13718" extrusionOk="0">
                  <a:moveTo>
                    <a:pt x="1" y="1"/>
                  </a:moveTo>
                  <a:lnTo>
                    <a:pt x="1" y="13718"/>
                  </a:lnTo>
                  <a:lnTo>
                    <a:pt x="35868" y="13718"/>
                  </a:lnTo>
                  <a:lnTo>
                    <a:pt x="35868" y="1"/>
                  </a:ln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39" name="Google Shape;3709;p45"/>
            <p:cNvSpPr/>
            <p:nvPr/>
          </p:nvSpPr>
          <p:spPr>
            <a:xfrm>
              <a:off x="3694100" y="4352200"/>
              <a:ext cx="438025" cy="105675"/>
            </a:xfrm>
            <a:custGeom>
              <a:avLst/>
              <a:gdLst/>
              <a:ahLst/>
              <a:cxnLst/>
              <a:rect l="l" t="t" r="r" b="b"/>
              <a:pathLst>
                <a:path w="17521" h="4227" extrusionOk="0">
                  <a:moveTo>
                    <a:pt x="1" y="1"/>
                  </a:moveTo>
                  <a:lnTo>
                    <a:pt x="1" y="4226"/>
                  </a:lnTo>
                  <a:lnTo>
                    <a:pt x="28" y="4226"/>
                  </a:lnTo>
                  <a:lnTo>
                    <a:pt x="12512" y="4217"/>
                  </a:lnTo>
                  <a:lnTo>
                    <a:pt x="16194" y="4189"/>
                  </a:lnTo>
                  <a:lnTo>
                    <a:pt x="16176" y="4189"/>
                  </a:lnTo>
                  <a:lnTo>
                    <a:pt x="12503" y="4180"/>
                  </a:lnTo>
                  <a:lnTo>
                    <a:pt x="65" y="4162"/>
                  </a:lnTo>
                  <a:lnTo>
                    <a:pt x="65" y="4162"/>
                  </a:lnTo>
                  <a:lnTo>
                    <a:pt x="65" y="56"/>
                  </a:lnTo>
                  <a:lnTo>
                    <a:pt x="65" y="56"/>
                  </a:lnTo>
                  <a:lnTo>
                    <a:pt x="17493" y="47"/>
                  </a:lnTo>
                  <a:lnTo>
                    <a:pt x="17493" y="47"/>
                  </a:lnTo>
                  <a:cubicBezTo>
                    <a:pt x="17511" y="1354"/>
                    <a:pt x="17511" y="2388"/>
                    <a:pt x="17511" y="3094"/>
                  </a:cubicBezTo>
                  <a:lnTo>
                    <a:pt x="17511" y="3103"/>
                  </a:lnTo>
                  <a:cubicBezTo>
                    <a:pt x="17511" y="2394"/>
                    <a:pt x="17520" y="1345"/>
                    <a:pt x="17520" y="28"/>
                  </a:cubicBezTo>
                  <a:lnTo>
                    <a:pt x="17520" y="10"/>
                  </a:lnTo>
                  <a:lnTo>
                    <a:pt x="17502" y="10"/>
                  </a:lnTo>
                  <a:lnTo>
                    <a:pt x="28" y="1"/>
                  </a:ln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40" name="Google Shape;3710;p45"/>
            <p:cNvSpPr/>
            <p:nvPr/>
          </p:nvSpPr>
          <p:spPr>
            <a:xfrm>
              <a:off x="3812625" y="4385575"/>
              <a:ext cx="292325" cy="71375"/>
            </a:xfrm>
            <a:custGeom>
              <a:avLst/>
              <a:gdLst/>
              <a:ahLst/>
              <a:cxnLst/>
              <a:rect l="l" t="t" r="r" b="b"/>
              <a:pathLst>
                <a:path w="11693" h="2855" extrusionOk="0">
                  <a:moveTo>
                    <a:pt x="1" y="1"/>
                  </a:moveTo>
                  <a:lnTo>
                    <a:pt x="1" y="2854"/>
                  </a:lnTo>
                  <a:lnTo>
                    <a:pt x="11693" y="2854"/>
                  </a:lnTo>
                  <a:lnTo>
                    <a:pt x="11693" y="1"/>
                  </a:ln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41" name="Google Shape;3711;p45"/>
            <p:cNvSpPr/>
            <p:nvPr/>
          </p:nvSpPr>
          <p:spPr>
            <a:xfrm>
              <a:off x="4048775" y="4386500"/>
              <a:ext cx="1400" cy="67225"/>
            </a:xfrm>
            <a:custGeom>
              <a:avLst/>
              <a:gdLst/>
              <a:ahLst/>
              <a:cxnLst/>
              <a:rect l="l" t="t" r="r" b="b"/>
              <a:pathLst>
                <a:path w="56" h="2689" extrusionOk="0">
                  <a:moveTo>
                    <a:pt x="28" y="0"/>
                  </a:moveTo>
                  <a:cubicBezTo>
                    <a:pt x="10" y="0"/>
                    <a:pt x="0" y="599"/>
                    <a:pt x="0" y="1344"/>
                  </a:cubicBezTo>
                  <a:cubicBezTo>
                    <a:pt x="0" y="2090"/>
                    <a:pt x="10" y="2689"/>
                    <a:pt x="28" y="2689"/>
                  </a:cubicBezTo>
                  <a:cubicBezTo>
                    <a:pt x="46" y="2689"/>
                    <a:pt x="56" y="2081"/>
                    <a:pt x="56" y="1344"/>
                  </a:cubicBezTo>
                  <a:cubicBezTo>
                    <a:pt x="56" y="599"/>
                    <a:pt x="46" y="0"/>
                    <a:pt x="28" y="0"/>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42" name="Google Shape;3712;p45"/>
            <p:cNvSpPr/>
            <p:nvPr/>
          </p:nvSpPr>
          <p:spPr>
            <a:xfrm>
              <a:off x="3813325" y="4420325"/>
              <a:ext cx="165725" cy="1400"/>
            </a:xfrm>
            <a:custGeom>
              <a:avLst/>
              <a:gdLst/>
              <a:ahLst/>
              <a:cxnLst/>
              <a:rect l="l" t="t" r="r" b="b"/>
              <a:pathLst>
                <a:path w="6629" h="56" extrusionOk="0">
                  <a:moveTo>
                    <a:pt x="3315" y="1"/>
                  </a:moveTo>
                  <a:cubicBezTo>
                    <a:pt x="1483" y="1"/>
                    <a:pt x="0" y="10"/>
                    <a:pt x="0" y="28"/>
                  </a:cubicBezTo>
                  <a:cubicBezTo>
                    <a:pt x="0" y="47"/>
                    <a:pt x="1483" y="56"/>
                    <a:pt x="3315" y="56"/>
                  </a:cubicBezTo>
                  <a:cubicBezTo>
                    <a:pt x="5138" y="56"/>
                    <a:pt x="6629" y="47"/>
                    <a:pt x="6629" y="28"/>
                  </a:cubicBezTo>
                  <a:cubicBezTo>
                    <a:pt x="6629" y="10"/>
                    <a:pt x="5138" y="1"/>
                    <a:pt x="3315" y="1"/>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43" name="Google Shape;3713;p45"/>
            <p:cNvSpPr/>
            <p:nvPr/>
          </p:nvSpPr>
          <p:spPr>
            <a:xfrm>
              <a:off x="4014475" y="4403300"/>
              <a:ext cx="9300" cy="6650"/>
            </a:xfrm>
            <a:custGeom>
              <a:avLst/>
              <a:gdLst/>
              <a:ahLst/>
              <a:cxnLst/>
              <a:rect l="l" t="t" r="r" b="b"/>
              <a:pathLst>
                <a:path w="372" h="266" extrusionOk="0">
                  <a:moveTo>
                    <a:pt x="196" y="1"/>
                  </a:moveTo>
                  <a:cubicBezTo>
                    <a:pt x="181" y="1"/>
                    <a:pt x="165" y="3"/>
                    <a:pt x="148" y="10"/>
                  </a:cubicBezTo>
                  <a:lnTo>
                    <a:pt x="102" y="28"/>
                  </a:lnTo>
                  <a:cubicBezTo>
                    <a:pt x="1" y="114"/>
                    <a:pt x="77" y="265"/>
                    <a:pt x="187" y="265"/>
                  </a:cubicBezTo>
                  <a:cubicBezTo>
                    <a:pt x="207" y="265"/>
                    <a:pt x="228" y="260"/>
                    <a:pt x="249" y="249"/>
                  </a:cubicBezTo>
                  <a:cubicBezTo>
                    <a:pt x="372" y="175"/>
                    <a:pt x="313" y="1"/>
                    <a:pt x="196" y="1"/>
                  </a:cubicBezTo>
                  <a:close/>
                </a:path>
              </a:pathLst>
            </a:custGeom>
            <a:solidFill>
              <a:srgbClr val="FAFA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44" name="Google Shape;3714;p45"/>
            <p:cNvSpPr/>
            <p:nvPr/>
          </p:nvSpPr>
          <p:spPr>
            <a:xfrm>
              <a:off x="4014275" y="4418275"/>
              <a:ext cx="9725" cy="6850"/>
            </a:xfrm>
            <a:custGeom>
              <a:avLst/>
              <a:gdLst/>
              <a:ahLst/>
              <a:cxnLst/>
              <a:rect l="l" t="t" r="r" b="b"/>
              <a:pathLst>
                <a:path w="389" h="274" extrusionOk="0">
                  <a:moveTo>
                    <a:pt x="205" y="0"/>
                  </a:moveTo>
                  <a:cubicBezTo>
                    <a:pt x="189" y="0"/>
                    <a:pt x="173" y="3"/>
                    <a:pt x="156" y="9"/>
                  </a:cubicBezTo>
                  <a:lnTo>
                    <a:pt x="110" y="27"/>
                  </a:lnTo>
                  <a:cubicBezTo>
                    <a:pt x="0" y="114"/>
                    <a:pt x="77" y="273"/>
                    <a:pt x="194" y="273"/>
                  </a:cubicBezTo>
                  <a:cubicBezTo>
                    <a:pt x="214" y="273"/>
                    <a:pt x="235" y="268"/>
                    <a:pt x="257" y="258"/>
                  </a:cubicBezTo>
                  <a:cubicBezTo>
                    <a:pt x="389" y="184"/>
                    <a:pt x="330" y="0"/>
                    <a:pt x="205"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45" name="Google Shape;3715;p45"/>
            <p:cNvSpPr/>
            <p:nvPr/>
          </p:nvSpPr>
          <p:spPr>
            <a:xfrm>
              <a:off x="3652900" y="4375675"/>
              <a:ext cx="347800" cy="255050"/>
            </a:xfrm>
            <a:custGeom>
              <a:avLst/>
              <a:gdLst/>
              <a:ahLst/>
              <a:cxnLst/>
              <a:rect l="l" t="t" r="r" b="b"/>
              <a:pathLst>
                <a:path w="13912" h="10202" extrusionOk="0">
                  <a:moveTo>
                    <a:pt x="13911" y="2265"/>
                  </a:moveTo>
                  <a:cubicBezTo>
                    <a:pt x="13819" y="2330"/>
                    <a:pt x="13736" y="2413"/>
                    <a:pt x="13672" y="2514"/>
                  </a:cubicBezTo>
                  <a:cubicBezTo>
                    <a:pt x="13598" y="2634"/>
                    <a:pt x="13552" y="2762"/>
                    <a:pt x="13525" y="2901"/>
                  </a:cubicBezTo>
                  <a:cubicBezTo>
                    <a:pt x="13523" y="2912"/>
                    <a:pt x="13521" y="2924"/>
                    <a:pt x="13520" y="2936"/>
                  </a:cubicBezTo>
                  <a:lnTo>
                    <a:pt x="13520" y="2936"/>
                  </a:lnTo>
                  <a:cubicBezTo>
                    <a:pt x="13521" y="2927"/>
                    <a:pt x="13523" y="2918"/>
                    <a:pt x="13525" y="2910"/>
                  </a:cubicBezTo>
                  <a:cubicBezTo>
                    <a:pt x="13552" y="2772"/>
                    <a:pt x="13598" y="2634"/>
                    <a:pt x="13681" y="2514"/>
                  </a:cubicBezTo>
                  <a:cubicBezTo>
                    <a:pt x="13727" y="2440"/>
                    <a:pt x="13782" y="2376"/>
                    <a:pt x="13856" y="2321"/>
                  </a:cubicBezTo>
                  <a:cubicBezTo>
                    <a:pt x="13874" y="2302"/>
                    <a:pt x="13893" y="2284"/>
                    <a:pt x="13911" y="2265"/>
                  </a:cubicBezTo>
                  <a:close/>
                  <a:moveTo>
                    <a:pt x="10376" y="5432"/>
                  </a:moveTo>
                  <a:cubicBezTo>
                    <a:pt x="10385" y="5432"/>
                    <a:pt x="10394" y="5432"/>
                    <a:pt x="10404" y="5432"/>
                  </a:cubicBezTo>
                  <a:cubicBezTo>
                    <a:pt x="10671" y="5432"/>
                    <a:pt x="10929" y="5534"/>
                    <a:pt x="11131" y="5708"/>
                  </a:cubicBezTo>
                  <a:cubicBezTo>
                    <a:pt x="11334" y="5893"/>
                    <a:pt x="11481" y="6132"/>
                    <a:pt x="11564" y="6390"/>
                  </a:cubicBezTo>
                  <a:cubicBezTo>
                    <a:pt x="11656" y="6647"/>
                    <a:pt x="11693" y="6933"/>
                    <a:pt x="11683" y="7209"/>
                  </a:cubicBezTo>
                  <a:cubicBezTo>
                    <a:pt x="11665" y="7485"/>
                    <a:pt x="11601" y="7771"/>
                    <a:pt x="11490" y="8028"/>
                  </a:cubicBezTo>
                  <a:cubicBezTo>
                    <a:pt x="11451" y="8125"/>
                    <a:pt x="11407" y="8218"/>
                    <a:pt x="11359" y="8309"/>
                  </a:cubicBezTo>
                  <a:lnTo>
                    <a:pt x="11359" y="8309"/>
                  </a:lnTo>
                  <a:cubicBezTo>
                    <a:pt x="10931" y="8264"/>
                    <a:pt x="10519" y="8070"/>
                    <a:pt x="10210" y="7734"/>
                  </a:cubicBezTo>
                  <a:cubicBezTo>
                    <a:pt x="10026" y="7568"/>
                    <a:pt x="9879" y="7375"/>
                    <a:pt x="9750" y="7154"/>
                  </a:cubicBezTo>
                  <a:cubicBezTo>
                    <a:pt x="9621" y="6942"/>
                    <a:pt x="9548" y="6703"/>
                    <a:pt x="9520" y="6454"/>
                  </a:cubicBezTo>
                  <a:cubicBezTo>
                    <a:pt x="9502" y="6206"/>
                    <a:pt x="9584" y="5948"/>
                    <a:pt x="9732" y="5745"/>
                  </a:cubicBezTo>
                  <a:cubicBezTo>
                    <a:pt x="9891" y="5550"/>
                    <a:pt x="10128" y="5432"/>
                    <a:pt x="10376" y="5432"/>
                  </a:cubicBezTo>
                  <a:close/>
                  <a:moveTo>
                    <a:pt x="1" y="1"/>
                  </a:moveTo>
                  <a:lnTo>
                    <a:pt x="1" y="93"/>
                  </a:lnTo>
                  <a:lnTo>
                    <a:pt x="28" y="350"/>
                  </a:lnTo>
                  <a:cubicBezTo>
                    <a:pt x="47" y="581"/>
                    <a:pt x="84" y="912"/>
                    <a:pt x="130" y="1345"/>
                  </a:cubicBezTo>
                  <a:cubicBezTo>
                    <a:pt x="185" y="1777"/>
                    <a:pt x="249" y="2302"/>
                    <a:pt x="360" y="2910"/>
                  </a:cubicBezTo>
                  <a:cubicBezTo>
                    <a:pt x="480" y="3591"/>
                    <a:pt x="654" y="4272"/>
                    <a:pt x="875" y="4935"/>
                  </a:cubicBezTo>
                  <a:cubicBezTo>
                    <a:pt x="1133" y="5745"/>
                    <a:pt x="1511" y="6509"/>
                    <a:pt x="1980" y="7218"/>
                  </a:cubicBezTo>
                  <a:cubicBezTo>
                    <a:pt x="2532" y="8028"/>
                    <a:pt x="3251" y="8710"/>
                    <a:pt x="4088" y="9207"/>
                  </a:cubicBezTo>
                  <a:cubicBezTo>
                    <a:pt x="5009" y="9768"/>
                    <a:pt x="6058" y="10100"/>
                    <a:pt x="7136" y="10183"/>
                  </a:cubicBezTo>
                  <a:cubicBezTo>
                    <a:pt x="7297" y="10196"/>
                    <a:pt x="7458" y="10202"/>
                    <a:pt x="7619" y="10202"/>
                  </a:cubicBezTo>
                  <a:cubicBezTo>
                    <a:pt x="8028" y="10202"/>
                    <a:pt x="8436" y="10161"/>
                    <a:pt x="8839" y="10081"/>
                  </a:cubicBezTo>
                  <a:cubicBezTo>
                    <a:pt x="9409" y="9971"/>
                    <a:pt x="9962" y="9741"/>
                    <a:pt x="10450" y="9409"/>
                  </a:cubicBezTo>
                  <a:cubicBezTo>
                    <a:pt x="10845" y="9141"/>
                    <a:pt x="11174" y="8776"/>
                    <a:pt x="11402" y="8358"/>
                  </a:cubicBezTo>
                  <a:lnTo>
                    <a:pt x="11402" y="8358"/>
                  </a:lnTo>
                  <a:cubicBezTo>
                    <a:pt x="11450" y="8361"/>
                    <a:pt x="11497" y="8363"/>
                    <a:pt x="11545" y="8363"/>
                  </a:cubicBezTo>
                  <a:cubicBezTo>
                    <a:pt x="11944" y="8363"/>
                    <a:pt x="12346" y="8238"/>
                    <a:pt x="12687" y="7982"/>
                  </a:cubicBezTo>
                  <a:cubicBezTo>
                    <a:pt x="13018" y="7752"/>
                    <a:pt x="13294" y="7439"/>
                    <a:pt x="13488" y="7071"/>
                  </a:cubicBezTo>
                  <a:cubicBezTo>
                    <a:pt x="13654" y="6740"/>
                    <a:pt x="13764" y="6390"/>
                    <a:pt x="13810" y="6012"/>
                  </a:cubicBezTo>
                  <a:cubicBezTo>
                    <a:pt x="13856" y="5690"/>
                    <a:pt x="13856" y="5359"/>
                    <a:pt x="13828" y="5027"/>
                  </a:cubicBezTo>
                  <a:cubicBezTo>
                    <a:pt x="13801" y="4742"/>
                    <a:pt x="13755" y="4456"/>
                    <a:pt x="13690" y="4180"/>
                  </a:cubicBezTo>
                  <a:cubicBezTo>
                    <a:pt x="13635" y="3922"/>
                    <a:pt x="13571" y="3692"/>
                    <a:pt x="13534" y="3481"/>
                  </a:cubicBezTo>
                  <a:cubicBezTo>
                    <a:pt x="13499" y="3299"/>
                    <a:pt x="13497" y="3117"/>
                    <a:pt x="13520" y="2936"/>
                  </a:cubicBezTo>
                  <a:lnTo>
                    <a:pt x="13520" y="2936"/>
                  </a:lnTo>
                  <a:cubicBezTo>
                    <a:pt x="13488" y="3120"/>
                    <a:pt x="13489" y="3305"/>
                    <a:pt x="13525" y="3481"/>
                  </a:cubicBezTo>
                  <a:cubicBezTo>
                    <a:pt x="13552" y="3702"/>
                    <a:pt x="13617" y="3932"/>
                    <a:pt x="13681" y="4189"/>
                  </a:cubicBezTo>
                  <a:cubicBezTo>
                    <a:pt x="13736" y="4466"/>
                    <a:pt x="13782" y="4751"/>
                    <a:pt x="13810" y="5036"/>
                  </a:cubicBezTo>
                  <a:cubicBezTo>
                    <a:pt x="13838" y="5359"/>
                    <a:pt x="13828" y="5690"/>
                    <a:pt x="13782" y="6012"/>
                  </a:cubicBezTo>
                  <a:cubicBezTo>
                    <a:pt x="13736" y="6381"/>
                    <a:pt x="13626" y="6730"/>
                    <a:pt x="13460" y="7062"/>
                  </a:cubicBezTo>
                  <a:cubicBezTo>
                    <a:pt x="13368" y="7227"/>
                    <a:pt x="13258" y="7393"/>
                    <a:pt x="13129" y="7540"/>
                  </a:cubicBezTo>
                  <a:cubicBezTo>
                    <a:pt x="12991" y="7697"/>
                    <a:pt x="12834" y="7835"/>
                    <a:pt x="12668" y="7946"/>
                  </a:cubicBezTo>
                  <a:cubicBezTo>
                    <a:pt x="12336" y="8197"/>
                    <a:pt x="11944" y="8319"/>
                    <a:pt x="11554" y="8319"/>
                  </a:cubicBezTo>
                  <a:cubicBezTo>
                    <a:pt x="11511" y="8319"/>
                    <a:pt x="11468" y="8318"/>
                    <a:pt x="11425" y="8315"/>
                  </a:cubicBezTo>
                  <a:lnTo>
                    <a:pt x="11425" y="8315"/>
                  </a:lnTo>
                  <a:cubicBezTo>
                    <a:pt x="11469" y="8231"/>
                    <a:pt x="11509" y="8144"/>
                    <a:pt x="11545" y="8056"/>
                  </a:cubicBezTo>
                  <a:cubicBezTo>
                    <a:pt x="11656" y="7780"/>
                    <a:pt x="11720" y="7504"/>
                    <a:pt x="11739" y="7209"/>
                  </a:cubicBezTo>
                  <a:cubicBezTo>
                    <a:pt x="11748" y="6924"/>
                    <a:pt x="11711" y="6638"/>
                    <a:pt x="11619" y="6371"/>
                  </a:cubicBezTo>
                  <a:cubicBezTo>
                    <a:pt x="11536" y="6095"/>
                    <a:pt x="11380" y="5856"/>
                    <a:pt x="11168" y="5672"/>
                  </a:cubicBezTo>
                  <a:cubicBezTo>
                    <a:pt x="10965" y="5478"/>
                    <a:pt x="10689" y="5377"/>
                    <a:pt x="10413" y="5377"/>
                  </a:cubicBezTo>
                  <a:cubicBezTo>
                    <a:pt x="10403" y="5377"/>
                    <a:pt x="10393" y="5377"/>
                    <a:pt x="10382" y="5377"/>
                  </a:cubicBezTo>
                  <a:cubicBezTo>
                    <a:pt x="10109" y="5377"/>
                    <a:pt x="9864" y="5495"/>
                    <a:pt x="9695" y="5708"/>
                  </a:cubicBezTo>
                  <a:cubicBezTo>
                    <a:pt x="9529" y="5929"/>
                    <a:pt x="9456" y="6187"/>
                    <a:pt x="9474" y="6463"/>
                  </a:cubicBezTo>
                  <a:cubicBezTo>
                    <a:pt x="9492" y="6712"/>
                    <a:pt x="9566" y="6960"/>
                    <a:pt x="9704" y="7191"/>
                  </a:cubicBezTo>
                  <a:cubicBezTo>
                    <a:pt x="9824" y="7402"/>
                    <a:pt x="9980" y="7596"/>
                    <a:pt x="10164" y="7771"/>
                  </a:cubicBezTo>
                  <a:cubicBezTo>
                    <a:pt x="10484" y="8108"/>
                    <a:pt x="10902" y="8304"/>
                    <a:pt x="11336" y="8352"/>
                  </a:cubicBezTo>
                  <a:lnTo>
                    <a:pt x="11336" y="8352"/>
                  </a:lnTo>
                  <a:cubicBezTo>
                    <a:pt x="11113" y="8755"/>
                    <a:pt x="10803" y="9100"/>
                    <a:pt x="10422" y="9363"/>
                  </a:cubicBezTo>
                  <a:cubicBezTo>
                    <a:pt x="9934" y="9685"/>
                    <a:pt x="9391" y="9916"/>
                    <a:pt x="8820" y="10026"/>
                  </a:cubicBezTo>
                  <a:cubicBezTo>
                    <a:pt x="8437" y="10103"/>
                    <a:pt x="8050" y="10139"/>
                    <a:pt x="7658" y="10139"/>
                  </a:cubicBezTo>
                  <a:cubicBezTo>
                    <a:pt x="7485" y="10139"/>
                    <a:pt x="7311" y="10132"/>
                    <a:pt x="7136" y="10118"/>
                  </a:cubicBezTo>
                  <a:cubicBezTo>
                    <a:pt x="6068" y="10045"/>
                    <a:pt x="5037" y="9713"/>
                    <a:pt x="4116" y="9161"/>
                  </a:cubicBezTo>
                  <a:cubicBezTo>
                    <a:pt x="3278" y="8664"/>
                    <a:pt x="2569" y="7992"/>
                    <a:pt x="2026" y="7181"/>
                  </a:cubicBezTo>
                  <a:cubicBezTo>
                    <a:pt x="1557" y="6482"/>
                    <a:pt x="1179" y="5727"/>
                    <a:pt x="912" y="4926"/>
                  </a:cubicBezTo>
                  <a:cubicBezTo>
                    <a:pt x="691" y="4263"/>
                    <a:pt x="516" y="3582"/>
                    <a:pt x="397" y="2901"/>
                  </a:cubicBezTo>
                  <a:cubicBezTo>
                    <a:pt x="286" y="2293"/>
                    <a:pt x="213" y="1768"/>
                    <a:pt x="157" y="1345"/>
                  </a:cubicBezTo>
                  <a:lnTo>
                    <a:pt x="38" y="350"/>
                  </a:lnTo>
                  <a:cubicBezTo>
                    <a:pt x="28" y="240"/>
                    <a:pt x="28" y="148"/>
                    <a:pt x="10" y="93"/>
                  </a:cubicBezTo>
                  <a:cubicBezTo>
                    <a:pt x="1" y="37"/>
                    <a:pt x="1" y="1"/>
                    <a:pt x="1"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46" name="Google Shape;3716;p45"/>
            <p:cNvSpPr/>
            <p:nvPr/>
          </p:nvSpPr>
          <p:spPr>
            <a:xfrm>
              <a:off x="4159025" y="4351525"/>
              <a:ext cx="147075" cy="303125"/>
            </a:xfrm>
            <a:custGeom>
              <a:avLst/>
              <a:gdLst/>
              <a:ahLst/>
              <a:cxnLst/>
              <a:rect l="l" t="t" r="r" b="b"/>
              <a:pathLst>
                <a:path w="5883" h="12125" extrusionOk="0">
                  <a:moveTo>
                    <a:pt x="0" y="0"/>
                  </a:moveTo>
                  <a:lnTo>
                    <a:pt x="0" y="28"/>
                  </a:lnTo>
                  <a:cubicBezTo>
                    <a:pt x="9" y="4695"/>
                    <a:pt x="9" y="8948"/>
                    <a:pt x="9" y="12097"/>
                  </a:cubicBezTo>
                  <a:lnTo>
                    <a:pt x="9" y="12115"/>
                  </a:lnTo>
                  <a:lnTo>
                    <a:pt x="37" y="12115"/>
                  </a:lnTo>
                  <a:lnTo>
                    <a:pt x="55" y="12115"/>
                  </a:lnTo>
                  <a:lnTo>
                    <a:pt x="55" y="12115"/>
                  </a:lnTo>
                  <a:lnTo>
                    <a:pt x="55" y="12115"/>
                  </a:lnTo>
                  <a:cubicBezTo>
                    <a:pt x="55" y="12115"/>
                    <a:pt x="55" y="12115"/>
                    <a:pt x="55" y="12115"/>
                  </a:cubicBezTo>
                  <a:lnTo>
                    <a:pt x="55" y="12115"/>
                  </a:lnTo>
                  <a:lnTo>
                    <a:pt x="4309" y="12106"/>
                  </a:lnTo>
                  <a:lnTo>
                    <a:pt x="4290" y="12106"/>
                  </a:lnTo>
                  <a:lnTo>
                    <a:pt x="55" y="12097"/>
                  </a:lnTo>
                  <a:lnTo>
                    <a:pt x="55" y="12097"/>
                  </a:lnTo>
                  <a:cubicBezTo>
                    <a:pt x="65" y="8956"/>
                    <a:pt x="65" y="4730"/>
                    <a:pt x="65" y="83"/>
                  </a:cubicBezTo>
                  <a:lnTo>
                    <a:pt x="5837" y="83"/>
                  </a:lnTo>
                  <a:cubicBezTo>
                    <a:pt x="5846" y="3579"/>
                    <a:pt x="5846" y="6588"/>
                    <a:pt x="5846" y="8718"/>
                  </a:cubicBezTo>
                  <a:cubicBezTo>
                    <a:pt x="5855" y="9786"/>
                    <a:pt x="5855" y="10633"/>
                    <a:pt x="5855" y="11222"/>
                  </a:cubicBezTo>
                  <a:lnTo>
                    <a:pt x="5855" y="11885"/>
                  </a:lnTo>
                  <a:lnTo>
                    <a:pt x="5855" y="12060"/>
                  </a:lnTo>
                  <a:lnTo>
                    <a:pt x="5855" y="12124"/>
                  </a:lnTo>
                  <a:cubicBezTo>
                    <a:pt x="5855" y="12124"/>
                    <a:pt x="5864" y="12078"/>
                    <a:pt x="5864" y="12042"/>
                  </a:cubicBezTo>
                  <a:lnTo>
                    <a:pt x="5864" y="11867"/>
                  </a:lnTo>
                  <a:lnTo>
                    <a:pt x="5864" y="11204"/>
                  </a:lnTo>
                  <a:cubicBezTo>
                    <a:pt x="5864" y="10624"/>
                    <a:pt x="5874" y="9777"/>
                    <a:pt x="5874" y="8709"/>
                  </a:cubicBezTo>
                  <a:cubicBezTo>
                    <a:pt x="5874" y="6573"/>
                    <a:pt x="5883" y="3554"/>
                    <a:pt x="5883" y="28"/>
                  </a:cubicBezTo>
                  <a:lnTo>
                    <a:pt x="5883" y="0"/>
                  </a:ln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47" name="Google Shape;3717;p45"/>
            <p:cNvSpPr/>
            <p:nvPr/>
          </p:nvSpPr>
          <p:spPr>
            <a:xfrm>
              <a:off x="4264650" y="4498350"/>
              <a:ext cx="20750" cy="17725"/>
            </a:xfrm>
            <a:custGeom>
              <a:avLst/>
              <a:gdLst/>
              <a:ahLst/>
              <a:cxnLst/>
              <a:rect l="l" t="t" r="r" b="b"/>
              <a:pathLst>
                <a:path w="830" h="709" extrusionOk="0">
                  <a:moveTo>
                    <a:pt x="479" y="1"/>
                  </a:moveTo>
                  <a:cubicBezTo>
                    <a:pt x="157" y="1"/>
                    <a:pt x="1" y="378"/>
                    <a:pt x="222" y="599"/>
                  </a:cubicBezTo>
                  <a:cubicBezTo>
                    <a:pt x="295" y="675"/>
                    <a:pt x="385" y="709"/>
                    <a:pt x="472" y="709"/>
                  </a:cubicBezTo>
                  <a:cubicBezTo>
                    <a:pt x="651" y="709"/>
                    <a:pt x="820" y="569"/>
                    <a:pt x="820" y="360"/>
                  </a:cubicBezTo>
                  <a:cubicBezTo>
                    <a:pt x="829" y="157"/>
                    <a:pt x="673" y="1"/>
                    <a:pt x="479"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48" name="Google Shape;3718;p45"/>
            <p:cNvSpPr/>
            <p:nvPr/>
          </p:nvSpPr>
          <p:spPr>
            <a:xfrm>
              <a:off x="4358800" y="4597025"/>
              <a:ext cx="108650" cy="72825"/>
            </a:xfrm>
            <a:custGeom>
              <a:avLst/>
              <a:gdLst/>
              <a:ahLst/>
              <a:cxnLst/>
              <a:rect l="l" t="t" r="r" b="b"/>
              <a:pathLst>
                <a:path w="4346" h="2913" extrusionOk="0">
                  <a:moveTo>
                    <a:pt x="3966" y="1"/>
                  </a:moveTo>
                  <a:cubicBezTo>
                    <a:pt x="3860" y="1"/>
                    <a:pt x="3754" y="18"/>
                    <a:pt x="3655" y="49"/>
                  </a:cubicBezTo>
                  <a:cubicBezTo>
                    <a:pt x="3324" y="132"/>
                    <a:pt x="3029" y="316"/>
                    <a:pt x="2799" y="565"/>
                  </a:cubicBezTo>
                  <a:cubicBezTo>
                    <a:pt x="2661" y="712"/>
                    <a:pt x="2550" y="878"/>
                    <a:pt x="2477" y="1062"/>
                  </a:cubicBezTo>
                  <a:cubicBezTo>
                    <a:pt x="2394" y="1264"/>
                    <a:pt x="2338" y="1467"/>
                    <a:pt x="2320" y="1678"/>
                  </a:cubicBezTo>
                  <a:cubicBezTo>
                    <a:pt x="2302" y="1890"/>
                    <a:pt x="2265" y="2093"/>
                    <a:pt x="2210" y="2295"/>
                  </a:cubicBezTo>
                  <a:cubicBezTo>
                    <a:pt x="2154" y="2479"/>
                    <a:pt x="2025" y="2636"/>
                    <a:pt x="1860" y="2728"/>
                  </a:cubicBezTo>
                  <a:cubicBezTo>
                    <a:pt x="1712" y="2811"/>
                    <a:pt x="1538" y="2857"/>
                    <a:pt x="1363" y="2866"/>
                  </a:cubicBezTo>
                  <a:cubicBezTo>
                    <a:pt x="1215" y="2866"/>
                    <a:pt x="1059" y="2866"/>
                    <a:pt x="902" y="2848"/>
                  </a:cubicBezTo>
                  <a:cubicBezTo>
                    <a:pt x="681" y="2829"/>
                    <a:pt x="460" y="2792"/>
                    <a:pt x="239" y="2756"/>
                  </a:cubicBezTo>
                  <a:lnTo>
                    <a:pt x="65" y="2719"/>
                  </a:lnTo>
                  <a:cubicBezTo>
                    <a:pt x="46" y="2710"/>
                    <a:pt x="19" y="2710"/>
                    <a:pt x="0" y="2710"/>
                  </a:cubicBezTo>
                  <a:cubicBezTo>
                    <a:pt x="19" y="2719"/>
                    <a:pt x="46" y="2719"/>
                    <a:pt x="65" y="2728"/>
                  </a:cubicBezTo>
                  <a:cubicBezTo>
                    <a:pt x="111" y="2737"/>
                    <a:pt x="166" y="2756"/>
                    <a:pt x="249" y="2774"/>
                  </a:cubicBezTo>
                  <a:cubicBezTo>
                    <a:pt x="460" y="2829"/>
                    <a:pt x="681" y="2866"/>
                    <a:pt x="902" y="2884"/>
                  </a:cubicBezTo>
                  <a:cubicBezTo>
                    <a:pt x="1059" y="2903"/>
                    <a:pt x="1215" y="2912"/>
                    <a:pt x="1372" y="2912"/>
                  </a:cubicBezTo>
                  <a:cubicBezTo>
                    <a:pt x="1556" y="2903"/>
                    <a:pt x="1731" y="2857"/>
                    <a:pt x="1897" y="2774"/>
                  </a:cubicBezTo>
                  <a:cubicBezTo>
                    <a:pt x="2071" y="2673"/>
                    <a:pt x="2210" y="2507"/>
                    <a:pt x="2265" y="2314"/>
                  </a:cubicBezTo>
                  <a:cubicBezTo>
                    <a:pt x="2329" y="2111"/>
                    <a:pt x="2366" y="1899"/>
                    <a:pt x="2384" y="1688"/>
                  </a:cubicBezTo>
                  <a:cubicBezTo>
                    <a:pt x="2403" y="1485"/>
                    <a:pt x="2449" y="1283"/>
                    <a:pt x="2532" y="1089"/>
                  </a:cubicBezTo>
                  <a:cubicBezTo>
                    <a:pt x="2734" y="601"/>
                    <a:pt x="3158" y="233"/>
                    <a:pt x="3664" y="86"/>
                  </a:cubicBezTo>
                  <a:cubicBezTo>
                    <a:pt x="3763" y="55"/>
                    <a:pt x="3862" y="37"/>
                    <a:pt x="3967" y="37"/>
                  </a:cubicBezTo>
                  <a:cubicBezTo>
                    <a:pt x="3988" y="37"/>
                    <a:pt x="4010" y="38"/>
                    <a:pt x="4032" y="40"/>
                  </a:cubicBezTo>
                  <a:cubicBezTo>
                    <a:pt x="4124" y="49"/>
                    <a:pt x="4217" y="86"/>
                    <a:pt x="4272" y="159"/>
                  </a:cubicBezTo>
                  <a:cubicBezTo>
                    <a:pt x="4309" y="205"/>
                    <a:pt x="4327" y="270"/>
                    <a:pt x="4327" y="325"/>
                  </a:cubicBezTo>
                  <a:cubicBezTo>
                    <a:pt x="4318" y="344"/>
                    <a:pt x="4318" y="371"/>
                    <a:pt x="4309" y="390"/>
                  </a:cubicBezTo>
                  <a:cubicBezTo>
                    <a:pt x="4327" y="371"/>
                    <a:pt x="4336" y="353"/>
                    <a:pt x="4336" y="325"/>
                  </a:cubicBezTo>
                  <a:cubicBezTo>
                    <a:pt x="4345" y="261"/>
                    <a:pt x="4327" y="196"/>
                    <a:pt x="4290" y="150"/>
                  </a:cubicBezTo>
                  <a:cubicBezTo>
                    <a:pt x="4235" y="67"/>
                    <a:pt x="4134" y="12"/>
                    <a:pt x="4032" y="3"/>
                  </a:cubicBezTo>
                  <a:cubicBezTo>
                    <a:pt x="4010" y="1"/>
                    <a:pt x="3988" y="1"/>
                    <a:pt x="3966"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49" name="Google Shape;3719;p45"/>
            <p:cNvSpPr/>
            <p:nvPr/>
          </p:nvSpPr>
          <p:spPr>
            <a:xfrm>
              <a:off x="4430825" y="4600150"/>
              <a:ext cx="102450" cy="70175"/>
            </a:xfrm>
            <a:custGeom>
              <a:avLst/>
              <a:gdLst/>
              <a:ahLst/>
              <a:cxnLst/>
              <a:rect l="l" t="t" r="r" b="b"/>
              <a:pathLst>
                <a:path w="4098" h="2807" extrusionOk="0">
                  <a:moveTo>
                    <a:pt x="3610" y="1"/>
                  </a:moveTo>
                  <a:cubicBezTo>
                    <a:pt x="3494" y="1"/>
                    <a:pt x="3380" y="22"/>
                    <a:pt x="3269" y="62"/>
                  </a:cubicBezTo>
                  <a:cubicBezTo>
                    <a:pt x="2974" y="173"/>
                    <a:pt x="2726" y="393"/>
                    <a:pt x="2597" y="679"/>
                  </a:cubicBezTo>
                  <a:cubicBezTo>
                    <a:pt x="2514" y="845"/>
                    <a:pt x="2449" y="1029"/>
                    <a:pt x="2422" y="1204"/>
                  </a:cubicBezTo>
                  <a:cubicBezTo>
                    <a:pt x="2394" y="1388"/>
                    <a:pt x="2394" y="1590"/>
                    <a:pt x="2357" y="1784"/>
                  </a:cubicBezTo>
                  <a:cubicBezTo>
                    <a:pt x="2339" y="1968"/>
                    <a:pt x="2265" y="2152"/>
                    <a:pt x="2146" y="2299"/>
                  </a:cubicBezTo>
                  <a:cubicBezTo>
                    <a:pt x="2026" y="2437"/>
                    <a:pt x="1888" y="2548"/>
                    <a:pt x="1722" y="2612"/>
                  </a:cubicBezTo>
                  <a:cubicBezTo>
                    <a:pt x="1501" y="2705"/>
                    <a:pt x="1269" y="2753"/>
                    <a:pt x="1034" y="2753"/>
                  </a:cubicBezTo>
                  <a:cubicBezTo>
                    <a:pt x="966" y="2753"/>
                    <a:pt x="898" y="2749"/>
                    <a:pt x="829" y="2741"/>
                  </a:cubicBezTo>
                  <a:cubicBezTo>
                    <a:pt x="627" y="2713"/>
                    <a:pt x="424" y="2677"/>
                    <a:pt x="222" y="2631"/>
                  </a:cubicBezTo>
                  <a:lnTo>
                    <a:pt x="56" y="2594"/>
                  </a:lnTo>
                  <a:cubicBezTo>
                    <a:pt x="37" y="2594"/>
                    <a:pt x="19" y="2585"/>
                    <a:pt x="1" y="2585"/>
                  </a:cubicBezTo>
                  <a:cubicBezTo>
                    <a:pt x="10" y="2594"/>
                    <a:pt x="28" y="2603"/>
                    <a:pt x="47" y="2612"/>
                  </a:cubicBezTo>
                  <a:cubicBezTo>
                    <a:pt x="83" y="2631"/>
                    <a:pt x="139" y="2640"/>
                    <a:pt x="212" y="2658"/>
                  </a:cubicBezTo>
                  <a:cubicBezTo>
                    <a:pt x="415" y="2723"/>
                    <a:pt x="617" y="2759"/>
                    <a:pt x="820" y="2787"/>
                  </a:cubicBezTo>
                  <a:cubicBezTo>
                    <a:pt x="906" y="2800"/>
                    <a:pt x="992" y="2806"/>
                    <a:pt x="1078" y="2806"/>
                  </a:cubicBezTo>
                  <a:cubicBezTo>
                    <a:pt x="1307" y="2806"/>
                    <a:pt x="1533" y="2761"/>
                    <a:pt x="1741" y="2667"/>
                  </a:cubicBezTo>
                  <a:cubicBezTo>
                    <a:pt x="1916" y="2594"/>
                    <a:pt x="2063" y="2483"/>
                    <a:pt x="2192" y="2345"/>
                  </a:cubicBezTo>
                  <a:cubicBezTo>
                    <a:pt x="2311" y="2189"/>
                    <a:pt x="2394" y="1995"/>
                    <a:pt x="2422" y="1793"/>
                  </a:cubicBezTo>
                  <a:cubicBezTo>
                    <a:pt x="2449" y="1599"/>
                    <a:pt x="2449" y="1397"/>
                    <a:pt x="2486" y="1213"/>
                  </a:cubicBezTo>
                  <a:cubicBezTo>
                    <a:pt x="2505" y="1038"/>
                    <a:pt x="2560" y="863"/>
                    <a:pt x="2643" y="706"/>
                  </a:cubicBezTo>
                  <a:cubicBezTo>
                    <a:pt x="2772" y="430"/>
                    <a:pt x="3002" y="219"/>
                    <a:pt x="3287" y="99"/>
                  </a:cubicBezTo>
                  <a:cubicBezTo>
                    <a:pt x="3403" y="55"/>
                    <a:pt x="3521" y="34"/>
                    <a:pt x="3641" y="34"/>
                  </a:cubicBezTo>
                  <a:cubicBezTo>
                    <a:pt x="3722" y="34"/>
                    <a:pt x="3804" y="44"/>
                    <a:pt x="3886" y="62"/>
                  </a:cubicBezTo>
                  <a:cubicBezTo>
                    <a:pt x="3959" y="90"/>
                    <a:pt x="4024" y="108"/>
                    <a:pt x="4097" y="145"/>
                  </a:cubicBezTo>
                  <a:cubicBezTo>
                    <a:pt x="4079" y="127"/>
                    <a:pt x="4070" y="117"/>
                    <a:pt x="4051" y="108"/>
                  </a:cubicBezTo>
                  <a:cubicBezTo>
                    <a:pt x="3996" y="80"/>
                    <a:pt x="3950" y="53"/>
                    <a:pt x="3895" y="44"/>
                  </a:cubicBezTo>
                  <a:cubicBezTo>
                    <a:pt x="3800" y="15"/>
                    <a:pt x="3704" y="1"/>
                    <a:pt x="3610"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50" name="Google Shape;3720;p45"/>
            <p:cNvSpPr/>
            <p:nvPr/>
          </p:nvSpPr>
          <p:spPr>
            <a:xfrm>
              <a:off x="4448325" y="4601450"/>
              <a:ext cx="39375" cy="39400"/>
            </a:xfrm>
            <a:custGeom>
              <a:avLst/>
              <a:gdLst/>
              <a:ahLst/>
              <a:cxnLst/>
              <a:rect l="l" t="t" r="r" b="b"/>
              <a:pathLst>
                <a:path w="1575" h="1576" extrusionOk="0">
                  <a:moveTo>
                    <a:pt x="783" y="1"/>
                  </a:moveTo>
                  <a:cubicBezTo>
                    <a:pt x="350" y="1"/>
                    <a:pt x="0" y="351"/>
                    <a:pt x="0" y="793"/>
                  </a:cubicBezTo>
                  <a:cubicBezTo>
                    <a:pt x="0" y="1225"/>
                    <a:pt x="350" y="1575"/>
                    <a:pt x="783" y="1575"/>
                  </a:cubicBezTo>
                  <a:cubicBezTo>
                    <a:pt x="1225" y="1575"/>
                    <a:pt x="1575" y="1225"/>
                    <a:pt x="1575" y="793"/>
                  </a:cubicBezTo>
                  <a:cubicBezTo>
                    <a:pt x="1575" y="351"/>
                    <a:pt x="1225" y="1"/>
                    <a:pt x="783"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51" name="Google Shape;3721;p45"/>
            <p:cNvSpPr/>
            <p:nvPr/>
          </p:nvSpPr>
          <p:spPr>
            <a:xfrm>
              <a:off x="4516225" y="4601450"/>
              <a:ext cx="39600" cy="39400"/>
            </a:xfrm>
            <a:custGeom>
              <a:avLst/>
              <a:gdLst/>
              <a:ahLst/>
              <a:cxnLst/>
              <a:rect l="l" t="t" r="r" b="b"/>
              <a:pathLst>
                <a:path w="1584" h="1576" extrusionOk="0">
                  <a:moveTo>
                    <a:pt x="792" y="1"/>
                  </a:moveTo>
                  <a:cubicBezTo>
                    <a:pt x="359" y="1"/>
                    <a:pt x="0" y="351"/>
                    <a:pt x="0" y="793"/>
                  </a:cubicBezTo>
                  <a:cubicBezTo>
                    <a:pt x="0" y="1225"/>
                    <a:pt x="359" y="1575"/>
                    <a:pt x="792" y="1575"/>
                  </a:cubicBezTo>
                  <a:cubicBezTo>
                    <a:pt x="1225" y="1575"/>
                    <a:pt x="1584" y="1225"/>
                    <a:pt x="1584" y="793"/>
                  </a:cubicBezTo>
                  <a:cubicBezTo>
                    <a:pt x="1584" y="351"/>
                    <a:pt x="1225" y="1"/>
                    <a:pt x="792"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52" name="Google Shape;3722;p45"/>
            <p:cNvSpPr/>
            <p:nvPr/>
          </p:nvSpPr>
          <p:spPr>
            <a:xfrm>
              <a:off x="4443250" y="4619650"/>
              <a:ext cx="244000" cy="54325"/>
            </a:xfrm>
            <a:custGeom>
              <a:avLst/>
              <a:gdLst/>
              <a:ahLst/>
              <a:cxnLst/>
              <a:rect l="l" t="t" r="r" b="b"/>
              <a:pathLst>
                <a:path w="9760" h="2173" extrusionOk="0">
                  <a:moveTo>
                    <a:pt x="1" y="0"/>
                  </a:moveTo>
                  <a:lnTo>
                    <a:pt x="1" y="2173"/>
                  </a:lnTo>
                  <a:lnTo>
                    <a:pt x="9759" y="2173"/>
                  </a:lnTo>
                  <a:lnTo>
                    <a:pt x="9759" y="0"/>
                  </a:ln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53" name="Google Shape;3723;p45"/>
            <p:cNvSpPr/>
            <p:nvPr/>
          </p:nvSpPr>
          <p:spPr>
            <a:xfrm>
              <a:off x="4410800" y="4619650"/>
              <a:ext cx="244000" cy="54325"/>
            </a:xfrm>
            <a:custGeom>
              <a:avLst/>
              <a:gdLst/>
              <a:ahLst/>
              <a:cxnLst/>
              <a:rect l="l" t="t" r="r" b="b"/>
              <a:pathLst>
                <a:path w="9760" h="2173" extrusionOk="0">
                  <a:moveTo>
                    <a:pt x="1" y="0"/>
                  </a:moveTo>
                  <a:lnTo>
                    <a:pt x="1" y="2173"/>
                  </a:lnTo>
                  <a:lnTo>
                    <a:pt x="9759" y="2173"/>
                  </a:lnTo>
                  <a:lnTo>
                    <a:pt x="9759" y="0"/>
                  </a:lnTo>
                  <a:close/>
                </a:path>
              </a:pathLst>
            </a:custGeom>
            <a:solidFill>
              <a:srgbClr val="EBEBE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54" name="Google Shape;3724;p45"/>
            <p:cNvSpPr/>
            <p:nvPr/>
          </p:nvSpPr>
          <p:spPr>
            <a:xfrm>
              <a:off x="3763150" y="4127575"/>
              <a:ext cx="186450" cy="202800"/>
            </a:xfrm>
            <a:custGeom>
              <a:avLst/>
              <a:gdLst/>
              <a:ahLst/>
              <a:cxnLst/>
              <a:rect l="l" t="t" r="r" b="b"/>
              <a:pathLst>
                <a:path w="7458" h="8112" extrusionOk="0">
                  <a:moveTo>
                    <a:pt x="1" y="0"/>
                  </a:moveTo>
                  <a:lnTo>
                    <a:pt x="1" y="8111"/>
                  </a:lnTo>
                  <a:lnTo>
                    <a:pt x="7458" y="8111"/>
                  </a:lnTo>
                  <a:lnTo>
                    <a:pt x="7458" y="0"/>
                  </a:ln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55" name="Google Shape;3725;p45"/>
            <p:cNvSpPr/>
            <p:nvPr/>
          </p:nvSpPr>
          <p:spPr>
            <a:xfrm>
              <a:off x="3419075" y="3642875"/>
              <a:ext cx="971275" cy="625575"/>
            </a:xfrm>
            <a:custGeom>
              <a:avLst/>
              <a:gdLst/>
              <a:ahLst/>
              <a:cxnLst/>
              <a:rect l="l" t="t" r="r" b="b"/>
              <a:pathLst>
                <a:path w="38851" h="25023" extrusionOk="0">
                  <a:moveTo>
                    <a:pt x="0" y="0"/>
                  </a:moveTo>
                  <a:lnTo>
                    <a:pt x="0" y="25023"/>
                  </a:lnTo>
                  <a:lnTo>
                    <a:pt x="38850" y="25023"/>
                  </a:lnTo>
                  <a:lnTo>
                    <a:pt x="38850" y="0"/>
                  </a:ln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56" name="Google Shape;3726;p45"/>
            <p:cNvSpPr/>
            <p:nvPr/>
          </p:nvSpPr>
          <p:spPr>
            <a:xfrm>
              <a:off x="3392375" y="3642875"/>
              <a:ext cx="971500" cy="625575"/>
            </a:xfrm>
            <a:custGeom>
              <a:avLst/>
              <a:gdLst/>
              <a:ahLst/>
              <a:cxnLst/>
              <a:rect l="l" t="t" r="r" b="b"/>
              <a:pathLst>
                <a:path w="38860" h="25023" extrusionOk="0">
                  <a:moveTo>
                    <a:pt x="0" y="0"/>
                  </a:moveTo>
                  <a:lnTo>
                    <a:pt x="0" y="25023"/>
                  </a:lnTo>
                  <a:lnTo>
                    <a:pt x="38860" y="25023"/>
                  </a:lnTo>
                  <a:lnTo>
                    <a:pt x="38860" y="0"/>
                  </a:ln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57" name="Google Shape;3727;p45"/>
            <p:cNvSpPr/>
            <p:nvPr/>
          </p:nvSpPr>
          <p:spPr>
            <a:xfrm>
              <a:off x="4362250" y="3642875"/>
              <a:ext cx="1625" cy="622825"/>
            </a:xfrm>
            <a:custGeom>
              <a:avLst/>
              <a:gdLst/>
              <a:ahLst/>
              <a:cxnLst/>
              <a:rect l="l" t="t" r="r" b="b"/>
              <a:pathLst>
                <a:path w="65" h="24913" extrusionOk="0">
                  <a:moveTo>
                    <a:pt x="28" y="0"/>
                  </a:moveTo>
                  <a:cubicBezTo>
                    <a:pt x="9" y="0"/>
                    <a:pt x="0" y="5579"/>
                    <a:pt x="0" y="12456"/>
                  </a:cubicBezTo>
                  <a:cubicBezTo>
                    <a:pt x="0" y="19333"/>
                    <a:pt x="19" y="24912"/>
                    <a:pt x="28" y="24912"/>
                  </a:cubicBezTo>
                  <a:cubicBezTo>
                    <a:pt x="46" y="24912"/>
                    <a:pt x="65" y="19333"/>
                    <a:pt x="65" y="12456"/>
                  </a:cubicBezTo>
                  <a:cubicBezTo>
                    <a:pt x="65" y="5579"/>
                    <a:pt x="46" y="0"/>
                    <a:pt x="28" y="0"/>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58" name="Google Shape;3728;p45"/>
            <p:cNvSpPr/>
            <p:nvPr/>
          </p:nvSpPr>
          <p:spPr>
            <a:xfrm>
              <a:off x="3417000" y="3669350"/>
              <a:ext cx="860350" cy="573775"/>
            </a:xfrm>
            <a:custGeom>
              <a:avLst/>
              <a:gdLst/>
              <a:ahLst/>
              <a:cxnLst/>
              <a:rect l="l" t="t" r="r" b="b"/>
              <a:pathLst>
                <a:path w="34414" h="22951" extrusionOk="0">
                  <a:moveTo>
                    <a:pt x="0" y="0"/>
                  </a:moveTo>
                  <a:lnTo>
                    <a:pt x="0" y="22951"/>
                  </a:lnTo>
                  <a:lnTo>
                    <a:pt x="34413" y="22951"/>
                  </a:lnTo>
                  <a:lnTo>
                    <a:pt x="34413"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59" name="Google Shape;3729;p45"/>
            <p:cNvSpPr/>
            <p:nvPr/>
          </p:nvSpPr>
          <p:spPr>
            <a:xfrm>
              <a:off x="3798125" y="4072350"/>
              <a:ext cx="27200" cy="105425"/>
            </a:xfrm>
            <a:custGeom>
              <a:avLst/>
              <a:gdLst/>
              <a:ahLst/>
              <a:cxnLst/>
              <a:rect l="l" t="t" r="r" b="b"/>
              <a:pathLst>
                <a:path w="1088" h="4217" extrusionOk="0">
                  <a:moveTo>
                    <a:pt x="544" y="0"/>
                  </a:moveTo>
                  <a:cubicBezTo>
                    <a:pt x="249" y="0"/>
                    <a:pt x="1" y="249"/>
                    <a:pt x="1" y="543"/>
                  </a:cubicBezTo>
                  <a:lnTo>
                    <a:pt x="1" y="4216"/>
                  </a:lnTo>
                  <a:lnTo>
                    <a:pt x="1087" y="4216"/>
                  </a:lnTo>
                  <a:lnTo>
                    <a:pt x="1087" y="543"/>
                  </a:lnTo>
                  <a:cubicBezTo>
                    <a:pt x="1087" y="249"/>
                    <a:pt x="848" y="0"/>
                    <a:pt x="544"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60" name="Google Shape;3730;p45"/>
            <p:cNvSpPr/>
            <p:nvPr/>
          </p:nvSpPr>
          <p:spPr>
            <a:xfrm>
              <a:off x="3798125" y="4072350"/>
              <a:ext cx="27200" cy="105425"/>
            </a:xfrm>
            <a:custGeom>
              <a:avLst/>
              <a:gdLst/>
              <a:ahLst/>
              <a:cxnLst/>
              <a:rect l="l" t="t" r="r" b="b"/>
              <a:pathLst>
                <a:path w="1088" h="4217" extrusionOk="0">
                  <a:moveTo>
                    <a:pt x="544" y="0"/>
                  </a:moveTo>
                  <a:cubicBezTo>
                    <a:pt x="249" y="0"/>
                    <a:pt x="1" y="249"/>
                    <a:pt x="1" y="543"/>
                  </a:cubicBezTo>
                  <a:lnTo>
                    <a:pt x="1" y="4216"/>
                  </a:lnTo>
                  <a:lnTo>
                    <a:pt x="1087" y="4216"/>
                  </a:lnTo>
                  <a:lnTo>
                    <a:pt x="1087" y="543"/>
                  </a:lnTo>
                  <a:cubicBezTo>
                    <a:pt x="1087" y="249"/>
                    <a:pt x="848" y="0"/>
                    <a:pt x="544" y="0"/>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61" name="Google Shape;3731;p45"/>
            <p:cNvSpPr/>
            <p:nvPr/>
          </p:nvSpPr>
          <p:spPr>
            <a:xfrm>
              <a:off x="3798375" y="4084300"/>
              <a:ext cx="26950" cy="250"/>
            </a:xfrm>
            <a:custGeom>
              <a:avLst/>
              <a:gdLst/>
              <a:ahLst/>
              <a:cxnLst/>
              <a:rect l="l" t="t" r="r" b="b"/>
              <a:pathLst>
                <a:path w="1078" h="10" extrusionOk="0">
                  <a:moveTo>
                    <a:pt x="534" y="1"/>
                  </a:moveTo>
                  <a:cubicBezTo>
                    <a:pt x="239" y="1"/>
                    <a:pt x="0" y="1"/>
                    <a:pt x="0" y="10"/>
                  </a:cubicBezTo>
                  <a:lnTo>
                    <a:pt x="1077" y="10"/>
                  </a:lnTo>
                  <a:cubicBezTo>
                    <a:pt x="1077" y="1"/>
                    <a:pt x="838" y="1"/>
                    <a:pt x="534"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62" name="Google Shape;3732;p45"/>
            <p:cNvSpPr/>
            <p:nvPr/>
          </p:nvSpPr>
          <p:spPr>
            <a:xfrm>
              <a:off x="3798375" y="4107775"/>
              <a:ext cx="26950" cy="250"/>
            </a:xfrm>
            <a:custGeom>
              <a:avLst/>
              <a:gdLst/>
              <a:ahLst/>
              <a:cxnLst/>
              <a:rect l="l" t="t" r="r" b="b"/>
              <a:pathLst>
                <a:path w="1078" h="10" extrusionOk="0">
                  <a:moveTo>
                    <a:pt x="534" y="1"/>
                  </a:moveTo>
                  <a:cubicBezTo>
                    <a:pt x="239" y="1"/>
                    <a:pt x="0" y="1"/>
                    <a:pt x="0" y="10"/>
                  </a:cubicBezTo>
                  <a:lnTo>
                    <a:pt x="1077" y="10"/>
                  </a:lnTo>
                  <a:cubicBezTo>
                    <a:pt x="1077" y="1"/>
                    <a:pt x="838" y="1"/>
                    <a:pt x="534"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63" name="Google Shape;3733;p45"/>
            <p:cNvSpPr/>
            <p:nvPr/>
          </p:nvSpPr>
          <p:spPr>
            <a:xfrm>
              <a:off x="3817700" y="4084525"/>
              <a:ext cx="250" cy="23500"/>
            </a:xfrm>
            <a:custGeom>
              <a:avLst/>
              <a:gdLst/>
              <a:ahLst/>
              <a:cxnLst/>
              <a:rect l="l" t="t" r="r" b="b"/>
              <a:pathLst>
                <a:path w="10" h="940" extrusionOk="0">
                  <a:moveTo>
                    <a:pt x="0" y="1"/>
                  </a:moveTo>
                  <a:cubicBezTo>
                    <a:pt x="0" y="1"/>
                    <a:pt x="0" y="213"/>
                    <a:pt x="0" y="470"/>
                  </a:cubicBezTo>
                  <a:cubicBezTo>
                    <a:pt x="0" y="728"/>
                    <a:pt x="0" y="940"/>
                    <a:pt x="0" y="940"/>
                  </a:cubicBezTo>
                  <a:cubicBezTo>
                    <a:pt x="10" y="940"/>
                    <a:pt x="10" y="728"/>
                    <a:pt x="10" y="470"/>
                  </a:cubicBezTo>
                  <a:cubicBezTo>
                    <a:pt x="10" y="213"/>
                    <a:pt x="10" y="1"/>
                    <a:pt x="0"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64" name="Google Shape;3734;p45"/>
            <p:cNvSpPr/>
            <p:nvPr/>
          </p:nvSpPr>
          <p:spPr>
            <a:xfrm>
              <a:off x="3812625" y="4090300"/>
              <a:ext cx="2100" cy="2075"/>
            </a:xfrm>
            <a:custGeom>
              <a:avLst/>
              <a:gdLst/>
              <a:ahLst/>
              <a:cxnLst/>
              <a:rect l="l" t="t" r="r" b="b"/>
              <a:pathLst>
                <a:path w="84" h="83" extrusionOk="0">
                  <a:moveTo>
                    <a:pt x="38" y="0"/>
                  </a:moveTo>
                  <a:cubicBezTo>
                    <a:pt x="19" y="0"/>
                    <a:pt x="1" y="18"/>
                    <a:pt x="1" y="37"/>
                  </a:cubicBezTo>
                  <a:cubicBezTo>
                    <a:pt x="1" y="65"/>
                    <a:pt x="19" y="83"/>
                    <a:pt x="38" y="83"/>
                  </a:cubicBezTo>
                  <a:cubicBezTo>
                    <a:pt x="65" y="83"/>
                    <a:pt x="84" y="65"/>
                    <a:pt x="84" y="37"/>
                  </a:cubicBezTo>
                  <a:cubicBezTo>
                    <a:pt x="84" y="18"/>
                    <a:pt x="65" y="0"/>
                    <a:pt x="38"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65" name="Google Shape;3735;p45"/>
            <p:cNvSpPr/>
            <p:nvPr/>
          </p:nvSpPr>
          <p:spPr>
            <a:xfrm>
              <a:off x="3812625" y="4098525"/>
              <a:ext cx="2100" cy="1925"/>
            </a:xfrm>
            <a:custGeom>
              <a:avLst/>
              <a:gdLst/>
              <a:ahLst/>
              <a:cxnLst/>
              <a:rect l="l" t="t" r="r" b="b"/>
              <a:pathLst>
                <a:path w="84" h="77" extrusionOk="0">
                  <a:moveTo>
                    <a:pt x="51" y="0"/>
                  </a:moveTo>
                  <a:cubicBezTo>
                    <a:pt x="47" y="0"/>
                    <a:pt x="43" y="1"/>
                    <a:pt x="38" y="2"/>
                  </a:cubicBezTo>
                  <a:cubicBezTo>
                    <a:pt x="19" y="2"/>
                    <a:pt x="1" y="12"/>
                    <a:pt x="1" y="39"/>
                  </a:cubicBezTo>
                  <a:cubicBezTo>
                    <a:pt x="1" y="58"/>
                    <a:pt x="19" y="76"/>
                    <a:pt x="38" y="76"/>
                  </a:cubicBezTo>
                  <a:cubicBezTo>
                    <a:pt x="65" y="76"/>
                    <a:pt x="84" y="58"/>
                    <a:pt x="84" y="39"/>
                  </a:cubicBezTo>
                  <a:cubicBezTo>
                    <a:pt x="84" y="17"/>
                    <a:pt x="71" y="0"/>
                    <a:pt x="51"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66" name="Google Shape;3736;p45"/>
            <p:cNvSpPr/>
            <p:nvPr/>
          </p:nvSpPr>
          <p:spPr>
            <a:xfrm>
              <a:off x="3798375" y="4155425"/>
              <a:ext cx="26950" cy="475"/>
            </a:xfrm>
            <a:custGeom>
              <a:avLst/>
              <a:gdLst/>
              <a:ahLst/>
              <a:cxnLst/>
              <a:rect l="l" t="t" r="r" b="b"/>
              <a:pathLst>
                <a:path w="1078" h="19" extrusionOk="0">
                  <a:moveTo>
                    <a:pt x="534" y="0"/>
                  </a:moveTo>
                  <a:cubicBezTo>
                    <a:pt x="239" y="0"/>
                    <a:pt x="0" y="0"/>
                    <a:pt x="0" y="10"/>
                  </a:cubicBezTo>
                  <a:cubicBezTo>
                    <a:pt x="0" y="19"/>
                    <a:pt x="239" y="19"/>
                    <a:pt x="534" y="19"/>
                  </a:cubicBezTo>
                  <a:cubicBezTo>
                    <a:pt x="838" y="19"/>
                    <a:pt x="1077" y="10"/>
                    <a:pt x="1077" y="10"/>
                  </a:cubicBezTo>
                  <a:cubicBezTo>
                    <a:pt x="1077" y="0"/>
                    <a:pt x="838" y="0"/>
                    <a:pt x="534"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67" name="Google Shape;3737;p45"/>
            <p:cNvSpPr/>
            <p:nvPr/>
          </p:nvSpPr>
          <p:spPr>
            <a:xfrm>
              <a:off x="3817700" y="4132175"/>
              <a:ext cx="250" cy="23500"/>
            </a:xfrm>
            <a:custGeom>
              <a:avLst/>
              <a:gdLst/>
              <a:ahLst/>
              <a:cxnLst/>
              <a:rect l="l" t="t" r="r" b="b"/>
              <a:pathLst>
                <a:path w="10" h="940" extrusionOk="0">
                  <a:moveTo>
                    <a:pt x="0" y="1"/>
                  </a:moveTo>
                  <a:cubicBezTo>
                    <a:pt x="0" y="1"/>
                    <a:pt x="0" y="212"/>
                    <a:pt x="0" y="470"/>
                  </a:cubicBezTo>
                  <a:cubicBezTo>
                    <a:pt x="0" y="728"/>
                    <a:pt x="0" y="940"/>
                    <a:pt x="0" y="940"/>
                  </a:cubicBezTo>
                  <a:cubicBezTo>
                    <a:pt x="10" y="940"/>
                    <a:pt x="10" y="728"/>
                    <a:pt x="10" y="470"/>
                  </a:cubicBezTo>
                  <a:cubicBezTo>
                    <a:pt x="10" y="212"/>
                    <a:pt x="10" y="1"/>
                    <a:pt x="0"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68" name="Google Shape;3738;p45"/>
            <p:cNvSpPr/>
            <p:nvPr/>
          </p:nvSpPr>
          <p:spPr>
            <a:xfrm>
              <a:off x="3812625" y="4137925"/>
              <a:ext cx="2100" cy="2100"/>
            </a:xfrm>
            <a:custGeom>
              <a:avLst/>
              <a:gdLst/>
              <a:ahLst/>
              <a:cxnLst/>
              <a:rect l="l" t="t" r="r" b="b"/>
              <a:pathLst>
                <a:path w="84" h="84" extrusionOk="0">
                  <a:moveTo>
                    <a:pt x="38" y="1"/>
                  </a:moveTo>
                  <a:cubicBezTo>
                    <a:pt x="1" y="10"/>
                    <a:pt x="1" y="74"/>
                    <a:pt x="38" y="84"/>
                  </a:cubicBezTo>
                  <a:cubicBezTo>
                    <a:pt x="65" y="84"/>
                    <a:pt x="84" y="65"/>
                    <a:pt x="84" y="47"/>
                  </a:cubicBezTo>
                  <a:cubicBezTo>
                    <a:pt x="84" y="19"/>
                    <a:pt x="65" y="1"/>
                    <a:pt x="38"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69" name="Google Shape;3739;p45"/>
            <p:cNvSpPr/>
            <p:nvPr/>
          </p:nvSpPr>
          <p:spPr>
            <a:xfrm>
              <a:off x="3812625" y="4146225"/>
              <a:ext cx="2100" cy="1850"/>
            </a:xfrm>
            <a:custGeom>
              <a:avLst/>
              <a:gdLst/>
              <a:ahLst/>
              <a:cxnLst/>
              <a:rect l="l" t="t" r="r" b="b"/>
              <a:pathLst>
                <a:path w="84" h="74" extrusionOk="0">
                  <a:moveTo>
                    <a:pt x="38" y="0"/>
                  </a:moveTo>
                  <a:cubicBezTo>
                    <a:pt x="1" y="9"/>
                    <a:pt x="1" y="65"/>
                    <a:pt x="38" y="74"/>
                  </a:cubicBezTo>
                  <a:cubicBezTo>
                    <a:pt x="65" y="74"/>
                    <a:pt x="84" y="55"/>
                    <a:pt x="84" y="37"/>
                  </a:cubicBezTo>
                  <a:cubicBezTo>
                    <a:pt x="84" y="19"/>
                    <a:pt x="65" y="0"/>
                    <a:pt x="38"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70" name="Google Shape;3740;p45"/>
            <p:cNvSpPr/>
            <p:nvPr/>
          </p:nvSpPr>
          <p:spPr>
            <a:xfrm>
              <a:off x="3798375" y="4131950"/>
              <a:ext cx="26950" cy="250"/>
            </a:xfrm>
            <a:custGeom>
              <a:avLst/>
              <a:gdLst/>
              <a:ahLst/>
              <a:cxnLst/>
              <a:rect l="l" t="t" r="r" b="b"/>
              <a:pathLst>
                <a:path w="1078" h="10" extrusionOk="0">
                  <a:moveTo>
                    <a:pt x="0" y="0"/>
                  </a:moveTo>
                  <a:cubicBezTo>
                    <a:pt x="0" y="10"/>
                    <a:pt x="239" y="10"/>
                    <a:pt x="534" y="10"/>
                  </a:cubicBezTo>
                  <a:cubicBezTo>
                    <a:pt x="838" y="10"/>
                    <a:pt x="1077" y="10"/>
                    <a:pt x="1077"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71" name="Google Shape;3741;p45"/>
            <p:cNvSpPr/>
            <p:nvPr/>
          </p:nvSpPr>
          <p:spPr>
            <a:xfrm>
              <a:off x="3805725" y="4108475"/>
              <a:ext cx="250" cy="23500"/>
            </a:xfrm>
            <a:custGeom>
              <a:avLst/>
              <a:gdLst/>
              <a:ahLst/>
              <a:cxnLst/>
              <a:rect l="l" t="t" r="r" b="b"/>
              <a:pathLst>
                <a:path w="10" h="940" extrusionOk="0">
                  <a:moveTo>
                    <a:pt x="1" y="0"/>
                  </a:moveTo>
                  <a:cubicBezTo>
                    <a:pt x="1" y="0"/>
                    <a:pt x="1" y="212"/>
                    <a:pt x="1" y="470"/>
                  </a:cubicBezTo>
                  <a:cubicBezTo>
                    <a:pt x="1" y="728"/>
                    <a:pt x="1" y="939"/>
                    <a:pt x="1" y="939"/>
                  </a:cubicBezTo>
                  <a:cubicBezTo>
                    <a:pt x="10" y="939"/>
                    <a:pt x="10" y="728"/>
                    <a:pt x="10" y="470"/>
                  </a:cubicBezTo>
                  <a:cubicBezTo>
                    <a:pt x="10" y="212"/>
                    <a:pt x="10" y="0"/>
                    <a:pt x="1"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72" name="Google Shape;3742;p45"/>
            <p:cNvSpPr/>
            <p:nvPr/>
          </p:nvSpPr>
          <p:spPr>
            <a:xfrm>
              <a:off x="3808950" y="4114450"/>
              <a:ext cx="2100" cy="1875"/>
            </a:xfrm>
            <a:custGeom>
              <a:avLst/>
              <a:gdLst/>
              <a:ahLst/>
              <a:cxnLst/>
              <a:rect l="l" t="t" r="r" b="b"/>
              <a:pathLst>
                <a:path w="84" h="75" extrusionOk="0">
                  <a:moveTo>
                    <a:pt x="37" y="1"/>
                  </a:moveTo>
                  <a:cubicBezTo>
                    <a:pt x="19" y="1"/>
                    <a:pt x="1" y="19"/>
                    <a:pt x="1" y="38"/>
                  </a:cubicBezTo>
                  <a:cubicBezTo>
                    <a:pt x="1" y="56"/>
                    <a:pt x="19" y="74"/>
                    <a:pt x="37" y="74"/>
                  </a:cubicBezTo>
                  <a:cubicBezTo>
                    <a:pt x="83" y="65"/>
                    <a:pt x="83" y="10"/>
                    <a:pt x="37"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73" name="Google Shape;3743;p45"/>
            <p:cNvSpPr/>
            <p:nvPr/>
          </p:nvSpPr>
          <p:spPr>
            <a:xfrm>
              <a:off x="3808950" y="4122500"/>
              <a:ext cx="2100" cy="1875"/>
            </a:xfrm>
            <a:custGeom>
              <a:avLst/>
              <a:gdLst/>
              <a:ahLst/>
              <a:cxnLst/>
              <a:rect l="l" t="t" r="r" b="b"/>
              <a:pathLst>
                <a:path w="84" h="75" extrusionOk="0">
                  <a:moveTo>
                    <a:pt x="37" y="1"/>
                  </a:moveTo>
                  <a:cubicBezTo>
                    <a:pt x="19" y="1"/>
                    <a:pt x="1" y="19"/>
                    <a:pt x="1" y="38"/>
                  </a:cubicBezTo>
                  <a:cubicBezTo>
                    <a:pt x="1" y="56"/>
                    <a:pt x="19" y="75"/>
                    <a:pt x="37" y="75"/>
                  </a:cubicBezTo>
                  <a:cubicBezTo>
                    <a:pt x="83" y="75"/>
                    <a:pt x="83" y="10"/>
                    <a:pt x="37"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74" name="Google Shape;3744;p45"/>
            <p:cNvSpPr/>
            <p:nvPr/>
          </p:nvSpPr>
          <p:spPr>
            <a:xfrm>
              <a:off x="3799975" y="4075325"/>
              <a:ext cx="6475" cy="11525"/>
            </a:xfrm>
            <a:custGeom>
              <a:avLst/>
              <a:gdLst/>
              <a:ahLst/>
              <a:cxnLst/>
              <a:rect l="l" t="t" r="r" b="b"/>
              <a:pathLst>
                <a:path w="259" h="461" extrusionOk="0">
                  <a:moveTo>
                    <a:pt x="258" y="1"/>
                  </a:moveTo>
                  <a:lnTo>
                    <a:pt x="258" y="1"/>
                  </a:lnTo>
                  <a:cubicBezTo>
                    <a:pt x="258" y="1"/>
                    <a:pt x="249" y="10"/>
                    <a:pt x="240" y="10"/>
                  </a:cubicBezTo>
                  <a:lnTo>
                    <a:pt x="212" y="28"/>
                  </a:lnTo>
                  <a:cubicBezTo>
                    <a:pt x="203" y="28"/>
                    <a:pt x="194" y="38"/>
                    <a:pt x="185" y="47"/>
                  </a:cubicBezTo>
                  <a:cubicBezTo>
                    <a:pt x="166" y="65"/>
                    <a:pt x="148" y="84"/>
                    <a:pt x="129" y="111"/>
                  </a:cubicBezTo>
                  <a:cubicBezTo>
                    <a:pt x="102" y="139"/>
                    <a:pt x="83" y="166"/>
                    <a:pt x="65" y="203"/>
                  </a:cubicBezTo>
                  <a:cubicBezTo>
                    <a:pt x="37" y="258"/>
                    <a:pt x="19" y="323"/>
                    <a:pt x="10" y="387"/>
                  </a:cubicBezTo>
                  <a:cubicBezTo>
                    <a:pt x="1" y="406"/>
                    <a:pt x="1" y="433"/>
                    <a:pt x="1" y="443"/>
                  </a:cubicBezTo>
                  <a:lnTo>
                    <a:pt x="1" y="461"/>
                  </a:lnTo>
                  <a:cubicBezTo>
                    <a:pt x="10" y="433"/>
                    <a:pt x="10" y="415"/>
                    <a:pt x="19" y="387"/>
                  </a:cubicBezTo>
                  <a:cubicBezTo>
                    <a:pt x="28" y="323"/>
                    <a:pt x="56" y="258"/>
                    <a:pt x="83" y="203"/>
                  </a:cubicBezTo>
                  <a:cubicBezTo>
                    <a:pt x="93" y="176"/>
                    <a:pt x="111" y="148"/>
                    <a:pt x="139" y="120"/>
                  </a:cubicBezTo>
                  <a:cubicBezTo>
                    <a:pt x="157" y="93"/>
                    <a:pt x="175" y="74"/>
                    <a:pt x="194" y="56"/>
                  </a:cubicBezTo>
                  <a:cubicBezTo>
                    <a:pt x="231" y="19"/>
                    <a:pt x="258" y="10"/>
                    <a:pt x="258" y="1"/>
                  </a:cubicBezTo>
                  <a:close/>
                </a:path>
              </a:pathLst>
            </a:custGeom>
            <a:solidFill>
              <a:srgbClr val="FAFA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75" name="Google Shape;3745;p45"/>
            <p:cNvSpPr/>
            <p:nvPr/>
          </p:nvSpPr>
          <p:spPr>
            <a:xfrm>
              <a:off x="3808950" y="4074000"/>
              <a:ext cx="2100" cy="525"/>
            </a:xfrm>
            <a:custGeom>
              <a:avLst/>
              <a:gdLst/>
              <a:ahLst/>
              <a:cxnLst/>
              <a:rect l="l" t="t" r="r" b="b"/>
              <a:pathLst>
                <a:path w="84" h="21" extrusionOk="0">
                  <a:moveTo>
                    <a:pt x="71" y="1"/>
                  </a:moveTo>
                  <a:cubicBezTo>
                    <a:pt x="63" y="1"/>
                    <a:pt x="51" y="3"/>
                    <a:pt x="37" y="8"/>
                  </a:cubicBezTo>
                  <a:cubicBezTo>
                    <a:pt x="19" y="8"/>
                    <a:pt x="1" y="17"/>
                    <a:pt x="1" y="17"/>
                  </a:cubicBezTo>
                  <a:cubicBezTo>
                    <a:pt x="1" y="17"/>
                    <a:pt x="9" y="21"/>
                    <a:pt x="22" y="21"/>
                  </a:cubicBezTo>
                  <a:cubicBezTo>
                    <a:pt x="29" y="21"/>
                    <a:pt x="37" y="20"/>
                    <a:pt x="47" y="17"/>
                  </a:cubicBezTo>
                  <a:cubicBezTo>
                    <a:pt x="65" y="17"/>
                    <a:pt x="83" y="8"/>
                    <a:pt x="83" y="8"/>
                  </a:cubicBezTo>
                  <a:cubicBezTo>
                    <a:pt x="83" y="3"/>
                    <a:pt x="79" y="1"/>
                    <a:pt x="71" y="1"/>
                  </a:cubicBezTo>
                  <a:close/>
                </a:path>
              </a:pathLst>
            </a:custGeom>
            <a:solidFill>
              <a:srgbClr val="FAFA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76" name="Google Shape;3746;p45"/>
            <p:cNvSpPr/>
            <p:nvPr/>
          </p:nvSpPr>
          <p:spPr>
            <a:xfrm>
              <a:off x="3868800" y="4072350"/>
              <a:ext cx="27175" cy="105425"/>
            </a:xfrm>
            <a:custGeom>
              <a:avLst/>
              <a:gdLst/>
              <a:ahLst/>
              <a:cxnLst/>
              <a:rect l="l" t="t" r="r" b="b"/>
              <a:pathLst>
                <a:path w="1087" h="4217" extrusionOk="0">
                  <a:moveTo>
                    <a:pt x="543" y="0"/>
                  </a:moveTo>
                  <a:cubicBezTo>
                    <a:pt x="240" y="0"/>
                    <a:pt x="0" y="249"/>
                    <a:pt x="0" y="543"/>
                  </a:cubicBezTo>
                  <a:lnTo>
                    <a:pt x="0" y="4216"/>
                  </a:lnTo>
                  <a:lnTo>
                    <a:pt x="1087" y="4216"/>
                  </a:lnTo>
                  <a:lnTo>
                    <a:pt x="1087" y="543"/>
                  </a:lnTo>
                  <a:cubicBezTo>
                    <a:pt x="1087" y="249"/>
                    <a:pt x="838" y="0"/>
                    <a:pt x="543"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77" name="Google Shape;3747;p45"/>
            <p:cNvSpPr/>
            <p:nvPr/>
          </p:nvSpPr>
          <p:spPr>
            <a:xfrm>
              <a:off x="3868800" y="4072350"/>
              <a:ext cx="27175" cy="105425"/>
            </a:xfrm>
            <a:custGeom>
              <a:avLst/>
              <a:gdLst/>
              <a:ahLst/>
              <a:cxnLst/>
              <a:rect l="l" t="t" r="r" b="b"/>
              <a:pathLst>
                <a:path w="1087" h="4217" extrusionOk="0">
                  <a:moveTo>
                    <a:pt x="543" y="0"/>
                  </a:moveTo>
                  <a:cubicBezTo>
                    <a:pt x="240" y="0"/>
                    <a:pt x="0" y="249"/>
                    <a:pt x="0" y="543"/>
                  </a:cubicBezTo>
                  <a:lnTo>
                    <a:pt x="0" y="4216"/>
                  </a:lnTo>
                  <a:lnTo>
                    <a:pt x="1087" y="4216"/>
                  </a:lnTo>
                  <a:lnTo>
                    <a:pt x="1087" y="543"/>
                  </a:lnTo>
                  <a:cubicBezTo>
                    <a:pt x="1087" y="249"/>
                    <a:pt x="838" y="0"/>
                    <a:pt x="543" y="0"/>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78" name="Google Shape;3748;p45"/>
            <p:cNvSpPr/>
            <p:nvPr/>
          </p:nvSpPr>
          <p:spPr>
            <a:xfrm>
              <a:off x="3868800" y="4084300"/>
              <a:ext cx="26950" cy="375"/>
            </a:xfrm>
            <a:custGeom>
              <a:avLst/>
              <a:gdLst/>
              <a:ahLst/>
              <a:cxnLst/>
              <a:rect l="l" t="t" r="r" b="b"/>
              <a:pathLst>
                <a:path w="1078" h="15" extrusionOk="0">
                  <a:moveTo>
                    <a:pt x="543" y="1"/>
                  </a:moveTo>
                  <a:cubicBezTo>
                    <a:pt x="240" y="1"/>
                    <a:pt x="0" y="10"/>
                    <a:pt x="0" y="10"/>
                  </a:cubicBezTo>
                  <a:lnTo>
                    <a:pt x="543" y="10"/>
                  </a:lnTo>
                  <a:cubicBezTo>
                    <a:pt x="740" y="10"/>
                    <a:pt x="912" y="14"/>
                    <a:pt x="1004" y="14"/>
                  </a:cubicBezTo>
                  <a:cubicBezTo>
                    <a:pt x="1051" y="14"/>
                    <a:pt x="1077" y="13"/>
                    <a:pt x="1077" y="10"/>
                  </a:cubicBezTo>
                  <a:cubicBezTo>
                    <a:pt x="1077" y="1"/>
                    <a:pt x="838" y="1"/>
                    <a:pt x="543"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79" name="Google Shape;3749;p45"/>
            <p:cNvSpPr/>
            <p:nvPr/>
          </p:nvSpPr>
          <p:spPr>
            <a:xfrm>
              <a:off x="3868800" y="4107775"/>
              <a:ext cx="26950" cy="250"/>
            </a:xfrm>
            <a:custGeom>
              <a:avLst/>
              <a:gdLst/>
              <a:ahLst/>
              <a:cxnLst/>
              <a:rect l="l" t="t" r="r" b="b"/>
              <a:pathLst>
                <a:path w="1078" h="10" extrusionOk="0">
                  <a:moveTo>
                    <a:pt x="543" y="1"/>
                  </a:moveTo>
                  <a:cubicBezTo>
                    <a:pt x="240" y="1"/>
                    <a:pt x="0" y="10"/>
                    <a:pt x="0" y="10"/>
                  </a:cubicBezTo>
                  <a:lnTo>
                    <a:pt x="1077" y="10"/>
                  </a:lnTo>
                  <a:cubicBezTo>
                    <a:pt x="1077" y="1"/>
                    <a:pt x="838" y="1"/>
                    <a:pt x="543"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80" name="Google Shape;3750;p45"/>
            <p:cNvSpPr/>
            <p:nvPr/>
          </p:nvSpPr>
          <p:spPr>
            <a:xfrm>
              <a:off x="3876150" y="4084525"/>
              <a:ext cx="250" cy="23500"/>
            </a:xfrm>
            <a:custGeom>
              <a:avLst/>
              <a:gdLst/>
              <a:ahLst/>
              <a:cxnLst/>
              <a:rect l="l" t="t" r="r" b="b"/>
              <a:pathLst>
                <a:path w="10" h="940" extrusionOk="0">
                  <a:moveTo>
                    <a:pt x="10" y="1"/>
                  </a:moveTo>
                  <a:cubicBezTo>
                    <a:pt x="1" y="1"/>
                    <a:pt x="1" y="213"/>
                    <a:pt x="1" y="470"/>
                  </a:cubicBezTo>
                  <a:cubicBezTo>
                    <a:pt x="1" y="728"/>
                    <a:pt x="10" y="940"/>
                    <a:pt x="10" y="940"/>
                  </a:cubicBezTo>
                  <a:cubicBezTo>
                    <a:pt x="10" y="940"/>
                    <a:pt x="10" y="728"/>
                    <a:pt x="10" y="470"/>
                  </a:cubicBezTo>
                  <a:cubicBezTo>
                    <a:pt x="10" y="213"/>
                    <a:pt x="10" y="1"/>
                    <a:pt x="10"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81" name="Google Shape;3751;p45"/>
            <p:cNvSpPr/>
            <p:nvPr/>
          </p:nvSpPr>
          <p:spPr>
            <a:xfrm>
              <a:off x="3879600" y="4090350"/>
              <a:ext cx="1875" cy="1925"/>
            </a:xfrm>
            <a:custGeom>
              <a:avLst/>
              <a:gdLst/>
              <a:ahLst/>
              <a:cxnLst/>
              <a:rect l="l" t="t" r="r" b="b"/>
              <a:pathLst>
                <a:path w="75" h="77" extrusionOk="0">
                  <a:moveTo>
                    <a:pt x="38" y="0"/>
                  </a:moveTo>
                  <a:cubicBezTo>
                    <a:pt x="19" y="0"/>
                    <a:pt x="1" y="12"/>
                    <a:pt x="1" y="35"/>
                  </a:cubicBezTo>
                  <a:cubicBezTo>
                    <a:pt x="1" y="63"/>
                    <a:pt x="19" y="76"/>
                    <a:pt x="38" y="76"/>
                  </a:cubicBezTo>
                  <a:cubicBezTo>
                    <a:pt x="56" y="76"/>
                    <a:pt x="75" y="63"/>
                    <a:pt x="75" y="35"/>
                  </a:cubicBezTo>
                  <a:cubicBezTo>
                    <a:pt x="75" y="12"/>
                    <a:pt x="56" y="0"/>
                    <a:pt x="38"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82" name="Google Shape;3752;p45"/>
            <p:cNvSpPr/>
            <p:nvPr/>
          </p:nvSpPr>
          <p:spPr>
            <a:xfrm>
              <a:off x="3879600" y="4098450"/>
              <a:ext cx="1875" cy="1925"/>
            </a:xfrm>
            <a:custGeom>
              <a:avLst/>
              <a:gdLst/>
              <a:ahLst/>
              <a:cxnLst/>
              <a:rect l="l" t="t" r="r" b="b"/>
              <a:pathLst>
                <a:path w="75" h="77" extrusionOk="0">
                  <a:moveTo>
                    <a:pt x="38" y="1"/>
                  </a:moveTo>
                  <a:cubicBezTo>
                    <a:pt x="19" y="1"/>
                    <a:pt x="1" y="15"/>
                    <a:pt x="1" y="42"/>
                  </a:cubicBezTo>
                  <a:cubicBezTo>
                    <a:pt x="1" y="65"/>
                    <a:pt x="19" y="77"/>
                    <a:pt x="38" y="77"/>
                  </a:cubicBezTo>
                  <a:cubicBezTo>
                    <a:pt x="56" y="77"/>
                    <a:pt x="75" y="65"/>
                    <a:pt x="75" y="42"/>
                  </a:cubicBezTo>
                  <a:cubicBezTo>
                    <a:pt x="75" y="15"/>
                    <a:pt x="56" y="1"/>
                    <a:pt x="38"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83" name="Google Shape;3753;p45"/>
            <p:cNvSpPr/>
            <p:nvPr/>
          </p:nvSpPr>
          <p:spPr>
            <a:xfrm>
              <a:off x="3868800" y="4155425"/>
              <a:ext cx="26950" cy="475"/>
            </a:xfrm>
            <a:custGeom>
              <a:avLst/>
              <a:gdLst/>
              <a:ahLst/>
              <a:cxnLst/>
              <a:rect l="l" t="t" r="r" b="b"/>
              <a:pathLst>
                <a:path w="1078" h="19" extrusionOk="0">
                  <a:moveTo>
                    <a:pt x="543" y="0"/>
                  </a:moveTo>
                  <a:cubicBezTo>
                    <a:pt x="240" y="0"/>
                    <a:pt x="0" y="10"/>
                    <a:pt x="0" y="10"/>
                  </a:cubicBezTo>
                  <a:cubicBezTo>
                    <a:pt x="0" y="10"/>
                    <a:pt x="240" y="19"/>
                    <a:pt x="543" y="19"/>
                  </a:cubicBezTo>
                  <a:cubicBezTo>
                    <a:pt x="838" y="19"/>
                    <a:pt x="1077" y="19"/>
                    <a:pt x="1077" y="10"/>
                  </a:cubicBezTo>
                  <a:cubicBezTo>
                    <a:pt x="1077" y="0"/>
                    <a:pt x="838" y="0"/>
                    <a:pt x="543"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84" name="Google Shape;3754;p45"/>
            <p:cNvSpPr/>
            <p:nvPr/>
          </p:nvSpPr>
          <p:spPr>
            <a:xfrm>
              <a:off x="3876150" y="4132175"/>
              <a:ext cx="250" cy="23500"/>
            </a:xfrm>
            <a:custGeom>
              <a:avLst/>
              <a:gdLst/>
              <a:ahLst/>
              <a:cxnLst/>
              <a:rect l="l" t="t" r="r" b="b"/>
              <a:pathLst>
                <a:path w="10" h="940" extrusionOk="0">
                  <a:moveTo>
                    <a:pt x="10" y="1"/>
                  </a:moveTo>
                  <a:cubicBezTo>
                    <a:pt x="1" y="1"/>
                    <a:pt x="1" y="212"/>
                    <a:pt x="1" y="470"/>
                  </a:cubicBezTo>
                  <a:cubicBezTo>
                    <a:pt x="1" y="728"/>
                    <a:pt x="10" y="940"/>
                    <a:pt x="10" y="940"/>
                  </a:cubicBezTo>
                  <a:cubicBezTo>
                    <a:pt x="10" y="940"/>
                    <a:pt x="10" y="728"/>
                    <a:pt x="10" y="470"/>
                  </a:cubicBezTo>
                  <a:cubicBezTo>
                    <a:pt x="10" y="212"/>
                    <a:pt x="10" y="1"/>
                    <a:pt x="10"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85" name="Google Shape;3755;p45"/>
            <p:cNvSpPr/>
            <p:nvPr/>
          </p:nvSpPr>
          <p:spPr>
            <a:xfrm>
              <a:off x="3879600" y="4138150"/>
              <a:ext cx="2025" cy="1400"/>
            </a:xfrm>
            <a:custGeom>
              <a:avLst/>
              <a:gdLst/>
              <a:ahLst/>
              <a:cxnLst/>
              <a:rect l="l" t="t" r="r" b="b"/>
              <a:pathLst>
                <a:path w="81" h="56" extrusionOk="0">
                  <a:moveTo>
                    <a:pt x="38" y="1"/>
                  </a:moveTo>
                  <a:cubicBezTo>
                    <a:pt x="10" y="1"/>
                    <a:pt x="1" y="10"/>
                    <a:pt x="1" y="38"/>
                  </a:cubicBezTo>
                  <a:cubicBezTo>
                    <a:pt x="1" y="51"/>
                    <a:pt x="6" y="55"/>
                    <a:pt x="13" y="55"/>
                  </a:cubicBezTo>
                  <a:cubicBezTo>
                    <a:pt x="36" y="55"/>
                    <a:pt x="80" y="1"/>
                    <a:pt x="38"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86" name="Google Shape;3756;p45"/>
            <p:cNvSpPr/>
            <p:nvPr/>
          </p:nvSpPr>
          <p:spPr>
            <a:xfrm>
              <a:off x="3879600" y="4146225"/>
              <a:ext cx="2025" cy="1375"/>
            </a:xfrm>
            <a:custGeom>
              <a:avLst/>
              <a:gdLst/>
              <a:ahLst/>
              <a:cxnLst/>
              <a:rect l="l" t="t" r="r" b="b"/>
              <a:pathLst>
                <a:path w="81" h="55" extrusionOk="0">
                  <a:moveTo>
                    <a:pt x="38" y="0"/>
                  </a:moveTo>
                  <a:cubicBezTo>
                    <a:pt x="10" y="0"/>
                    <a:pt x="1" y="19"/>
                    <a:pt x="1" y="37"/>
                  </a:cubicBezTo>
                  <a:cubicBezTo>
                    <a:pt x="1" y="50"/>
                    <a:pt x="6" y="55"/>
                    <a:pt x="13" y="55"/>
                  </a:cubicBezTo>
                  <a:cubicBezTo>
                    <a:pt x="36" y="55"/>
                    <a:pt x="80" y="0"/>
                    <a:pt x="38"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87" name="Google Shape;3757;p45"/>
            <p:cNvSpPr/>
            <p:nvPr/>
          </p:nvSpPr>
          <p:spPr>
            <a:xfrm>
              <a:off x="3868800" y="4131950"/>
              <a:ext cx="26950" cy="250"/>
            </a:xfrm>
            <a:custGeom>
              <a:avLst/>
              <a:gdLst/>
              <a:ahLst/>
              <a:cxnLst/>
              <a:rect l="l" t="t" r="r" b="b"/>
              <a:pathLst>
                <a:path w="1078" h="10" extrusionOk="0">
                  <a:moveTo>
                    <a:pt x="0" y="0"/>
                  </a:moveTo>
                  <a:cubicBezTo>
                    <a:pt x="0" y="10"/>
                    <a:pt x="240" y="10"/>
                    <a:pt x="543" y="10"/>
                  </a:cubicBezTo>
                  <a:cubicBezTo>
                    <a:pt x="838" y="10"/>
                    <a:pt x="1077" y="0"/>
                    <a:pt x="1077"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88" name="Google Shape;3758;p45"/>
            <p:cNvSpPr/>
            <p:nvPr/>
          </p:nvSpPr>
          <p:spPr>
            <a:xfrm>
              <a:off x="3888125" y="4108475"/>
              <a:ext cx="250" cy="23500"/>
            </a:xfrm>
            <a:custGeom>
              <a:avLst/>
              <a:gdLst/>
              <a:ahLst/>
              <a:cxnLst/>
              <a:rect l="l" t="t" r="r" b="b"/>
              <a:pathLst>
                <a:path w="10" h="940" extrusionOk="0">
                  <a:moveTo>
                    <a:pt x="10" y="0"/>
                  </a:moveTo>
                  <a:cubicBezTo>
                    <a:pt x="0" y="0"/>
                    <a:pt x="0" y="212"/>
                    <a:pt x="0" y="470"/>
                  </a:cubicBezTo>
                  <a:cubicBezTo>
                    <a:pt x="0" y="728"/>
                    <a:pt x="10" y="939"/>
                    <a:pt x="10" y="939"/>
                  </a:cubicBezTo>
                  <a:cubicBezTo>
                    <a:pt x="10" y="939"/>
                    <a:pt x="10" y="728"/>
                    <a:pt x="10" y="470"/>
                  </a:cubicBezTo>
                  <a:cubicBezTo>
                    <a:pt x="10" y="212"/>
                    <a:pt x="10" y="0"/>
                    <a:pt x="10"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89" name="Google Shape;3759;p45"/>
            <p:cNvSpPr/>
            <p:nvPr/>
          </p:nvSpPr>
          <p:spPr>
            <a:xfrm>
              <a:off x="3883000" y="4114450"/>
              <a:ext cx="2150" cy="1475"/>
            </a:xfrm>
            <a:custGeom>
              <a:avLst/>
              <a:gdLst/>
              <a:ahLst/>
              <a:cxnLst/>
              <a:rect l="l" t="t" r="r" b="b"/>
              <a:pathLst>
                <a:path w="86" h="59" extrusionOk="0">
                  <a:moveTo>
                    <a:pt x="49" y="1"/>
                  </a:moveTo>
                  <a:cubicBezTo>
                    <a:pt x="0" y="1"/>
                    <a:pt x="47" y="59"/>
                    <a:pt x="72" y="59"/>
                  </a:cubicBezTo>
                  <a:cubicBezTo>
                    <a:pt x="80" y="59"/>
                    <a:pt x="86" y="53"/>
                    <a:pt x="86" y="38"/>
                  </a:cubicBezTo>
                  <a:cubicBezTo>
                    <a:pt x="86" y="19"/>
                    <a:pt x="67" y="1"/>
                    <a:pt x="49"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90" name="Google Shape;3760;p45"/>
            <p:cNvSpPr/>
            <p:nvPr/>
          </p:nvSpPr>
          <p:spPr>
            <a:xfrm>
              <a:off x="3883175" y="4122575"/>
              <a:ext cx="2100" cy="1750"/>
            </a:xfrm>
            <a:custGeom>
              <a:avLst/>
              <a:gdLst/>
              <a:ahLst/>
              <a:cxnLst/>
              <a:rect l="l" t="t" r="r" b="b"/>
              <a:pathLst>
                <a:path w="84" h="70" extrusionOk="0">
                  <a:moveTo>
                    <a:pt x="39" y="0"/>
                  </a:moveTo>
                  <a:cubicBezTo>
                    <a:pt x="21" y="0"/>
                    <a:pt x="5" y="12"/>
                    <a:pt x="5" y="35"/>
                  </a:cubicBezTo>
                  <a:cubicBezTo>
                    <a:pt x="1" y="58"/>
                    <a:pt x="21" y="69"/>
                    <a:pt x="42" y="69"/>
                  </a:cubicBezTo>
                  <a:cubicBezTo>
                    <a:pt x="63" y="69"/>
                    <a:pt x="83" y="58"/>
                    <a:pt x="79" y="35"/>
                  </a:cubicBezTo>
                  <a:cubicBezTo>
                    <a:pt x="74" y="12"/>
                    <a:pt x="56" y="0"/>
                    <a:pt x="39"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91" name="Google Shape;3761;p45"/>
            <p:cNvSpPr/>
            <p:nvPr/>
          </p:nvSpPr>
          <p:spPr>
            <a:xfrm>
              <a:off x="3887675" y="4075325"/>
              <a:ext cx="6450" cy="11525"/>
            </a:xfrm>
            <a:custGeom>
              <a:avLst/>
              <a:gdLst/>
              <a:ahLst/>
              <a:cxnLst/>
              <a:rect l="l" t="t" r="r" b="b"/>
              <a:pathLst>
                <a:path w="258" h="461" extrusionOk="0">
                  <a:moveTo>
                    <a:pt x="0" y="1"/>
                  </a:moveTo>
                  <a:lnTo>
                    <a:pt x="0" y="1"/>
                  </a:lnTo>
                  <a:cubicBezTo>
                    <a:pt x="0" y="1"/>
                    <a:pt x="28" y="19"/>
                    <a:pt x="65" y="47"/>
                  </a:cubicBezTo>
                  <a:cubicBezTo>
                    <a:pt x="83" y="65"/>
                    <a:pt x="101" y="84"/>
                    <a:pt x="120" y="111"/>
                  </a:cubicBezTo>
                  <a:cubicBezTo>
                    <a:pt x="147" y="139"/>
                    <a:pt x="166" y="166"/>
                    <a:pt x="175" y="203"/>
                  </a:cubicBezTo>
                  <a:cubicBezTo>
                    <a:pt x="203" y="258"/>
                    <a:pt x="230" y="314"/>
                    <a:pt x="239" y="378"/>
                  </a:cubicBezTo>
                  <a:cubicBezTo>
                    <a:pt x="249" y="406"/>
                    <a:pt x="249" y="433"/>
                    <a:pt x="258" y="461"/>
                  </a:cubicBezTo>
                  <a:cubicBezTo>
                    <a:pt x="258" y="461"/>
                    <a:pt x="258" y="452"/>
                    <a:pt x="258" y="433"/>
                  </a:cubicBezTo>
                  <a:cubicBezTo>
                    <a:pt x="258" y="424"/>
                    <a:pt x="249" y="406"/>
                    <a:pt x="249" y="378"/>
                  </a:cubicBezTo>
                  <a:cubicBezTo>
                    <a:pt x="239" y="314"/>
                    <a:pt x="221" y="249"/>
                    <a:pt x="193" y="194"/>
                  </a:cubicBezTo>
                  <a:cubicBezTo>
                    <a:pt x="175" y="157"/>
                    <a:pt x="157" y="130"/>
                    <a:pt x="138" y="102"/>
                  </a:cubicBezTo>
                  <a:cubicBezTo>
                    <a:pt x="111" y="84"/>
                    <a:pt x="92" y="56"/>
                    <a:pt x="74" y="38"/>
                  </a:cubicBezTo>
                  <a:lnTo>
                    <a:pt x="46" y="19"/>
                  </a:lnTo>
                  <a:lnTo>
                    <a:pt x="18" y="10"/>
                  </a:lnTo>
                  <a:lnTo>
                    <a:pt x="0" y="1"/>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92" name="Google Shape;3762;p45"/>
            <p:cNvSpPr/>
            <p:nvPr/>
          </p:nvSpPr>
          <p:spPr>
            <a:xfrm>
              <a:off x="3883300" y="4074175"/>
              <a:ext cx="1850" cy="350"/>
            </a:xfrm>
            <a:custGeom>
              <a:avLst/>
              <a:gdLst/>
              <a:ahLst/>
              <a:cxnLst/>
              <a:rect l="l" t="t" r="r" b="b"/>
              <a:pathLst>
                <a:path w="74" h="14" extrusionOk="0">
                  <a:moveTo>
                    <a:pt x="0" y="1"/>
                  </a:moveTo>
                  <a:cubicBezTo>
                    <a:pt x="0" y="1"/>
                    <a:pt x="9" y="10"/>
                    <a:pt x="37" y="10"/>
                  </a:cubicBezTo>
                  <a:cubicBezTo>
                    <a:pt x="49" y="10"/>
                    <a:pt x="62" y="14"/>
                    <a:pt x="68" y="14"/>
                  </a:cubicBezTo>
                  <a:cubicBezTo>
                    <a:pt x="72" y="14"/>
                    <a:pt x="74" y="13"/>
                    <a:pt x="74" y="10"/>
                  </a:cubicBezTo>
                  <a:cubicBezTo>
                    <a:pt x="74" y="10"/>
                    <a:pt x="55" y="1"/>
                    <a:pt x="37"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93" name="Google Shape;3763;p45"/>
            <p:cNvSpPr/>
            <p:nvPr/>
          </p:nvSpPr>
          <p:spPr>
            <a:xfrm>
              <a:off x="3825300" y="4032750"/>
              <a:ext cx="43750" cy="174025"/>
            </a:xfrm>
            <a:custGeom>
              <a:avLst/>
              <a:gdLst/>
              <a:ahLst/>
              <a:cxnLst/>
              <a:rect l="l" t="t" r="r" b="b"/>
              <a:pathLst>
                <a:path w="1750" h="6961" extrusionOk="0">
                  <a:moveTo>
                    <a:pt x="783" y="1"/>
                  </a:moveTo>
                  <a:cubicBezTo>
                    <a:pt x="681" y="1"/>
                    <a:pt x="599" y="56"/>
                    <a:pt x="553" y="139"/>
                  </a:cubicBezTo>
                  <a:lnTo>
                    <a:pt x="175" y="857"/>
                  </a:lnTo>
                  <a:cubicBezTo>
                    <a:pt x="55" y="1068"/>
                    <a:pt x="0" y="1308"/>
                    <a:pt x="0" y="1547"/>
                  </a:cubicBezTo>
                  <a:lnTo>
                    <a:pt x="0" y="6537"/>
                  </a:lnTo>
                  <a:lnTo>
                    <a:pt x="663" y="6960"/>
                  </a:lnTo>
                  <a:lnTo>
                    <a:pt x="1123" y="6960"/>
                  </a:lnTo>
                  <a:lnTo>
                    <a:pt x="1749" y="6537"/>
                  </a:lnTo>
                  <a:lnTo>
                    <a:pt x="1749" y="1575"/>
                  </a:lnTo>
                  <a:cubicBezTo>
                    <a:pt x="1749" y="1345"/>
                    <a:pt x="1694" y="1114"/>
                    <a:pt x="1593" y="912"/>
                  </a:cubicBezTo>
                  <a:lnTo>
                    <a:pt x="1206" y="139"/>
                  </a:lnTo>
                  <a:cubicBezTo>
                    <a:pt x="1160" y="56"/>
                    <a:pt x="1068" y="1"/>
                    <a:pt x="976" y="1"/>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94" name="Google Shape;3764;p45"/>
            <p:cNvSpPr/>
            <p:nvPr/>
          </p:nvSpPr>
          <p:spPr>
            <a:xfrm>
              <a:off x="3783400" y="4111700"/>
              <a:ext cx="41925" cy="74350"/>
            </a:xfrm>
            <a:custGeom>
              <a:avLst/>
              <a:gdLst/>
              <a:ahLst/>
              <a:cxnLst/>
              <a:rect l="l" t="t" r="r" b="b"/>
              <a:pathLst>
                <a:path w="1677" h="2974" extrusionOk="0">
                  <a:moveTo>
                    <a:pt x="1676" y="0"/>
                  </a:moveTo>
                  <a:cubicBezTo>
                    <a:pt x="1676" y="0"/>
                    <a:pt x="1400" y="1188"/>
                    <a:pt x="700" y="1713"/>
                  </a:cubicBezTo>
                  <a:cubicBezTo>
                    <a:pt x="295" y="2007"/>
                    <a:pt x="38" y="2467"/>
                    <a:pt x="1" y="2974"/>
                  </a:cubicBezTo>
                  <a:lnTo>
                    <a:pt x="1676" y="2974"/>
                  </a:lnTo>
                  <a:lnTo>
                    <a:pt x="1676" y="0"/>
                  </a:ln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95" name="Google Shape;3765;p45"/>
            <p:cNvSpPr/>
            <p:nvPr/>
          </p:nvSpPr>
          <p:spPr>
            <a:xfrm>
              <a:off x="3869025" y="4111700"/>
              <a:ext cx="41900" cy="74350"/>
            </a:xfrm>
            <a:custGeom>
              <a:avLst/>
              <a:gdLst/>
              <a:ahLst/>
              <a:cxnLst/>
              <a:rect l="l" t="t" r="r" b="b"/>
              <a:pathLst>
                <a:path w="1676" h="2974" extrusionOk="0">
                  <a:moveTo>
                    <a:pt x="0" y="0"/>
                  </a:moveTo>
                  <a:lnTo>
                    <a:pt x="0" y="2974"/>
                  </a:lnTo>
                  <a:lnTo>
                    <a:pt x="1676" y="2974"/>
                  </a:lnTo>
                  <a:cubicBezTo>
                    <a:pt x="1639" y="2467"/>
                    <a:pt x="1381" y="2007"/>
                    <a:pt x="976" y="1713"/>
                  </a:cubicBezTo>
                  <a:cubicBezTo>
                    <a:pt x="277" y="1188"/>
                    <a:pt x="0" y="0"/>
                    <a:pt x="0"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96" name="Google Shape;3766;p45"/>
            <p:cNvSpPr/>
            <p:nvPr/>
          </p:nvSpPr>
          <p:spPr>
            <a:xfrm>
              <a:off x="3783400" y="4111700"/>
              <a:ext cx="41925" cy="74350"/>
            </a:xfrm>
            <a:custGeom>
              <a:avLst/>
              <a:gdLst/>
              <a:ahLst/>
              <a:cxnLst/>
              <a:rect l="l" t="t" r="r" b="b"/>
              <a:pathLst>
                <a:path w="1677" h="2974" extrusionOk="0">
                  <a:moveTo>
                    <a:pt x="1676" y="0"/>
                  </a:moveTo>
                  <a:cubicBezTo>
                    <a:pt x="1676" y="0"/>
                    <a:pt x="1400" y="1188"/>
                    <a:pt x="700" y="1713"/>
                  </a:cubicBezTo>
                  <a:cubicBezTo>
                    <a:pt x="295" y="2007"/>
                    <a:pt x="38" y="2467"/>
                    <a:pt x="1" y="2974"/>
                  </a:cubicBezTo>
                  <a:lnTo>
                    <a:pt x="1676" y="2974"/>
                  </a:lnTo>
                  <a:lnTo>
                    <a:pt x="1676" y="0"/>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97" name="Google Shape;3767;p45"/>
            <p:cNvSpPr/>
            <p:nvPr/>
          </p:nvSpPr>
          <p:spPr>
            <a:xfrm>
              <a:off x="3869025" y="4111700"/>
              <a:ext cx="41900" cy="74350"/>
            </a:xfrm>
            <a:custGeom>
              <a:avLst/>
              <a:gdLst/>
              <a:ahLst/>
              <a:cxnLst/>
              <a:rect l="l" t="t" r="r" b="b"/>
              <a:pathLst>
                <a:path w="1676" h="2974" extrusionOk="0">
                  <a:moveTo>
                    <a:pt x="0" y="0"/>
                  </a:moveTo>
                  <a:lnTo>
                    <a:pt x="0" y="2974"/>
                  </a:lnTo>
                  <a:lnTo>
                    <a:pt x="1676" y="2974"/>
                  </a:lnTo>
                  <a:cubicBezTo>
                    <a:pt x="1639" y="2467"/>
                    <a:pt x="1381" y="2007"/>
                    <a:pt x="976" y="1713"/>
                  </a:cubicBezTo>
                  <a:cubicBezTo>
                    <a:pt x="277" y="1188"/>
                    <a:pt x="0" y="0"/>
                    <a:pt x="0" y="0"/>
                  </a:cubicBez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98" name="Google Shape;3768;p45"/>
            <p:cNvSpPr/>
            <p:nvPr/>
          </p:nvSpPr>
          <p:spPr>
            <a:xfrm>
              <a:off x="3828275" y="4079700"/>
              <a:ext cx="500" cy="41225"/>
            </a:xfrm>
            <a:custGeom>
              <a:avLst/>
              <a:gdLst/>
              <a:ahLst/>
              <a:cxnLst/>
              <a:rect l="l" t="t" r="r" b="b"/>
              <a:pathLst>
                <a:path w="20" h="1649" extrusionOk="0">
                  <a:moveTo>
                    <a:pt x="10" y="1"/>
                  </a:moveTo>
                  <a:cubicBezTo>
                    <a:pt x="1" y="1"/>
                    <a:pt x="1" y="369"/>
                    <a:pt x="1" y="829"/>
                  </a:cubicBezTo>
                  <a:cubicBezTo>
                    <a:pt x="1" y="1280"/>
                    <a:pt x="10" y="1648"/>
                    <a:pt x="10" y="1648"/>
                  </a:cubicBezTo>
                  <a:cubicBezTo>
                    <a:pt x="10" y="1648"/>
                    <a:pt x="19" y="1280"/>
                    <a:pt x="19" y="829"/>
                  </a:cubicBezTo>
                  <a:cubicBezTo>
                    <a:pt x="19" y="369"/>
                    <a:pt x="19" y="1"/>
                    <a:pt x="10" y="1"/>
                  </a:cubicBezTo>
                  <a:close/>
                </a:path>
              </a:pathLst>
            </a:custGeom>
            <a:solidFill>
              <a:srgbClr val="FAFA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99" name="Google Shape;3769;p45"/>
            <p:cNvSpPr/>
            <p:nvPr/>
          </p:nvSpPr>
          <p:spPr>
            <a:xfrm>
              <a:off x="3828750" y="4067500"/>
              <a:ext cx="250" cy="3700"/>
            </a:xfrm>
            <a:custGeom>
              <a:avLst/>
              <a:gdLst/>
              <a:ahLst/>
              <a:cxnLst/>
              <a:rect l="l" t="t" r="r" b="b"/>
              <a:pathLst>
                <a:path w="10" h="148" extrusionOk="0">
                  <a:moveTo>
                    <a:pt x="0" y="1"/>
                  </a:moveTo>
                  <a:cubicBezTo>
                    <a:pt x="0" y="1"/>
                    <a:pt x="0" y="37"/>
                    <a:pt x="0" y="74"/>
                  </a:cubicBezTo>
                  <a:cubicBezTo>
                    <a:pt x="0" y="120"/>
                    <a:pt x="0" y="148"/>
                    <a:pt x="0" y="148"/>
                  </a:cubicBezTo>
                  <a:cubicBezTo>
                    <a:pt x="10" y="148"/>
                    <a:pt x="10" y="120"/>
                    <a:pt x="10" y="74"/>
                  </a:cubicBezTo>
                  <a:cubicBezTo>
                    <a:pt x="10" y="37"/>
                    <a:pt x="10" y="1"/>
                    <a:pt x="0" y="1"/>
                  </a:cubicBezTo>
                  <a:close/>
                </a:path>
              </a:pathLst>
            </a:custGeom>
            <a:solidFill>
              <a:srgbClr val="FAFA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00" name="Google Shape;3770;p45"/>
            <p:cNvSpPr/>
            <p:nvPr/>
          </p:nvSpPr>
          <p:spPr>
            <a:xfrm>
              <a:off x="3829200" y="4035750"/>
              <a:ext cx="13150" cy="25575"/>
            </a:xfrm>
            <a:custGeom>
              <a:avLst/>
              <a:gdLst/>
              <a:ahLst/>
              <a:cxnLst/>
              <a:rect l="l" t="t" r="r" b="b"/>
              <a:pathLst>
                <a:path w="526" h="1023" extrusionOk="0">
                  <a:moveTo>
                    <a:pt x="525" y="0"/>
                  </a:moveTo>
                  <a:cubicBezTo>
                    <a:pt x="525" y="0"/>
                    <a:pt x="397" y="221"/>
                    <a:pt x="258" y="507"/>
                  </a:cubicBezTo>
                  <a:cubicBezTo>
                    <a:pt x="120" y="792"/>
                    <a:pt x="1" y="1022"/>
                    <a:pt x="1" y="1022"/>
                  </a:cubicBezTo>
                  <a:cubicBezTo>
                    <a:pt x="10" y="1022"/>
                    <a:pt x="130" y="792"/>
                    <a:pt x="268" y="516"/>
                  </a:cubicBezTo>
                  <a:cubicBezTo>
                    <a:pt x="415" y="231"/>
                    <a:pt x="525" y="0"/>
                    <a:pt x="525" y="0"/>
                  </a:cubicBezTo>
                  <a:close/>
                </a:path>
              </a:pathLst>
            </a:custGeom>
            <a:solidFill>
              <a:srgbClr val="FAFA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01" name="Google Shape;3771;p45"/>
            <p:cNvSpPr/>
            <p:nvPr/>
          </p:nvSpPr>
          <p:spPr>
            <a:xfrm>
              <a:off x="3787075" y="4131475"/>
              <a:ext cx="33650" cy="51350"/>
            </a:xfrm>
            <a:custGeom>
              <a:avLst/>
              <a:gdLst/>
              <a:ahLst/>
              <a:cxnLst/>
              <a:rect l="l" t="t" r="r" b="b"/>
              <a:pathLst>
                <a:path w="1346" h="2054" extrusionOk="0">
                  <a:moveTo>
                    <a:pt x="1345" y="1"/>
                  </a:moveTo>
                  <a:cubicBezTo>
                    <a:pt x="1336" y="10"/>
                    <a:pt x="1336" y="19"/>
                    <a:pt x="1336" y="38"/>
                  </a:cubicBezTo>
                  <a:cubicBezTo>
                    <a:pt x="1336" y="47"/>
                    <a:pt x="1336" y="56"/>
                    <a:pt x="1327" y="75"/>
                  </a:cubicBezTo>
                  <a:cubicBezTo>
                    <a:pt x="1299" y="157"/>
                    <a:pt x="1262" y="240"/>
                    <a:pt x="1216" y="323"/>
                  </a:cubicBezTo>
                  <a:cubicBezTo>
                    <a:pt x="1152" y="443"/>
                    <a:pt x="1069" y="544"/>
                    <a:pt x="977" y="645"/>
                  </a:cubicBezTo>
                  <a:cubicBezTo>
                    <a:pt x="876" y="765"/>
                    <a:pt x="756" y="876"/>
                    <a:pt x="627" y="995"/>
                  </a:cubicBezTo>
                  <a:cubicBezTo>
                    <a:pt x="498" y="1106"/>
                    <a:pt x="388" y="1225"/>
                    <a:pt x="286" y="1363"/>
                  </a:cubicBezTo>
                  <a:cubicBezTo>
                    <a:pt x="250" y="1419"/>
                    <a:pt x="213" y="1483"/>
                    <a:pt x="176" y="1548"/>
                  </a:cubicBezTo>
                  <a:cubicBezTo>
                    <a:pt x="148" y="1603"/>
                    <a:pt x="121" y="1658"/>
                    <a:pt x="93" y="1713"/>
                  </a:cubicBezTo>
                  <a:cubicBezTo>
                    <a:pt x="56" y="1796"/>
                    <a:pt x="29" y="1888"/>
                    <a:pt x="10" y="1971"/>
                  </a:cubicBezTo>
                  <a:cubicBezTo>
                    <a:pt x="1" y="1999"/>
                    <a:pt x="1" y="2026"/>
                    <a:pt x="1" y="2054"/>
                  </a:cubicBezTo>
                  <a:cubicBezTo>
                    <a:pt x="1" y="2036"/>
                    <a:pt x="1" y="2017"/>
                    <a:pt x="10" y="1980"/>
                  </a:cubicBezTo>
                  <a:cubicBezTo>
                    <a:pt x="47" y="1833"/>
                    <a:pt x="102" y="1686"/>
                    <a:pt x="185" y="1557"/>
                  </a:cubicBezTo>
                  <a:cubicBezTo>
                    <a:pt x="222" y="1492"/>
                    <a:pt x="259" y="1437"/>
                    <a:pt x="296" y="1373"/>
                  </a:cubicBezTo>
                  <a:cubicBezTo>
                    <a:pt x="397" y="1244"/>
                    <a:pt x="507" y="1115"/>
                    <a:pt x="627" y="1004"/>
                  </a:cubicBezTo>
                  <a:cubicBezTo>
                    <a:pt x="756" y="894"/>
                    <a:pt x="885" y="774"/>
                    <a:pt x="986" y="664"/>
                  </a:cubicBezTo>
                  <a:cubicBezTo>
                    <a:pt x="1078" y="563"/>
                    <a:pt x="1161" y="452"/>
                    <a:pt x="1225" y="332"/>
                  </a:cubicBezTo>
                  <a:cubicBezTo>
                    <a:pt x="1271" y="259"/>
                    <a:pt x="1308" y="176"/>
                    <a:pt x="1336" y="84"/>
                  </a:cubicBezTo>
                  <a:cubicBezTo>
                    <a:pt x="1336" y="65"/>
                    <a:pt x="1336" y="56"/>
                    <a:pt x="1345" y="38"/>
                  </a:cubicBezTo>
                  <a:lnTo>
                    <a:pt x="1345" y="10"/>
                  </a:lnTo>
                  <a:lnTo>
                    <a:pt x="1345" y="1"/>
                  </a:lnTo>
                  <a:close/>
                </a:path>
              </a:pathLst>
            </a:custGeom>
            <a:solidFill>
              <a:srgbClr val="FAFA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02" name="Google Shape;3772;p45"/>
            <p:cNvSpPr/>
            <p:nvPr/>
          </p:nvSpPr>
          <p:spPr>
            <a:xfrm>
              <a:off x="3835650" y="4059450"/>
              <a:ext cx="23050" cy="15900"/>
            </a:xfrm>
            <a:custGeom>
              <a:avLst/>
              <a:gdLst/>
              <a:ahLst/>
              <a:cxnLst/>
              <a:rect l="l" t="t" r="r" b="b"/>
              <a:pathLst>
                <a:path w="922" h="636" extrusionOk="0">
                  <a:moveTo>
                    <a:pt x="314" y="0"/>
                  </a:moveTo>
                  <a:cubicBezTo>
                    <a:pt x="139" y="0"/>
                    <a:pt x="0" y="148"/>
                    <a:pt x="0" y="323"/>
                  </a:cubicBezTo>
                  <a:cubicBezTo>
                    <a:pt x="0" y="498"/>
                    <a:pt x="139" y="636"/>
                    <a:pt x="314" y="636"/>
                  </a:cubicBezTo>
                  <a:lnTo>
                    <a:pt x="608" y="636"/>
                  </a:lnTo>
                  <a:cubicBezTo>
                    <a:pt x="783" y="636"/>
                    <a:pt x="921" y="498"/>
                    <a:pt x="921" y="323"/>
                  </a:cubicBezTo>
                  <a:cubicBezTo>
                    <a:pt x="921" y="148"/>
                    <a:pt x="783" y="0"/>
                    <a:pt x="608"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03" name="Google Shape;3773;p45"/>
            <p:cNvSpPr/>
            <p:nvPr/>
          </p:nvSpPr>
          <p:spPr>
            <a:xfrm>
              <a:off x="3825300" y="4191550"/>
              <a:ext cx="43750" cy="15225"/>
            </a:xfrm>
            <a:custGeom>
              <a:avLst/>
              <a:gdLst/>
              <a:ahLst/>
              <a:cxnLst/>
              <a:rect l="l" t="t" r="r" b="b"/>
              <a:pathLst>
                <a:path w="1750" h="609" extrusionOk="0">
                  <a:moveTo>
                    <a:pt x="0" y="1"/>
                  </a:moveTo>
                  <a:lnTo>
                    <a:pt x="0" y="176"/>
                  </a:lnTo>
                  <a:lnTo>
                    <a:pt x="663" y="608"/>
                  </a:lnTo>
                  <a:lnTo>
                    <a:pt x="1123" y="608"/>
                  </a:lnTo>
                  <a:lnTo>
                    <a:pt x="1749" y="176"/>
                  </a:lnTo>
                  <a:lnTo>
                    <a:pt x="1749" y="1"/>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04" name="Google Shape;3774;p45"/>
            <p:cNvSpPr/>
            <p:nvPr/>
          </p:nvSpPr>
          <p:spPr>
            <a:xfrm>
              <a:off x="3841400" y="3865200"/>
              <a:ext cx="16375" cy="44450"/>
            </a:xfrm>
            <a:custGeom>
              <a:avLst/>
              <a:gdLst/>
              <a:ahLst/>
              <a:cxnLst/>
              <a:rect l="l" t="t" r="r" b="b"/>
              <a:pathLst>
                <a:path w="655" h="1778" extrusionOk="0">
                  <a:moveTo>
                    <a:pt x="387" y="0"/>
                  </a:moveTo>
                  <a:lnTo>
                    <a:pt x="397" y="19"/>
                  </a:lnTo>
                  <a:cubicBezTo>
                    <a:pt x="383" y="16"/>
                    <a:pt x="369" y="15"/>
                    <a:pt x="356" y="15"/>
                  </a:cubicBezTo>
                  <a:cubicBezTo>
                    <a:pt x="276" y="15"/>
                    <a:pt x="195" y="60"/>
                    <a:pt x="148" y="139"/>
                  </a:cubicBezTo>
                  <a:cubicBezTo>
                    <a:pt x="102" y="231"/>
                    <a:pt x="84" y="323"/>
                    <a:pt x="74" y="424"/>
                  </a:cubicBezTo>
                  <a:cubicBezTo>
                    <a:pt x="37" y="811"/>
                    <a:pt x="1" y="1206"/>
                    <a:pt x="148" y="1575"/>
                  </a:cubicBezTo>
                  <a:cubicBezTo>
                    <a:pt x="183" y="1672"/>
                    <a:pt x="253" y="1778"/>
                    <a:pt x="364" y="1778"/>
                  </a:cubicBezTo>
                  <a:cubicBezTo>
                    <a:pt x="369" y="1778"/>
                    <a:pt x="373" y="1778"/>
                    <a:pt x="378" y="1777"/>
                  </a:cubicBezTo>
                  <a:cubicBezTo>
                    <a:pt x="489" y="1759"/>
                    <a:pt x="544" y="1630"/>
                    <a:pt x="562" y="1510"/>
                  </a:cubicBezTo>
                  <a:cubicBezTo>
                    <a:pt x="617" y="1253"/>
                    <a:pt x="645" y="986"/>
                    <a:pt x="645" y="728"/>
                  </a:cubicBezTo>
                  <a:cubicBezTo>
                    <a:pt x="654" y="590"/>
                    <a:pt x="636" y="452"/>
                    <a:pt x="608" y="323"/>
                  </a:cubicBezTo>
                  <a:cubicBezTo>
                    <a:pt x="571" y="194"/>
                    <a:pt x="498" y="83"/>
                    <a:pt x="387"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05" name="Google Shape;3775;p45"/>
            <p:cNvSpPr/>
            <p:nvPr/>
          </p:nvSpPr>
          <p:spPr>
            <a:xfrm>
              <a:off x="3841400" y="3865200"/>
              <a:ext cx="16375" cy="44450"/>
            </a:xfrm>
            <a:custGeom>
              <a:avLst/>
              <a:gdLst/>
              <a:ahLst/>
              <a:cxnLst/>
              <a:rect l="l" t="t" r="r" b="b"/>
              <a:pathLst>
                <a:path w="655" h="1778" extrusionOk="0">
                  <a:moveTo>
                    <a:pt x="387" y="0"/>
                  </a:moveTo>
                  <a:lnTo>
                    <a:pt x="397" y="19"/>
                  </a:lnTo>
                  <a:cubicBezTo>
                    <a:pt x="383" y="16"/>
                    <a:pt x="369" y="15"/>
                    <a:pt x="356" y="15"/>
                  </a:cubicBezTo>
                  <a:cubicBezTo>
                    <a:pt x="276" y="15"/>
                    <a:pt x="195" y="60"/>
                    <a:pt x="148" y="139"/>
                  </a:cubicBezTo>
                  <a:cubicBezTo>
                    <a:pt x="102" y="231"/>
                    <a:pt x="84" y="323"/>
                    <a:pt x="74" y="424"/>
                  </a:cubicBezTo>
                  <a:cubicBezTo>
                    <a:pt x="37" y="811"/>
                    <a:pt x="1" y="1206"/>
                    <a:pt x="148" y="1575"/>
                  </a:cubicBezTo>
                  <a:cubicBezTo>
                    <a:pt x="183" y="1672"/>
                    <a:pt x="253" y="1778"/>
                    <a:pt x="364" y="1778"/>
                  </a:cubicBezTo>
                  <a:cubicBezTo>
                    <a:pt x="369" y="1778"/>
                    <a:pt x="373" y="1778"/>
                    <a:pt x="378" y="1777"/>
                  </a:cubicBezTo>
                  <a:cubicBezTo>
                    <a:pt x="489" y="1759"/>
                    <a:pt x="544" y="1630"/>
                    <a:pt x="562" y="1510"/>
                  </a:cubicBezTo>
                  <a:cubicBezTo>
                    <a:pt x="617" y="1253"/>
                    <a:pt x="645" y="986"/>
                    <a:pt x="645" y="728"/>
                  </a:cubicBezTo>
                  <a:cubicBezTo>
                    <a:pt x="654" y="590"/>
                    <a:pt x="636" y="452"/>
                    <a:pt x="608" y="323"/>
                  </a:cubicBezTo>
                  <a:cubicBezTo>
                    <a:pt x="571" y="194"/>
                    <a:pt x="498" y="83"/>
                    <a:pt x="387"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06" name="Google Shape;3776;p45"/>
            <p:cNvSpPr/>
            <p:nvPr/>
          </p:nvSpPr>
          <p:spPr>
            <a:xfrm>
              <a:off x="3846225" y="3870025"/>
              <a:ext cx="7400" cy="39150"/>
            </a:xfrm>
            <a:custGeom>
              <a:avLst/>
              <a:gdLst/>
              <a:ahLst/>
              <a:cxnLst/>
              <a:rect l="l" t="t" r="r" b="b"/>
              <a:pathLst>
                <a:path w="296" h="1566" extrusionOk="0">
                  <a:moveTo>
                    <a:pt x="148" y="1"/>
                  </a:moveTo>
                  <a:cubicBezTo>
                    <a:pt x="65" y="1"/>
                    <a:pt x="1" y="341"/>
                    <a:pt x="1" y="783"/>
                  </a:cubicBezTo>
                  <a:cubicBezTo>
                    <a:pt x="1" y="1225"/>
                    <a:pt x="65" y="1566"/>
                    <a:pt x="148" y="1566"/>
                  </a:cubicBezTo>
                  <a:cubicBezTo>
                    <a:pt x="231" y="1566"/>
                    <a:pt x="296" y="1216"/>
                    <a:pt x="296" y="783"/>
                  </a:cubicBezTo>
                  <a:cubicBezTo>
                    <a:pt x="296" y="351"/>
                    <a:pt x="231" y="1"/>
                    <a:pt x="148" y="1"/>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07" name="Google Shape;3777;p45"/>
            <p:cNvSpPr/>
            <p:nvPr/>
          </p:nvSpPr>
          <p:spPr>
            <a:xfrm>
              <a:off x="3841400" y="3967625"/>
              <a:ext cx="16375" cy="44225"/>
            </a:xfrm>
            <a:custGeom>
              <a:avLst/>
              <a:gdLst/>
              <a:ahLst/>
              <a:cxnLst/>
              <a:rect l="l" t="t" r="r" b="b"/>
              <a:pathLst>
                <a:path w="655" h="1769" extrusionOk="0">
                  <a:moveTo>
                    <a:pt x="387" y="0"/>
                  </a:moveTo>
                  <a:lnTo>
                    <a:pt x="397" y="9"/>
                  </a:lnTo>
                  <a:cubicBezTo>
                    <a:pt x="383" y="7"/>
                    <a:pt x="370" y="6"/>
                    <a:pt x="357" y="6"/>
                  </a:cubicBezTo>
                  <a:cubicBezTo>
                    <a:pt x="270" y="6"/>
                    <a:pt x="188" y="57"/>
                    <a:pt x="148" y="129"/>
                  </a:cubicBezTo>
                  <a:cubicBezTo>
                    <a:pt x="102" y="221"/>
                    <a:pt x="84" y="322"/>
                    <a:pt x="74" y="424"/>
                  </a:cubicBezTo>
                  <a:cubicBezTo>
                    <a:pt x="37" y="801"/>
                    <a:pt x="1" y="1206"/>
                    <a:pt x="148" y="1574"/>
                  </a:cubicBezTo>
                  <a:cubicBezTo>
                    <a:pt x="183" y="1663"/>
                    <a:pt x="253" y="1768"/>
                    <a:pt x="364" y="1768"/>
                  </a:cubicBezTo>
                  <a:cubicBezTo>
                    <a:pt x="369" y="1768"/>
                    <a:pt x="373" y="1768"/>
                    <a:pt x="378" y="1768"/>
                  </a:cubicBezTo>
                  <a:cubicBezTo>
                    <a:pt x="489" y="1759"/>
                    <a:pt x="544" y="1620"/>
                    <a:pt x="562" y="1510"/>
                  </a:cubicBezTo>
                  <a:cubicBezTo>
                    <a:pt x="617" y="1252"/>
                    <a:pt x="645" y="985"/>
                    <a:pt x="645" y="718"/>
                  </a:cubicBezTo>
                  <a:cubicBezTo>
                    <a:pt x="654" y="589"/>
                    <a:pt x="636" y="451"/>
                    <a:pt x="608" y="322"/>
                  </a:cubicBezTo>
                  <a:cubicBezTo>
                    <a:pt x="571" y="194"/>
                    <a:pt x="498" y="74"/>
                    <a:pt x="387"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08" name="Google Shape;3778;p45"/>
            <p:cNvSpPr/>
            <p:nvPr/>
          </p:nvSpPr>
          <p:spPr>
            <a:xfrm>
              <a:off x="3841400" y="3967625"/>
              <a:ext cx="16375" cy="44225"/>
            </a:xfrm>
            <a:custGeom>
              <a:avLst/>
              <a:gdLst/>
              <a:ahLst/>
              <a:cxnLst/>
              <a:rect l="l" t="t" r="r" b="b"/>
              <a:pathLst>
                <a:path w="655" h="1769" extrusionOk="0">
                  <a:moveTo>
                    <a:pt x="387" y="0"/>
                  </a:moveTo>
                  <a:lnTo>
                    <a:pt x="397" y="9"/>
                  </a:lnTo>
                  <a:cubicBezTo>
                    <a:pt x="383" y="7"/>
                    <a:pt x="370" y="6"/>
                    <a:pt x="357" y="6"/>
                  </a:cubicBezTo>
                  <a:cubicBezTo>
                    <a:pt x="270" y="6"/>
                    <a:pt x="188" y="57"/>
                    <a:pt x="148" y="129"/>
                  </a:cubicBezTo>
                  <a:cubicBezTo>
                    <a:pt x="102" y="221"/>
                    <a:pt x="84" y="322"/>
                    <a:pt x="74" y="424"/>
                  </a:cubicBezTo>
                  <a:cubicBezTo>
                    <a:pt x="37" y="801"/>
                    <a:pt x="1" y="1206"/>
                    <a:pt x="148" y="1574"/>
                  </a:cubicBezTo>
                  <a:cubicBezTo>
                    <a:pt x="183" y="1663"/>
                    <a:pt x="253" y="1768"/>
                    <a:pt x="364" y="1768"/>
                  </a:cubicBezTo>
                  <a:cubicBezTo>
                    <a:pt x="369" y="1768"/>
                    <a:pt x="373" y="1768"/>
                    <a:pt x="378" y="1768"/>
                  </a:cubicBezTo>
                  <a:cubicBezTo>
                    <a:pt x="489" y="1759"/>
                    <a:pt x="544" y="1620"/>
                    <a:pt x="562" y="1510"/>
                  </a:cubicBezTo>
                  <a:cubicBezTo>
                    <a:pt x="617" y="1252"/>
                    <a:pt x="645" y="985"/>
                    <a:pt x="645" y="718"/>
                  </a:cubicBezTo>
                  <a:cubicBezTo>
                    <a:pt x="654" y="589"/>
                    <a:pt x="636" y="451"/>
                    <a:pt x="608" y="322"/>
                  </a:cubicBezTo>
                  <a:cubicBezTo>
                    <a:pt x="571" y="194"/>
                    <a:pt x="498" y="74"/>
                    <a:pt x="387"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09" name="Google Shape;3779;p45"/>
            <p:cNvSpPr/>
            <p:nvPr/>
          </p:nvSpPr>
          <p:spPr>
            <a:xfrm>
              <a:off x="3846225" y="3972225"/>
              <a:ext cx="7400" cy="39150"/>
            </a:xfrm>
            <a:custGeom>
              <a:avLst/>
              <a:gdLst/>
              <a:ahLst/>
              <a:cxnLst/>
              <a:rect l="l" t="t" r="r" b="b"/>
              <a:pathLst>
                <a:path w="296" h="1566" extrusionOk="0">
                  <a:moveTo>
                    <a:pt x="148" y="0"/>
                  </a:moveTo>
                  <a:cubicBezTo>
                    <a:pt x="65" y="0"/>
                    <a:pt x="1" y="350"/>
                    <a:pt x="1" y="783"/>
                  </a:cubicBezTo>
                  <a:cubicBezTo>
                    <a:pt x="1" y="1216"/>
                    <a:pt x="65" y="1565"/>
                    <a:pt x="148" y="1565"/>
                  </a:cubicBezTo>
                  <a:cubicBezTo>
                    <a:pt x="231" y="1565"/>
                    <a:pt x="296" y="1216"/>
                    <a:pt x="296" y="783"/>
                  </a:cubicBezTo>
                  <a:cubicBezTo>
                    <a:pt x="296" y="350"/>
                    <a:pt x="231" y="0"/>
                    <a:pt x="148"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10" name="Google Shape;3780;p45"/>
            <p:cNvSpPr/>
            <p:nvPr/>
          </p:nvSpPr>
          <p:spPr>
            <a:xfrm>
              <a:off x="3841400" y="3763475"/>
              <a:ext cx="16375" cy="44450"/>
            </a:xfrm>
            <a:custGeom>
              <a:avLst/>
              <a:gdLst/>
              <a:ahLst/>
              <a:cxnLst/>
              <a:rect l="l" t="t" r="r" b="b"/>
              <a:pathLst>
                <a:path w="655" h="1778" extrusionOk="0">
                  <a:moveTo>
                    <a:pt x="387" y="0"/>
                  </a:moveTo>
                  <a:lnTo>
                    <a:pt x="397" y="19"/>
                  </a:lnTo>
                  <a:cubicBezTo>
                    <a:pt x="382" y="16"/>
                    <a:pt x="367" y="15"/>
                    <a:pt x="352" y="15"/>
                  </a:cubicBezTo>
                  <a:cubicBezTo>
                    <a:pt x="267" y="15"/>
                    <a:pt x="187" y="60"/>
                    <a:pt x="148" y="138"/>
                  </a:cubicBezTo>
                  <a:cubicBezTo>
                    <a:pt x="102" y="221"/>
                    <a:pt x="84" y="323"/>
                    <a:pt x="74" y="424"/>
                  </a:cubicBezTo>
                  <a:cubicBezTo>
                    <a:pt x="37" y="811"/>
                    <a:pt x="1" y="1206"/>
                    <a:pt x="148" y="1575"/>
                  </a:cubicBezTo>
                  <a:cubicBezTo>
                    <a:pt x="183" y="1672"/>
                    <a:pt x="253" y="1778"/>
                    <a:pt x="364" y="1778"/>
                  </a:cubicBezTo>
                  <a:cubicBezTo>
                    <a:pt x="369" y="1778"/>
                    <a:pt x="373" y="1778"/>
                    <a:pt x="378" y="1777"/>
                  </a:cubicBezTo>
                  <a:cubicBezTo>
                    <a:pt x="489" y="1759"/>
                    <a:pt x="544" y="1621"/>
                    <a:pt x="562" y="1510"/>
                  </a:cubicBezTo>
                  <a:cubicBezTo>
                    <a:pt x="617" y="1252"/>
                    <a:pt x="645" y="985"/>
                    <a:pt x="645" y="718"/>
                  </a:cubicBezTo>
                  <a:cubicBezTo>
                    <a:pt x="654" y="590"/>
                    <a:pt x="636" y="451"/>
                    <a:pt x="608" y="323"/>
                  </a:cubicBezTo>
                  <a:cubicBezTo>
                    <a:pt x="571" y="194"/>
                    <a:pt x="498" y="83"/>
                    <a:pt x="387"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11" name="Google Shape;3781;p45"/>
            <p:cNvSpPr/>
            <p:nvPr/>
          </p:nvSpPr>
          <p:spPr>
            <a:xfrm>
              <a:off x="3841400" y="3763475"/>
              <a:ext cx="16375" cy="44450"/>
            </a:xfrm>
            <a:custGeom>
              <a:avLst/>
              <a:gdLst/>
              <a:ahLst/>
              <a:cxnLst/>
              <a:rect l="l" t="t" r="r" b="b"/>
              <a:pathLst>
                <a:path w="655" h="1778" extrusionOk="0">
                  <a:moveTo>
                    <a:pt x="387" y="0"/>
                  </a:moveTo>
                  <a:lnTo>
                    <a:pt x="397" y="19"/>
                  </a:lnTo>
                  <a:cubicBezTo>
                    <a:pt x="382" y="16"/>
                    <a:pt x="367" y="15"/>
                    <a:pt x="352" y="15"/>
                  </a:cubicBezTo>
                  <a:cubicBezTo>
                    <a:pt x="267" y="15"/>
                    <a:pt x="187" y="60"/>
                    <a:pt x="148" y="138"/>
                  </a:cubicBezTo>
                  <a:cubicBezTo>
                    <a:pt x="102" y="221"/>
                    <a:pt x="84" y="323"/>
                    <a:pt x="74" y="424"/>
                  </a:cubicBezTo>
                  <a:cubicBezTo>
                    <a:pt x="37" y="811"/>
                    <a:pt x="1" y="1206"/>
                    <a:pt x="148" y="1575"/>
                  </a:cubicBezTo>
                  <a:cubicBezTo>
                    <a:pt x="183" y="1672"/>
                    <a:pt x="253" y="1778"/>
                    <a:pt x="364" y="1778"/>
                  </a:cubicBezTo>
                  <a:cubicBezTo>
                    <a:pt x="369" y="1778"/>
                    <a:pt x="373" y="1778"/>
                    <a:pt x="378" y="1777"/>
                  </a:cubicBezTo>
                  <a:cubicBezTo>
                    <a:pt x="489" y="1759"/>
                    <a:pt x="544" y="1621"/>
                    <a:pt x="562" y="1510"/>
                  </a:cubicBezTo>
                  <a:cubicBezTo>
                    <a:pt x="617" y="1252"/>
                    <a:pt x="645" y="985"/>
                    <a:pt x="645" y="718"/>
                  </a:cubicBezTo>
                  <a:cubicBezTo>
                    <a:pt x="654" y="590"/>
                    <a:pt x="636" y="451"/>
                    <a:pt x="608" y="323"/>
                  </a:cubicBezTo>
                  <a:cubicBezTo>
                    <a:pt x="571" y="194"/>
                    <a:pt x="498" y="83"/>
                    <a:pt x="387"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12" name="Google Shape;3782;p45"/>
            <p:cNvSpPr/>
            <p:nvPr/>
          </p:nvSpPr>
          <p:spPr>
            <a:xfrm>
              <a:off x="3846225" y="3768075"/>
              <a:ext cx="7400" cy="39375"/>
            </a:xfrm>
            <a:custGeom>
              <a:avLst/>
              <a:gdLst/>
              <a:ahLst/>
              <a:cxnLst/>
              <a:rect l="l" t="t" r="r" b="b"/>
              <a:pathLst>
                <a:path w="296" h="1575" extrusionOk="0">
                  <a:moveTo>
                    <a:pt x="148" y="1"/>
                  </a:moveTo>
                  <a:cubicBezTo>
                    <a:pt x="65" y="1"/>
                    <a:pt x="1" y="350"/>
                    <a:pt x="1" y="783"/>
                  </a:cubicBezTo>
                  <a:cubicBezTo>
                    <a:pt x="1" y="1216"/>
                    <a:pt x="65" y="1575"/>
                    <a:pt x="148" y="1575"/>
                  </a:cubicBezTo>
                  <a:cubicBezTo>
                    <a:pt x="231" y="1575"/>
                    <a:pt x="296" y="1225"/>
                    <a:pt x="296" y="783"/>
                  </a:cubicBezTo>
                  <a:cubicBezTo>
                    <a:pt x="296" y="350"/>
                    <a:pt x="231" y="1"/>
                    <a:pt x="148" y="1"/>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13" name="Google Shape;3783;p45"/>
            <p:cNvSpPr/>
            <p:nvPr/>
          </p:nvSpPr>
          <p:spPr>
            <a:xfrm>
              <a:off x="3446450" y="3730100"/>
              <a:ext cx="159075" cy="16375"/>
            </a:xfrm>
            <a:custGeom>
              <a:avLst/>
              <a:gdLst/>
              <a:ahLst/>
              <a:cxnLst/>
              <a:rect l="l" t="t" r="r" b="b"/>
              <a:pathLst>
                <a:path w="6363" h="655" extrusionOk="0">
                  <a:moveTo>
                    <a:pt x="332" y="1"/>
                  </a:moveTo>
                  <a:cubicBezTo>
                    <a:pt x="148" y="1"/>
                    <a:pt x="1" y="148"/>
                    <a:pt x="1" y="332"/>
                  </a:cubicBezTo>
                  <a:cubicBezTo>
                    <a:pt x="1" y="507"/>
                    <a:pt x="148" y="654"/>
                    <a:pt x="332" y="654"/>
                  </a:cubicBezTo>
                  <a:lnTo>
                    <a:pt x="6040" y="654"/>
                  </a:lnTo>
                  <a:cubicBezTo>
                    <a:pt x="6215" y="654"/>
                    <a:pt x="6362" y="507"/>
                    <a:pt x="6362" y="332"/>
                  </a:cubicBezTo>
                  <a:cubicBezTo>
                    <a:pt x="6362" y="148"/>
                    <a:pt x="6215" y="1"/>
                    <a:pt x="6040"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14" name="Google Shape;3784;p45"/>
            <p:cNvSpPr/>
            <p:nvPr/>
          </p:nvSpPr>
          <p:spPr>
            <a:xfrm>
              <a:off x="3446450" y="3730100"/>
              <a:ext cx="96000" cy="16375"/>
            </a:xfrm>
            <a:custGeom>
              <a:avLst/>
              <a:gdLst/>
              <a:ahLst/>
              <a:cxnLst/>
              <a:rect l="l" t="t" r="r" b="b"/>
              <a:pathLst>
                <a:path w="3840" h="655" extrusionOk="0">
                  <a:moveTo>
                    <a:pt x="332" y="1"/>
                  </a:moveTo>
                  <a:cubicBezTo>
                    <a:pt x="148" y="1"/>
                    <a:pt x="1" y="148"/>
                    <a:pt x="1" y="332"/>
                  </a:cubicBezTo>
                  <a:cubicBezTo>
                    <a:pt x="1" y="507"/>
                    <a:pt x="148" y="654"/>
                    <a:pt x="332" y="654"/>
                  </a:cubicBezTo>
                  <a:lnTo>
                    <a:pt x="3840" y="654"/>
                  </a:lnTo>
                  <a:lnTo>
                    <a:pt x="3840" y="1"/>
                  </a:ln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15" name="Google Shape;3785;p45"/>
            <p:cNvSpPr/>
            <p:nvPr/>
          </p:nvSpPr>
          <p:spPr>
            <a:xfrm>
              <a:off x="3446450" y="3754725"/>
              <a:ext cx="159075" cy="16375"/>
            </a:xfrm>
            <a:custGeom>
              <a:avLst/>
              <a:gdLst/>
              <a:ahLst/>
              <a:cxnLst/>
              <a:rect l="l" t="t" r="r" b="b"/>
              <a:pathLst>
                <a:path w="6363" h="655" extrusionOk="0">
                  <a:moveTo>
                    <a:pt x="332" y="1"/>
                  </a:moveTo>
                  <a:cubicBezTo>
                    <a:pt x="148" y="1"/>
                    <a:pt x="1" y="148"/>
                    <a:pt x="1" y="323"/>
                  </a:cubicBezTo>
                  <a:cubicBezTo>
                    <a:pt x="1" y="507"/>
                    <a:pt x="148" y="654"/>
                    <a:pt x="332" y="654"/>
                  </a:cubicBezTo>
                  <a:lnTo>
                    <a:pt x="6040" y="654"/>
                  </a:lnTo>
                  <a:cubicBezTo>
                    <a:pt x="6215" y="654"/>
                    <a:pt x="6362" y="507"/>
                    <a:pt x="6362" y="323"/>
                  </a:cubicBezTo>
                  <a:cubicBezTo>
                    <a:pt x="6362" y="148"/>
                    <a:pt x="6215" y="1"/>
                    <a:pt x="6040"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16" name="Google Shape;3786;p45"/>
            <p:cNvSpPr/>
            <p:nvPr/>
          </p:nvSpPr>
          <p:spPr>
            <a:xfrm>
              <a:off x="3446450" y="3754725"/>
              <a:ext cx="50450" cy="16375"/>
            </a:xfrm>
            <a:custGeom>
              <a:avLst/>
              <a:gdLst/>
              <a:ahLst/>
              <a:cxnLst/>
              <a:rect l="l" t="t" r="r" b="b"/>
              <a:pathLst>
                <a:path w="2018" h="655" extrusionOk="0">
                  <a:moveTo>
                    <a:pt x="332" y="1"/>
                  </a:moveTo>
                  <a:cubicBezTo>
                    <a:pt x="148" y="1"/>
                    <a:pt x="1" y="148"/>
                    <a:pt x="1" y="323"/>
                  </a:cubicBezTo>
                  <a:cubicBezTo>
                    <a:pt x="1" y="507"/>
                    <a:pt x="148" y="654"/>
                    <a:pt x="332" y="654"/>
                  </a:cubicBezTo>
                  <a:lnTo>
                    <a:pt x="2017" y="654"/>
                  </a:lnTo>
                  <a:lnTo>
                    <a:pt x="2017" y="1"/>
                  </a:ln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17" name="Google Shape;3787;p45"/>
            <p:cNvSpPr/>
            <p:nvPr/>
          </p:nvSpPr>
          <p:spPr>
            <a:xfrm>
              <a:off x="3449225" y="3691100"/>
              <a:ext cx="32000" cy="24300"/>
            </a:xfrm>
            <a:custGeom>
              <a:avLst/>
              <a:gdLst/>
              <a:ahLst/>
              <a:cxnLst/>
              <a:rect l="l" t="t" r="r" b="b"/>
              <a:pathLst>
                <a:path w="1280" h="972" extrusionOk="0">
                  <a:moveTo>
                    <a:pt x="309" y="0"/>
                  </a:moveTo>
                  <a:cubicBezTo>
                    <a:pt x="163" y="0"/>
                    <a:pt x="35" y="105"/>
                    <a:pt x="19" y="253"/>
                  </a:cubicBezTo>
                  <a:cubicBezTo>
                    <a:pt x="0" y="410"/>
                    <a:pt x="56" y="566"/>
                    <a:pt x="175" y="677"/>
                  </a:cubicBezTo>
                  <a:cubicBezTo>
                    <a:pt x="313" y="796"/>
                    <a:pt x="461" y="888"/>
                    <a:pt x="626" y="971"/>
                  </a:cubicBezTo>
                  <a:cubicBezTo>
                    <a:pt x="820" y="898"/>
                    <a:pt x="985" y="787"/>
                    <a:pt x="1124" y="640"/>
                  </a:cubicBezTo>
                  <a:cubicBezTo>
                    <a:pt x="1243" y="483"/>
                    <a:pt x="1280" y="235"/>
                    <a:pt x="1142" y="97"/>
                  </a:cubicBezTo>
                  <a:cubicBezTo>
                    <a:pt x="1080" y="35"/>
                    <a:pt x="997" y="4"/>
                    <a:pt x="913" y="4"/>
                  </a:cubicBezTo>
                  <a:cubicBezTo>
                    <a:pt x="885" y="4"/>
                    <a:pt x="857" y="7"/>
                    <a:pt x="829" y="14"/>
                  </a:cubicBezTo>
                  <a:cubicBezTo>
                    <a:pt x="718" y="51"/>
                    <a:pt x="636" y="143"/>
                    <a:pt x="608" y="262"/>
                  </a:cubicBezTo>
                  <a:cubicBezTo>
                    <a:pt x="571" y="143"/>
                    <a:pt x="479" y="51"/>
                    <a:pt x="359" y="5"/>
                  </a:cubicBezTo>
                  <a:cubicBezTo>
                    <a:pt x="342" y="2"/>
                    <a:pt x="325" y="0"/>
                    <a:pt x="309"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18" name="Google Shape;3788;p45"/>
            <p:cNvSpPr/>
            <p:nvPr/>
          </p:nvSpPr>
          <p:spPr>
            <a:xfrm>
              <a:off x="3487425" y="3691100"/>
              <a:ext cx="32025" cy="24300"/>
            </a:xfrm>
            <a:custGeom>
              <a:avLst/>
              <a:gdLst/>
              <a:ahLst/>
              <a:cxnLst/>
              <a:rect l="l" t="t" r="r" b="b"/>
              <a:pathLst>
                <a:path w="1281" h="972" extrusionOk="0">
                  <a:moveTo>
                    <a:pt x="311" y="0"/>
                  </a:moveTo>
                  <a:cubicBezTo>
                    <a:pt x="172" y="0"/>
                    <a:pt x="44" y="105"/>
                    <a:pt x="19" y="253"/>
                  </a:cubicBezTo>
                  <a:cubicBezTo>
                    <a:pt x="1" y="410"/>
                    <a:pt x="65" y="566"/>
                    <a:pt x="185" y="677"/>
                  </a:cubicBezTo>
                  <a:cubicBezTo>
                    <a:pt x="314" y="796"/>
                    <a:pt x="470" y="888"/>
                    <a:pt x="627" y="971"/>
                  </a:cubicBezTo>
                  <a:lnTo>
                    <a:pt x="636" y="971"/>
                  </a:lnTo>
                  <a:cubicBezTo>
                    <a:pt x="820" y="898"/>
                    <a:pt x="995" y="787"/>
                    <a:pt x="1133" y="640"/>
                  </a:cubicBezTo>
                  <a:cubicBezTo>
                    <a:pt x="1262" y="483"/>
                    <a:pt x="1280" y="235"/>
                    <a:pt x="1142" y="97"/>
                  </a:cubicBezTo>
                  <a:cubicBezTo>
                    <a:pt x="1080" y="35"/>
                    <a:pt x="997" y="4"/>
                    <a:pt x="913" y="4"/>
                  </a:cubicBezTo>
                  <a:cubicBezTo>
                    <a:pt x="885" y="4"/>
                    <a:pt x="857" y="7"/>
                    <a:pt x="829" y="14"/>
                  </a:cubicBezTo>
                  <a:cubicBezTo>
                    <a:pt x="719" y="51"/>
                    <a:pt x="636" y="143"/>
                    <a:pt x="617" y="262"/>
                  </a:cubicBezTo>
                  <a:cubicBezTo>
                    <a:pt x="571" y="143"/>
                    <a:pt x="479" y="51"/>
                    <a:pt x="360" y="5"/>
                  </a:cubicBezTo>
                  <a:cubicBezTo>
                    <a:pt x="343" y="2"/>
                    <a:pt x="327" y="0"/>
                    <a:pt x="311"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19" name="Google Shape;3789;p45"/>
            <p:cNvSpPr/>
            <p:nvPr/>
          </p:nvSpPr>
          <p:spPr>
            <a:xfrm>
              <a:off x="3525625" y="3691100"/>
              <a:ext cx="32025" cy="24300"/>
            </a:xfrm>
            <a:custGeom>
              <a:avLst/>
              <a:gdLst/>
              <a:ahLst/>
              <a:cxnLst/>
              <a:rect l="l" t="t" r="r" b="b"/>
              <a:pathLst>
                <a:path w="1281" h="972" extrusionOk="0">
                  <a:moveTo>
                    <a:pt x="920" y="0"/>
                  </a:moveTo>
                  <a:cubicBezTo>
                    <a:pt x="778" y="0"/>
                    <a:pt x="641" y="97"/>
                    <a:pt x="618" y="262"/>
                  </a:cubicBezTo>
                  <a:cubicBezTo>
                    <a:pt x="572" y="143"/>
                    <a:pt x="480" y="51"/>
                    <a:pt x="360" y="5"/>
                  </a:cubicBezTo>
                  <a:cubicBezTo>
                    <a:pt x="348" y="3"/>
                    <a:pt x="337" y="3"/>
                    <a:pt x="326" y="3"/>
                  </a:cubicBezTo>
                  <a:cubicBezTo>
                    <a:pt x="181" y="3"/>
                    <a:pt x="45" y="108"/>
                    <a:pt x="19" y="253"/>
                  </a:cubicBezTo>
                  <a:cubicBezTo>
                    <a:pt x="1" y="410"/>
                    <a:pt x="65" y="566"/>
                    <a:pt x="185" y="677"/>
                  </a:cubicBezTo>
                  <a:cubicBezTo>
                    <a:pt x="323" y="796"/>
                    <a:pt x="470" y="888"/>
                    <a:pt x="636" y="971"/>
                  </a:cubicBezTo>
                  <a:cubicBezTo>
                    <a:pt x="820" y="898"/>
                    <a:pt x="995" y="787"/>
                    <a:pt x="1124" y="640"/>
                  </a:cubicBezTo>
                  <a:cubicBezTo>
                    <a:pt x="1253" y="483"/>
                    <a:pt x="1280" y="235"/>
                    <a:pt x="1142" y="97"/>
                  </a:cubicBezTo>
                  <a:cubicBezTo>
                    <a:pt x="1080" y="31"/>
                    <a:pt x="999" y="0"/>
                    <a:pt x="920"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20" name="Google Shape;3790;p45"/>
            <p:cNvSpPr/>
            <p:nvPr/>
          </p:nvSpPr>
          <p:spPr>
            <a:xfrm>
              <a:off x="3565450" y="3691100"/>
              <a:ext cx="31775" cy="24300"/>
            </a:xfrm>
            <a:custGeom>
              <a:avLst/>
              <a:gdLst/>
              <a:ahLst/>
              <a:cxnLst/>
              <a:rect l="l" t="t" r="r" b="b"/>
              <a:pathLst>
                <a:path w="1271" h="972" extrusionOk="0">
                  <a:moveTo>
                    <a:pt x="912" y="0"/>
                  </a:moveTo>
                  <a:cubicBezTo>
                    <a:pt x="773" y="0"/>
                    <a:pt x="638" y="97"/>
                    <a:pt x="608" y="262"/>
                  </a:cubicBezTo>
                  <a:cubicBezTo>
                    <a:pt x="562" y="143"/>
                    <a:pt x="470" y="51"/>
                    <a:pt x="350" y="5"/>
                  </a:cubicBezTo>
                  <a:cubicBezTo>
                    <a:pt x="339" y="3"/>
                    <a:pt x="327" y="3"/>
                    <a:pt x="316" y="3"/>
                  </a:cubicBezTo>
                  <a:cubicBezTo>
                    <a:pt x="172" y="3"/>
                    <a:pt x="36" y="108"/>
                    <a:pt x="19" y="253"/>
                  </a:cubicBezTo>
                  <a:cubicBezTo>
                    <a:pt x="0" y="410"/>
                    <a:pt x="56" y="566"/>
                    <a:pt x="175" y="677"/>
                  </a:cubicBezTo>
                  <a:cubicBezTo>
                    <a:pt x="313" y="796"/>
                    <a:pt x="461" y="888"/>
                    <a:pt x="626" y="971"/>
                  </a:cubicBezTo>
                  <a:cubicBezTo>
                    <a:pt x="811" y="898"/>
                    <a:pt x="986" y="787"/>
                    <a:pt x="1124" y="640"/>
                  </a:cubicBezTo>
                  <a:cubicBezTo>
                    <a:pt x="1243" y="483"/>
                    <a:pt x="1271" y="235"/>
                    <a:pt x="1133" y="97"/>
                  </a:cubicBezTo>
                  <a:cubicBezTo>
                    <a:pt x="1070" y="31"/>
                    <a:pt x="991" y="0"/>
                    <a:pt x="912" y="0"/>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21" name="Google Shape;3791;p45"/>
            <p:cNvSpPr/>
            <p:nvPr/>
          </p:nvSpPr>
          <p:spPr>
            <a:xfrm>
              <a:off x="3576950" y="3863600"/>
              <a:ext cx="12700" cy="12675"/>
            </a:xfrm>
            <a:custGeom>
              <a:avLst/>
              <a:gdLst/>
              <a:ahLst/>
              <a:cxnLst/>
              <a:rect l="l" t="t" r="r" b="b"/>
              <a:pathLst>
                <a:path w="508" h="507" extrusionOk="0">
                  <a:moveTo>
                    <a:pt x="249" y="0"/>
                  </a:moveTo>
                  <a:lnTo>
                    <a:pt x="222" y="64"/>
                  </a:lnTo>
                  <a:cubicBezTo>
                    <a:pt x="185" y="129"/>
                    <a:pt x="130" y="184"/>
                    <a:pt x="65" y="221"/>
                  </a:cubicBezTo>
                  <a:lnTo>
                    <a:pt x="1" y="258"/>
                  </a:lnTo>
                  <a:lnTo>
                    <a:pt x="65" y="285"/>
                  </a:lnTo>
                  <a:cubicBezTo>
                    <a:pt x="130" y="322"/>
                    <a:pt x="185" y="378"/>
                    <a:pt x="222" y="442"/>
                  </a:cubicBezTo>
                  <a:lnTo>
                    <a:pt x="249" y="506"/>
                  </a:lnTo>
                  <a:lnTo>
                    <a:pt x="286" y="442"/>
                  </a:lnTo>
                  <a:cubicBezTo>
                    <a:pt x="323" y="378"/>
                    <a:pt x="378" y="322"/>
                    <a:pt x="443" y="285"/>
                  </a:cubicBezTo>
                  <a:lnTo>
                    <a:pt x="507" y="258"/>
                  </a:lnTo>
                  <a:lnTo>
                    <a:pt x="443" y="221"/>
                  </a:lnTo>
                  <a:cubicBezTo>
                    <a:pt x="378" y="184"/>
                    <a:pt x="323" y="129"/>
                    <a:pt x="286" y="64"/>
                  </a:cubicBezTo>
                  <a:lnTo>
                    <a:pt x="249" y="0"/>
                  </a:ln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22" name="Google Shape;3792;p45"/>
            <p:cNvSpPr/>
            <p:nvPr/>
          </p:nvSpPr>
          <p:spPr>
            <a:xfrm>
              <a:off x="4022525" y="4014100"/>
              <a:ext cx="12700" cy="12925"/>
            </a:xfrm>
            <a:custGeom>
              <a:avLst/>
              <a:gdLst/>
              <a:ahLst/>
              <a:cxnLst/>
              <a:rect l="l" t="t" r="r" b="b"/>
              <a:pathLst>
                <a:path w="508" h="517" extrusionOk="0">
                  <a:moveTo>
                    <a:pt x="249" y="1"/>
                  </a:moveTo>
                  <a:lnTo>
                    <a:pt x="222" y="65"/>
                  </a:lnTo>
                  <a:cubicBezTo>
                    <a:pt x="185" y="130"/>
                    <a:pt x="130" y="185"/>
                    <a:pt x="65" y="222"/>
                  </a:cubicBezTo>
                  <a:lnTo>
                    <a:pt x="1" y="259"/>
                  </a:lnTo>
                  <a:lnTo>
                    <a:pt x="65" y="295"/>
                  </a:lnTo>
                  <a:cubicBezTo>
                    <a:pt x="130" y="332"/>
                    <a:pt x="185" y="388"/>
                    <a:pt x="222" y="452"/>
                  </a:cubicBezTo>
                  <a:lnTo>
                    <a:pt x="249" y="516"/>
                  </a:lnTo>
                  <a:lnTo>
                    <a:pt x="286" y="452"/>
                  </a:lnTo>
                  <a:cubicBezTo>
                    <a:pt x="323" y="388"/>
                    <a:pt x="378" y="332"/>
                    <a:pt x="443" y="295"/>
                  </a:cubicBezTo>
                  <a:lnTo>
                    <a:pt x="507" y="259"/>
                  </a:lnTo>
                  <a:lnTo>
                    <a:pt x="443" y="222"/>
                  </a:lnTo>
                  <a:cubicBezTo>
                    <a:pt x="378" y="185"/>
                    <a:pt x="323" y="130"/>
                    <a:pt x="286" y="65"/>
                  </a:cubicBezTo>
                  <a:lnTo>
                    <a:pt x="249" y="1"/>
                  </a:ln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23" name="Google Shape;3793;p45"/>
            <p:cNvSpPr/>
            <p:nvPr/>
          </p:nvSpPr>
          <p:spPr>
            <a:xfrm>
              <a:off x="3758775" y="3925725"/>
              <a:ext cx="18900" cy="18675"/>
            </a:xfrm>
            <a:custGeom>
              <a:avLst/>
              <a:gdLst/>
              <a:ahLst/>
              <a:cxnLst/>
              <a:rect l="l" t="t" r="r" b="b"/>
              <a:pathLst>
                <a:path w="756" h="747" extrusionOk="0">
                  <a:moveTo>
                    <a:pt x="378" y="1"/>
                  </a:moveTo>
                  <a:lnTo>
                    <a:pt x="323" y="93"/>
                  </a:lnTo>
                  <a:cubicBezTo>
                    <a:pt x="277" y="185"/>
                    <a:pt x="194" y="268"/>
                    <a:pt x="93" y="323"/>
                  </a:cubicBezTo>
                  <a:lnTo>
                    <a:pt x="1" y="378"/>
                  </a:lnTo>
                  <a:lnTo>
                    <a:pt x="93" y="424"/>
                  </a:lnTo>
                  <a:cubicBezTo>
                    <a:pt x="194" y="479"/>
                    <a:pt x="277" y="562"/>
                    <a:pt x="323" y="654"/>
                  </a:cubicBezTo>
                  <a:lnTo>
                    <a:pt x="378" y="746"/>
                  </a:lnTo>
                  <a:lnTo>
                    <a:pt x="433" y="654"/>
                  </a:lnTo>
                  <a:cubicBezTo>
                    <a:pt x="479" y="562"/>
                    <a:pt x="562" y="479"/>
                    <a:pt x="663" y="424"/>
                  </a:cubicBezTo>
                  <a:lnTo>
                    <a:pt x="756" y="378"/>
                  </a:lnTo>
                  <a:lnTo>
                    <a:pt x="663" y="323"/>
                  </a:lnTo>
                  <a:cubicBezTo>
                    <a:pt x="562" y="268"/>
                    <a:pt x="479" y="185"/>
                    <a:pt x="433" y="93"/>
                  </a:cubicBezTo>
                  <a:lnTo>
                    <a:pt x="378" y="1"/>
                  </a:ln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24" name="Google Shape;3794;p45"/>
            <p:cNvSpPr/>
            <p:nvPr/>
          </p:nvSpPr>
          <p:spPr>
            <a:xfrm>
              <a:off x="4104000" y="4107775"/>
              <a:ext cx="18675" cy="18675"/>
            </a:xfrm>
            <a:custGeom>
              <a:avLst/>
              <a:gdLst/>
              <a:ahLst/>
              <a:cxnLst/>
              <a:rect l="l" t="t" r="r" b="b"/>
              <a:pathLst>
                <a:path w="747" h="747" extrusionOk="0">
                  <a:moveTo>
                    <a:pt x="378" y="1"/>
                  </a:moveTo>
                  <a:lnTo>
                    <a:pt x="323" y="93"/>
                  </a:lnTo>
                  <a:cubicBezTo>
                    <a:pt x="268" y="185"/>
                    <a:pt x="185" y="268"/>
                    <a:pt x="93" y="323"/>
                  </a:cubicBezTo>
                  <a:lnTo>
                    <a:pt x="1" y="369"/>
                  </a:lnTo>
                  <a:lnTo>
                    <a:pt x="93" y="424"/>
                  </a:lnTo>
                  <a:cubicBezTo>
                    <a:pt x="194" y="479"/>
                    <a:pt x="268" y="553"/>
                    <a:pt x="323" y="654"/>
                  </a:cubicBezTo>
                  <a:lnTo>
                    <a:pt x="378" y="746"/>
                  </a:lnTo>
                  <a:lnTo>
                    <a:pt x="424" y="654"/>
                  </a:lnTo>
                  <a:cubicBezTo>
                    <a:pt x="480" y="553"/>
                    <a:pt x="562" y="479"/>
                    <a:pt x="655" y="424"/>
                  </a:cubicBezTo>
                  <a:lnTo>
                    <a:pt x="747" y="369"/>
                  </a:lnTo>
                  <a:lnTo>
                    <a:pt x="655" y="323"/>
                  </a:lnTo>
                  <a:cubicBezTo>
                    <a:pt x="562" y="268"/>
                    <a:pt x="480" y="185"/>
                    <a:pt x="424" y="93"/>
                  </a:cubicBezTo>
                  <a:lnTo>
                    <a:pt x="378" y="1"/>
                  </a:ln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25" name="Google Shape;3795;p45"/>
            <p:cNvSpPr/>
            <p:nvPr/>
          </p:nvSpPr>
          <p:spPr>
            <a:xfrm>
              <a:off x="3596050" y="4210200"/>
              <a:ext cx="5800" cy="5550"/>
            </a:xfrm>
            <a:custGeom>
              <a:avLst/>
              <a:gdLst/>
              <a:ahLst/>
              <a:cxnLst/>
              <a:rect l="l" t="t" r="r" b="b"/>
              <a:pathLst>
                <a:path w="232" h="222" extrusionOk="0">
                  <a:moveTo>
                    <a:pt x="121" y="0"/>
                  </a:moveTo>
                  <a:lnTo>
                    <a:pt x="102" y="28"/>
                  </a:lnTo>
                  <a:cubicBezTo>
                    <a:pt x="84" y="56"/>
                    <a:pt x="65" y="74"/>
                    <a:pt x="38" y="93"/>
                  </a:cubicBezTo>
                  <a:lnTo>
                    <a:pt x="1" y="111"/>
                  </a:lnTo>
                  <a:lnTo>
                    <a:pt x="38" y="129"/>
                  </a:lnTo>
                  <a:cubicBezTo>
                    <a:pt x="65" y="139"/>
                    <a:pt x="84" y="166"/>
                    <a:pt x="102" y="194"/>
                  </a:cubicBezTo>
                  <a:lnTo>
                    <a:pt x="121" y="221"/>
                  </a:lnTo>
                  <a:lnTo>
                    <a:pt x="139" y="194"/>
                  </a:lnTo>
                  <a:cubicBezTo>
                    <a:pt x="148" y="166"/>
                    <a:pt x="176" y="139"/>
                    <a:pt x="203" y="129"/>
                  </a:cubicBezTo>
                  <a:lnTo>
                    <a:pt x="231" y="111"/>
                  </a:lnTo>
                  <a:lnTo>
                    <a:pt x="203" y="93"/>
                  </a:lnTo>
                  <a:cubicBezTo>
                    <a:pt x="176" y="83"/>
                    <a:pt x="148" y="56"/>
                    <a:pt x="139" y="28"/>
                  </a:cubicBezTo>
                  <a:lnTo>
                    <a:pt x="121" y="0"/>
                  </a:ln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26" name="Google Shape;3796;p45"/>
            <p:cNvSpPr/>
            <p:nvPr/>
          </p:nvSpPr>
          <p:spPr>
            <a:xfrm>
              <a:off x="3685600" y="4061525"/>
              <a:ext cx="5775" cy="5775"/>
            </a:xfrm>
            <a:custGeom>
              <a:avLst/>
              <a:gdLst/>
              <a:ahLst/>
              <a:cxnLst/>
              <a:rect l="l" t="t" r="r" b="b"/>
              <a:pathLst>
                <a:path w="231" h="231" extrusionOk="0">
                  <a:moveTo>
                    <a:pt x="111" y="0"/>
                  </a:moveTo>
                  <a:lnTo>
                    <a:pt x="92" y="28"/>
                  </a:lnTo>
                  <a:cubicBezTo>
                    <a:pt x="83" y="56"/>
                    <a:pt x="55" y="83"/>
                    <a:pt x="28" y="102"/>
                  </a:cubicBezTo>
                  <a:lnTo>
                    <a:pt x="0" y="111"/>
                  </a:lnTo>
                  <a:lnTo>
                    <a:pt x="28" y="129"/>
                  </a:lnTo>
                  <a:cubicBezTo>
                    <a:pt x="55" y="148"/>
                    <a:pt x="83" y="175"/>
                    <a:pt x="92" y="203"/>
                  </a:cubicBezTo>
                  <a:lnTo>
                    <a:pt x="111" y="230"/>
                  </a:lnTo>
                  <a:lnTo>
                    <a:pt x="129" y="203"/>
                  </a:lnTo>
                  <a:cubicBezTo>
                    <a:pt x="147" y="175"/>
                    <a:pt x="166" y="148"/>
                    <a:pt x="203" y="129"/>
                  </a:cubicBezTo>
                  <a:lnTo>
                    <a:pt x="230" y="111"/>
                  </a:lnTo>
                  <a:lnTo>
                    <a:pt x="203" y="102"/>
                  </a:lnTo>
                  <a:cubicBezTo>
                    <a:pt x="166" y="83"/>
                    <a:pt x="147" y="56"/>
                    <a:pt x="129" y="28"/>
                  </a:cubicBezTo>
                  <a:lnTo>
                    <a:pt x="111" y="0"/>
                  </a:ln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27" name="Google Shape;3797;p45"/>
            <p:cNvSpPr/>
            <p:nvPr/>
          </p:nvSpPr>
          <p:spPr>
            <a:xfrm>
              <a:off x="3982250" y="4215025"/>
              <a:ext cx="5775" cy="5775"/>
            </a:xfrm>
            <a:custGeom>
              <a:avLst/>
              <a:gdLst/>
              <a:ahLst/>
              <a:cxnLst/>
              <a:rect l="l" t="t" r="r" b="b"/>
              <a:pathLst>
                <a:path w="231" h="231" extrusionOk="0">
                  <a:moveTo>
                    <a:pt x="120" y="1"/>
                  </a:moveTo>
                  <a:lnTo>
                    <a:pt x="102" y="28"/>
                  </a:lnTo>
                  <a:cubicBezTo>
                    <a:pt x="84" y="65"/>
                    <a:pt x="65" y="84"/>
                    <a:pt x="28" y="102"/>
                  </a:cubicBezTo>
                  <a:lnTo>
                    <a:pt x="1" y="120"/>
                  </a:lnTo>
                  <a:lnTo>
                    <a:pt x="28" y="139"/>
                  </a:lnTo>
                  <a:cubicBezTo>
                    <a:pt x="65" y="148"/>
                    <a:pt x="84" y="176"/>
                    <a:pt x="102" y="203"/>
                  </a:cubicBezTo>
                  <a:lnTo>
                    <a:pt x="120" y="231"/>
                  </a:lnTo>
                  <a:lnTo>
                    <a:pt x="130" y="203"/>
                  </a:lnTo>
                  <a:cubicBezTo>
                    <a:pt x="148" y="176"/>
                    <a:pt x="176" y="148"/>
                    <a:pt x="203" y="139"/>
                  </a:cubicBezTo>
                  <a:lnTo>
                    <a:pt x="231" y="120"/>
                  </a:lnTo>
                  <a:lnTo>
                    <a:pt x="203" y="102"/>
                  </a:lnTo>
                  <a:cubicBezTo>
                    <a:pt x="176" y="84"/>
                    <a:pt x="148" y="65"/>
                    <a:pt x="130" y="28"/>
                  </a:cubicBezTo>
                  <a:lnTo>
                    <a:pt x="120" y="1"/>
                  </a:ln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28" name="Google Shape;3798;p45"/>
            <p:cNvSpPr/>
            <p:nvPr/>
          </p:nvSpPr>
          <p:spPr>
            <a:xfrm>
              <a:off x="3950725" y="3939300"/>
              <a:ext cx="5775" cy="5800"/>
            </a:xfrm>
            <a:custGeom>
              <a:avLst/>
              <a:gdLst/>
              <a:ahLst/>
              <a:cxnLst/>
              <a:rect l="l" t="t" r="r" b="b"/>
              <a:pathLst>
                <a:path w="231" h="232" extrusionOk="0">
                  <a:moveTo>
                    <a:pt x="120" y="1"/>
                  </a:moveTo>
                  <a:lnTo>
                    <a:pt x="102" y="28"/>
                  </a:lnTo>
                  <a:cubicBezTo>
                    <a:pt x="83" y="56"/>
                    <a:pt x="65" y="84"/>
                    <a:pt x="28" y="93"/>
                  </a:cubicBezTo>
                  <a:lnTo>
                    <a:pt x="1" y="111"/>
                  </a:lnTo>
                  <a:lnTo>
                    <a:pt x="28" y="130"/>
                  </a:lnTo>
                  <a:cubicBezTo>
                    <a:pt x="65" y="148"/>
                    <a:pt x="83" y="167"/>
                    <a:pt x="102" y="194"/>
                  </a:cubicBezTo>
                  <a:lnTo>
                    <a:pt x="120" y="231"/>
                  </a:lnTo>
                  <a:lnTo>
                    <a:pt x="129" y="194"/>
                  </a:lnTo>
                  <a:cubicBezTo>
                    <a:pt x="148" y="167"/>
                    <a:pt x="175" y="148"/>
                    <a:pt x="203" y="130"/>
                  </a:cubicBezTo>
                  <a:lnTo>
                    <a:pt x="231" y="111"/>
                  </a:lnTo>
                  <a:lnTo>
                    <a:pt x="203" y="93"/>
                  </a:lnTo>
                  <a:cubicBezTo>
                    <a:pt x="175" y="84"/>
                    <a:pt x="148" y="56"/>
                    <a:pt x="129" y="28"/>
                  </a:cubicBezTo>
                  <a:lnTo>
                    <a:pt x="120" y="1"/>
                  </a:ln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29" name="Google Shape;3799;p45"/>
            <p:cNvSpPr/>
            <p:nvPr/>
          </p:nvSpPr>
          <p:spPr>
            <a:xfrm>
              <a:off x="4214025" y="3989475"/>
              <a:ext cx="5775" cy="5775"/>
            </a:xfrm>
            <a:custGeom>
              <a:avLst/>
              <a:gdLst/>
              <a:ahLst/>
              <a:cxnLst/>
              <a:rect l="l" t="t" r="r" b="b"/>
              <a:pathLst>
                <a:path w="231" h="231" extrusionOk="0">
                  <a:moveTo>
                    <a:pt x="120" y="1"/>
                  </a:moveTo>
                  <a:lnTo>
                    <a:pt x="102" y="28"/>
                  </a:lnTo>
                  <a:cubicBezTo>
                    <a:pt x="83" y="65"/>
                    <a:pt x="56" y="84"/>
                    <a:pt x="28" y="102"/>
                  </a:cubicBezTo>
                  <a:lnTo>
                    <a:pt x="0" y="120"/>
                  </a:lnTo>
                  <a:lnTo>
                    <a:pt x="28" y="139"/>
                  </a:lnTo>
                  <a:cubicBezTo>
                    <a:pt x="56" y="148"/>
                    <a:pt x="83" y="176"/>
                    <a:pt x="102" y="203"/>
                  </a:cubicBezTo>
                  <a:lnTo>
                    <a:pt x="120" y="231"/>
                  </a:lnTo>
                  <a:lnTo>
                    <a:pt x="129" y="203"/>
                  </a:lnTo>
                  <a:cubicBezTo>
                    <a:pt x="148" y="176"/>
                    <a:pt x="175" y="148"/>
                    <a:pt x="203" y="139"/>
                  </a:cubicBezTo>
                  <a:lnTo>
                    <a:pt x="231" y="120"/>
                  </a:lnTo>
                  <a:lnTo>
                    <a:pt x="203" y="102"/>
                  </a:lnTo>
                  <a:cubicBezTo>
                    <a:pt x="175" y="84"/>
                    <a:pt x="148" y="65"/>
                    <a:pt x="129" y="28"/>
                  </a:cubicBezTo>
                  <a:lnTo>
                    <a:pt x="120" y="1"/>
                  </a:ln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30" name="Google Shape;3800;p45"/>
            <p:cNvSpPr/>
            <p:nvPr/>
          </p:nvSpPr>
          <p:spPr>
            <a:xfrm>
              <a:off x="3722875" y="3847950"/>
              <a:ext cx="5550" cy="5775"/>
            </a:xfrm>
            <a:custGeom>
              <a:avLst/>
              <a:gdLst/>
              <a:ahLst/>
              <a:cxnLst/>
              <a:rect l="l" t="t" r="r" b="b"/>
              <a:pathLst>
                <a:path w="222" h="231" extrusionOk="0">
                  <a:moveTo>
                    <a:pt x="111" y="0"/>
                  </a:moveTo>
                  <a:lnTo>
                    <a:pt x="93" y="28"/>
                  </a:lnTo>
                  <a:cubicBezTo>
                    <a:pt x="83" y="55"/>
                    <a:pt x="56" y="83"/>
                    <a:pt x="28" y="101"/>
                  </a:cubicBezTo>
                  <a:lnTo>
                    <a:pt x="0" y="120"/>
                  </a:lnTo>
                  <a:lnTo>
                    <a:pt x="28" y="129"/>
                  </a:lnTo>
                  <a:cubicBezTo>
                    <a:pt x="56" y="147"/>
                    <a:pt x="83" y="175"/>
                    <a:pt x="93" y="203"/>
                  </a:cubicBezTo>
                  <a:lnTo>
                    <a:pt x="111" y="230"/>
                  </a:lnTo>
                  <a:lnTo>
                    <a:pt x="129" y="203"/>
                  </a:lnTo>
                  <a:cubicBezTo>
                    <a:pt x="139" y="175"/>
                    <a:pt x="166" y="147"/>
                    <a:pt x="194" y="129"/>
                  </a:cubicBezTo>
                  <a:lnTo>
                    <a:pt x="221" y="120"/>
                  </a:lnTo>
                  <a:lnTo>
                    <a:pt x="194" y="101"/>
                  </a:lnTo>
                  <a:cubicBezTo>
                    <a:pt x="166" y="83"/>
                    <a:pt x="139" y="55"/>
                    <a:pt x="129" y="28"/>
                  </a:cubicBezTo>
                  <a:lnTo>
                    <a:pt x="111" y="0"/>
                  </a:ln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31" name="Google Shape;3801;p45"/>
            <p:cNvSpPr/>
            <p:nvPr/>
          </p:nvSpPr>
          <p:spPr>
            <a:xfrm>
              <a:off x="3556475" y="3804900"/>
              <a:ext cx="5775" cy="5775"/>
            </a:xfrm>
            <a:custGeom>
              <a:avLst/>
              <a:gdLst/>
              <a:ahLst/>
              <a:cxnLst/>
              <a:rect l="l" t="t" r="r" b="b"/>
              <a:pathLst>
                <a:path w="231" h="231" extrusionOk="0">
                  <a:moveTo>
                    <a:pt x="111" y="0"/>
                  </a:moveTo>
                  <a:lnTo>
                    <a:pt x="102" y="28"/>
                  </a:lnTo>
                  <a:cubicBezTo>
                    <a:pt x="83" y="56"/>
                    <a:pt x="56" y="83"/>
                    <a:pt x="28" y="93"/>
                  </a:cubicBezTo>
                  <a:lnTo>
                    <a:pt x="0" y="111"/>
                  </a:lnTo>
                  <a:lnTo>
                    <a:pt x="28" y="129"/>
                  </a:lnTo>
                  <a:cubicBezTo>
                    <a:pt x="56" y="139"/>
                    <a:pt x="83" y="166"/>
                    <a:pt x="102" y="194"/>
                  </a:cubicBezTo>
                  <a:lnTo>
                    <a:pt x="111" y="231"/>
                  </a:lnTo>
                  <a:lnTo>
                    <a:pt x="129" y="194"/>
                  </a:lnTo>
                  <a:cubicBezTo>
                    <a:pt x="148" y="166"/>
                    <a:pt x="166" y="139"/>
                    <a:pt x="203" y="129"/>
                  </a:cubicBezTo>
                  <a:lnTo>
                    <a:pt x="231" y="111"/>
                  </a:lnTo>
                  <a:lnTo>
                    <a:pt x="203" y="93"/>
                  </a:lnTo>
                  <a:cubicBezTo>
                    <a:pt x="166" y="83"/>
                    <a:pt x="148" y="56"/>
                    <a:pt x="129" y="28"/>
                  </a:cubicBezTo>
                  <a:lnTo>
                    <a:pt x="111" y="0"/>
                  </a:ln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32" name="Google Shape;3802;p45"/>
            <p:cNvSpPr/>
            <p:nvPr/>
          </p:nvSpPr>
          <p:spPr>
            <a:xfrm>
              <a:off x="3688350" y="4193625"/>
              <a:ext cx="12925" cy="12675"/>
            </a:xfrm>
            <a:custGeom>
              <a:avLst/>
              <a:gdLst/>
              <a:ahLst/>
              <a:cxnLst/>
              <a:rect l="l" t="t" r="r" b="b"/>
              <a:pathLst>
                <a:path w="517" h="507" extrusionOk="0">
                  <a:moveTo>
                    <a:pt x="258" y="1"/>
                  </a:moveTo>
                  <a:lnTo>
                    <a:pt x="222" y="65"/>
                  </a:lnTo>
                  <a:cubicBezTo>
                    <a:pt x="185" y="130"/>
                    <a:pt x="129" y="185"/>
                    <a:pt x="65" y="222"/>
                  </a:cubicBezTo>
                  <a:lnTo>
                    <a:pt x="1" y="258"/>
                  </a:lnTo>
                  <a:lnTo>
                    <a:pt x="65" y="286"/>
                  </a:lnTo>
                  <a:cubicBezTo>
                    <a:pt x="129" y="323"/>
                    <a:pt x="185" y="378"/>
                    <a:pt x="222" y="443"/>
                  </a:cubicBezTo>
                  <a:lnTo>
                    <a:pt x="258" y="507"/>
                  </a:lnTo>
                  <a:lnTo>
                    <a:pt x="295" y="443"/>
                  </a:lnTo>
                  <a:cubicBezTo>
                    <a:pt x="332" y="378"/>
                    <a:pt x="387" y="323"/>
                    <a:pt x="452" y="286"/>
                  </a:cubicBezTo>
                  <a:lnTo>
                    <a:pt x="516" y="258"/>
                  </a:lnTo>
                  <a:lnTo>
                    <a:pt x="452" y="222"/>
                  </a:lnTo>
                  <a:cubicBezTo>
                    <a:pt x="387" y="185"/>
                    <a:pt x="332" y="130"/>
                    <a:pt x="295" y="65"/>
                  </a:cubicBezTo>
                  <a:lnTo>
                    <a:pt x="258" y="1"/>
                  </a:ln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33" name="Google Shape;3803;p45"/>
            <p:cNvSpPr/>
            <p:nvPr/>
          </p:nvSpPr>
          <p:spPr>
            <a:xfrm>
              <a:off x="4204825" y="4082925"/>
              <a:ext cx="12675" cy="12925"/>
            </a:xfrm>
            <a:custGeom>
              <a:avLst/>
              <a:gdLst/>
              <a:ahLst/>
              <a:cxnLst/>
              <a:rect l="l" t="t" r="r" b="b"/>
              <a:pathLst>
                <a:path w="507" h="517" extrusionOk="0">
                  <a:moveTo>
                    <a:pt x="258" y="0"/>
                  </a:moveTo>
                  <a:lnTo>
                    <a:pt x="221" y="65"/>
                  </a:lnTo>
                  <a:cubicBezTo>
                    <a:pt x="184" y="129"/>
                    <a:pt x="129" y="185"/>
                    <a:pt x="65" y="221"/>
                  </a:cubicBezTo>
                  <a:lnTo>
                    <a:pt x="0" y="258"/>
                  </a:lnTo>
                  <a:lnTo>
                    <a:pt x="65" y="295"/>
                  </a:lnTo>
                  <a:cubicBezTo>
                    <a:pt x="129" y="332"/>
                    <a:pt x="184" y="387"/>
                    <a:pt x="221" y="452"/>
                  </a:cubicBezTo>
                  <a:lnTo>
                    <a:pt x="258" y="516"/>
                  </a:lnTo>
                  <a:lnTo>
                    <a:pt x="286" y="452"/>
                  </a:lnTo>
                  <a:cubicBezTo>
                    <a:pt x="322" y="387"/>
                    <a:pt x="378" y="332"/>
                    <a:pt x="442" y="295"/>
                  </a:cubicBezTo>
                  <a:lnTo>
                    <a:pt x="507" y="258"/>
                  </a:lnTo>
                  <a:lnTo>
                    <a:pt x="442" y="221"/>
                  </a:lnTo>
                  <a:cubicBezTo>
                    <a:pt x="378" y="185"/>
                    <a:pt x="322" y="129"/>
                    <a:pt x="286" y="65"/>
                  </a:cubicBezTo>
                  <a:lnTo>
                    <a:pt x="258" y="0"/>
                  </a:ln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34" name="Google Shape;3804;p45"/>
            <p:cNvSpPr/>
            <p:nvPr/>
          </p:nvSpPr>
          <p:spPr>
            <a:xfrm>
              <a:off x="3731150" y="3736775"/>
              <a:ext cx="12700" cy="12675"/>
            </a:xfrm>
            <a:custGeom>
              <a:avLst/>
              <a:gdLst/>
              <a:ahLst/>
              <a:cxnLst/>
              <a:rect l="l" t="t" r="r" b="b"/>
              <a:pathLst>
                <a:path w="508" h="507" extrusionOk="0">
                  <a:moveTo>
                    <a:pt x="249" y="0"/>
                  </a:moveTo>
                  <a:lnTo>
                    <a:pt x="213" y="65"/>
                  </a:lnTo>
                  <a:cubicBezTo>
                    <a:pt x="176" y="129"/>
                    <a:pt x="130" y="185"/>
                    <a:pt x="65" y="221"/>
                  </a:cubicBezTo>
                  <a:lnTo>
                    <a:pt x="1" y="249"/>
                  </a:lnTo>
                  <a:lnTo>
                    <a:pt x="65" y="286"/>
                  </a:lnTo>
                  <a:cubicBezTo>
                    <a:pt x="130" y="323"/>
                    <a:pt x="185" y="378"/>
                    <a:pt x="222" y="442"/>
                  </a:cubicBezTo>
                  <a:lnTo>
                    <a:pt x="249" y="507"/>
                  </a:lnTo>
                  <a:lnTo>
                    <a:pt x="286" y="442"/>
                  </a:lnTo>
                  <a:cubicBezTo>
                    <a:pt x="323" y="378"/>
                    <a:pt x="378" y="323"/>
                    <a:pt x="443" y="286"/>
                  </a:cubicBezTo>
                  <a:lnTo>
                    <a:pt x="507" y="249"/>
                  </a:lnTo>
                  <a:lnTo>
                    <a:pt x="443" y="221"/>
                  </a:lnTo>
                  <a:cubicBezTo>
                    <a:pt x="378" y="185"/>
                    <a:pt x="323" y="129"/>
                    <a:pt x="286" y="65"/>
                  </a:cubicBezTo>
                  <a:lnTo>
                    <a:pt x="249" y="0"/>
                  </a:ln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35" name="Google Shape;3805;p45"/>
            <p:cNvSpPr/>
            <p:nvPr/>
          </p:nvSpPr>
          <p:spPr>
            <a:xfrm>
              <a:off x="3417000" y="3834900"/>
              <a:ext cx="249050" cy="358575"/>
            </a:xfrm>
            <a:custGeom>
              <a:avLst/>
              <a:gdLst/>
              <a:ahLst/>
              <a:cxnLst/>
              <a:rect l="l" t="t" r="r" b="b"/>
              <a:pathLst>
                <a:path w="9962" h="14343" extrusionOk="0">
                  <a:moveTo>
                    <a:pt x="3077" y="1"/>
                  </a:moveTo>
                  <a:cubicBezTo>
                    <a:pt x="2493" y="1"/>
                    <a:pt x="1896" y="216"/>
                    <a:pt x="1372" y="458"/>
                  </a:cubicBezTo>
                  <a:cubicBezTo>
                    <a:pt x="930" y="679"/>
                    <a:pt x="470" y="881"/>
                    <a:pt x="0" y="1047"/>
                  </a:cubicBezTo>
                  <a:lnTo>
                    <a:pt x="0" y="3643"/>
                  </a:lnTo>
                  <a:cubicBezTo>
                    <a:pt x="910" y="2964"/>
                    <a:pt x="1999" y="2617"/>
                    <a:pt x="3093" y="2617"/>
                  </a:cubicBezTo>
                  <a:cubicBezTo>
                    <a:pt x="3883" y="2617"/>
                    <a:pt x="4675" y="2798"/>
                    <a:pt x="5405" y="3164"/>
                  </a:cubicBezTo>
                  <a:cubicBezTo>
                    <a:pt x="7154" y="4039"/>
                    <a:pt x="8258" y="5834"/>
                    <a:pt x="8258" y="7786"/>
                  </a:cubicBezTo>
                  <a:cubicBezTo>
                    <a:pt x="8258" y="9737"/>
                    <a:pt x="7154" y="11523"/>
                    <a:pt x="5405" y="12398"/>
                  </a:cubicBezTo>
                  <a:cubicBezTo>
                    <a:pt x="4673" y="12770"/>
                    <a:pt x="3877" y="12953"/>
                    <a:pt x="3085" y="12953"/>
                  </a:cubicBezTo>
                  <a:cubicBezTo>
                    <a:pt x="1993" y="12953"/>
                    <a:pt x="907" y="12606"/>
                    <a:pt x="0" y="11928"/>
                  </a:cubicBezTo>
                  <a:lnTo>
                    <a:pt x="0" y="13751"/>
                  </a:lnTo>
                  <a:cubicBezTo>
                    <a:pt x="313" y="13945"/>
                    <a:pt x="654" y="14092"/>
                    <a:pt x="1013" y="14184"/>
                  </a:cubicBezTo>
                  <a:cubicBezTo>
                    <a:pt x="1387" y="14291"/>
                    <a:pt x="1784" y="14343"/>
                    <a:pt x="2181" y="14343"/>
                  </a:cubicBezTo>
                  <a:cubicBezTo>
                    <a:pt x="2947" y="14343"/>
                    <a:pt x="3715" y="14149"/>
                    <a:pt x="4327" y="13779"/>
                  </a:cubicBezTo>
                  <a:cubicBezTo>
                    <a:pt x="4880" y="13457"/>
                    <a:pt x="5312" y="12996"/>
                    <a:pt x="5938" y="12766"/>
                  </a:cubicBezTo>
                  <a:cubicBezTo>
                    <a:pt x="6831" y="12416"/>
                    <a:pt x="7964" y="12591"/>
                    <a:pt x="8783" y="12149"/>
                  </a:cubicBezTo>
                  <a:cubicBezTo>
                    <a:pt x="9649" y="11680"/>
                    <a:pt x="9833" y="10713"/>
                    <a:pt x="9704" y="9885"/>
                  </a:cubicBezTo>
                  <a:cubicBezTo>
                    <a:pt x="9575" y="9056"/>
                    <a:pt x="9216" y="8237"/>
                    <a:pt x="9326" y="7417"/>
                  </a:cubicBezTo>
                  <a:cubicBezTo>
                    <a:pt x="9428" y="6607"/>
                    <a:pt x="9962" y="5825"/>
                    <a:pt x="9741" y="5033"/>
                  </a:cubicBezTo>
                  <a:cubicBezTo>
                    <a:pt x="9538" y="4324"/>
                    <a:pt x="8774" y="3809"/>
                    <a:pt x="8010" y="3422"/>
                  </a:cubicBezTo>
                  <a:cubicBezTo>
                    <a:pt x="7237" y="3035"/>
                    <a:pt x="6380" y="2713"/>
                    <a:pt x="5800" y="2161"/>
                  </a:cubicBezTo>
                  <a:cubicBezTo>
                    <a:pt x="5064" y="1452"/>
                    <a:pt x="4742" y="384"/>
                    <a:pt x="3655" y="80"/>
                  </a:cubicBezTo>
                  <a:cubicBezTo>
                    <a:pt x="3466" y="25"/>
                    <a:pt x="3272" y="1"/>
                    <a:pt x="3077" y="1"/>
                  </a:cubicBezTo>
                  <a:close/>
                </a:path>
              </a:pathLst>
            </a:custGeom>
            <a:solidFill>
              <a:srgbClr val="EBEBE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36" name="Google Shape;3806;p45"/>
            <p:cNvSpPr/>
            <p:nvPr/>
          </p:nvSpPr>
          <p:spPr>
            <a:xfrm>
              <a:off x="3902850" y="3669350"/>
              <a:ext cx="374725" cy="231000"/>
            </a:xfrm>
            <a:custGeom>
              <a:avLst/>
              <a:gdLst/>
              <a:ahLst/>
              <a:cxnLst/>
              <a:rect l="l" t="t" r="r" b="b"/>
              <a:pathLst>
                <a:path w="14989" h="9240" extrusionOk="0">
                  <a:moveTo>
                    <a:pt x="378" y="0"/>
                  </a:moveTo>
                  <a:cubicBezTo>
                    <a:pt x="10" y="1455"/>
                    <a:pt x="1" y="2974"/>
                    <a:pt x="351" y="4437"/>
                  </a:cubicBezTo>
                  <a:cubicBezTo>
                    <a:pt x="977" y="4474"/>
                    <a:pt x="1584" y="4612"/>
                    <a:pt x="2173" y="4824"/>
                  </a:cubicBezTo>
                  <a:cubicBezTo>
                    <a:pt x="3987" y="5542"/>
                    <a:pt x="4447" y="6555"/>
                    <a:pt x="6427" y="8525"/>
                  </a:cubicBezTo>
                  <a:cubicBezTo>
                    <a:pt x="6955" y="9051"/>
                    <a:pt x="7492" y="9239"/>
                    <a:pt x="8035" y="9239"/>
                  </a:cubicBezTo>
                  <a:cubicBezTo>
                    <a:pt x="9397" y="9239"/>
                    <a:pt x="10805" y="8058"/>
                    <a:pt x="12246" y="8058"/>
                  </a:cubicBezTo>
                  <a:cubicBezTo>
                    <a:pt x="12384" y="8058"/>
                    <a:pt x="12521" y="8069"/>
                    <a:pt x="12659" y="8092"/>
                  </a:cubicBezTo>
                  <a:cubicBezTo>
                    <a:pt x="13432" y="8230"/>
                    <a:pt x="14252" y="8553"/>
                    <a:pt x="14988" y="8921"/>
                  </a:cubicBezTo>
                  <a:lnTo>
                    <a:pt x="14988" y="4253"/>
                  </a:lnTo>
                  <a:cubicBezTo>
                    <a:pt x="14711" y="4184"/>
                    <a:pt x="14435" y="4155"/>
                    <a:pt x="14160" y="4155"/>
                  </a:cubicBezTo>
                  <a:cubicBezTo>
                    <a:pt x="12484" y="4155"/>
                    <a:pt x="10826" y="5255"/>
                    <a:pt x="9087" y="5358"/>
                  </a:cubicBezTo>
                  <a:cubicBezTo>
                    <a:pt x="9009" y="5362"/>
                    <a:pt x="8931" y="5364"/>
                    <a:pt x="8854" y="5364"/>
                  </a:cubicBezTo>
                  <a:cubicBezTo>
                    <a:pt x="7676" y="5364"/>
                    <a:pt x="6546" y="4908"/>
                    <a:pt x="5699" y="4078"/>
                  </a:cubicBezTo>
                  <a:cubicBezTo>
                    <a:pt x="4816" y="3204"/>
                    <a:pt x="4346" y="2007"/>
                    <a:pt x="3610" y="1004"/>
                  </a:cubicBezTo>
                  <a:cubicBezTo>
                    <a:pt x="3333" y="626"/>
                    <a:pt x="3002" y="285"/>
                    <a:pt x="2615"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37" name="Google Shape;3807;p45"/>
            <p:cNvSpPr/>
            <p:nvPr/>
          </p:nvSpPr>
          <p:spPr>
            <a:xfrm>
              <a:off x="4271800" y="3669350"/>
              <a:ext cx="5550" cy="925"/>
            </a:xfrm>
            <a:custGeom>
              <a:avLst/>
              <a:gdLst/>
              <a:ahLst/>
              <a:cxnLst/>
              <a:rect l="l" t="t" r="r" b="b"/>
              <a:pathLst>
                <a:path w="222" h="37" extrusionOk="0">
                  <a:moveTo>
                    <a:pt x="0" y="0"/>
                  </a:moveTo>
                  <a:lnTo>
                    <a:pt x="111" y="9"/>
                  </a:lnTo>
                  <a:lnTo>
                    <a:pt x="221" y="37"/>
                  </a:lnTo>
                  <a:lnTo>
                    <a:pt x="221" y="0"/>
                  </a:ln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38" name="Google Shape;3808;p45"/>
            <p:cNvSpPr/>
            <p:nvPr/>
          </p:nvSpPr>
          <p:spPr>
            <a:xfrm>
              <a:off x="4107925" y="3669350"/>
              <a:ext cx="148700" cy="29050"/>
            </a:xfrm>
            <a:custGeom>
              <a:avLst/>
              <a:gdLst/>
              <a:ahLst/>
              <a:cxnLst/>
              <a:rect l="l" t="t" r="r" b="b"/>
              <a:pathLst>
                <a:path w="5948" h="1162" extrusionOk="0">
                  <a:moveTo>
                    <a:pt x="0" y="0"/>
                  </a:moveTo>
                  <a:cubicBezTo>
                    <a:pt x="138" y="138"/>
                    <a:pt x="286" y="285"/>
                    <a:pt x="442" y="442"/>
                  </a:cubicBezTo>
                  <a:cubicBezTo>
                    <a:pt x="970" y="973"/>
                    <a:pt x="1507" y="1162"/>
                    <a:pt x="2052" y="1162"/>
                  </a:cubicBezTo>
                  <a:cubicBezTo>
                    <a:pt x="3313" y="1162"/>
                    <a:pt x="4617" y="148"/>
                    <a:pt x="5948"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39" name="Google Shape;3809;p45"/>
            <p:cNvSpPr/>
            <p:nvPr/>
          </p:nvSpPr>
          <p:spPr>
            <a:xfrm>
              <a:off x="3968225" y="3669350"/>
              <a:ext cx="309125" cy="134100"/>
            </a:xfrm>
            <a:custGeom>
              <a:avLst/>
              <a:gdLst/>
              <a:ahLst/>
              <a:cxnLst/>
              <a:rect l="l" t="t" r="r" b="b"/>
              <a:pathLst>
                <a:path w="12365" h="5364" extrusionOk="0">
                  <a:moveTo>
                    <a:pt x="0" y="0"/>
                  </a:moveTo>
                  <a:cubicBezTo>
                    <a:pt x="387" y="276"/>
                    <a:pt x="718" y="617"/>
                    <a:pt x="995" y="1004"/>
                  </a:cubicBezTo>
                  <a:cubicBezTo>
                    <a:pt x="1731" y="2007"/>
                    <a:pt x="2201" y="3204"/>
                    <a:pt x="3084" y="4078"/>
                  </a:cubicBezTo>
                  <a:cubicBezTo>
                    <a:pt x="3932" y="4900"/>
                    <a:pt x="5063" y="5364"/>
                    <a:pt x="6243" y="5364"/>
                  </a:cubicBezTo>
                  <a:cubicBezTo>
                    <a:pt x="6319" y="5364"/>
                    <a:pt x="6396" y="5362"/>
                    <a:pt x="6472" y="5358"/>
                  </a:cubicBezTo>
                  <a:cubicBezTo>
                    <a:pt x="8216" y="5255"/>
                    <a:pt x="9878" y="4149"/>
                    <a:pt x="11552" y="4149"/>
                  </a:cubicBezTo>
                  <a:cubicBezTo>
                    <a:pt x="11822" y="4149"/>
                    <a:pt x="12093" y="4178"/>
                    <a:pt x="12364" y="4244"/>
                  </a:cubicBezTo>
                  <a:lnTo>
                    <a:pt x="12364" y="37"/>
                  </a:lnTo>
                  <a:lnTo>
                    <a:pt x="12263" y="9"/>
                  </a:lnTo>
                  <a:lnTo>
                    <a:pt x="12143" y="0"/>
                  </a:lnTo>
                  <a:lnTo>
                    <a:pt x="11536" y="0"/>
                  </a:lnTo>
                  <a:cubicBezTo>
                    <a:pt x="10204" y="142"/>
                    <a:pt x="8899" y="1160"/>
                    <a:pt x="7636" y="1160"/>
                  </a:cubicBezTo>
                  <a:cubicBezTo>
                    <a:pt x="7093" y="1160"/>
                    <a:pt x="6557" y="971"/>
                    <a:pt x="6030" y="442"/>
                  </a:cubicBezTo>
                  <a:cubicBezTo>
                    <a:pt x="5874" y="285"/>
                    <a:pt x="5726" y="138"/>
                    <a:pt x="5588"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40" name="Google Shape;3810;p45"/>
            <p:cNvSpPr/>
            <p:nvPr/>
          </p:nvSpPr>
          <p:spPr>
            <a:xfrm>
              <a:off x="3968225" y="3669350"/>
              <a:ext cx="309125" cy="134100"/>
            </a:xfrm>
            <a:custGeom>
              <a:avLst/>
              <a:gdLst/>
              <a:ahLst/>
              <a:cxnLst/>
              <a:rect l="l" t="t" r="r" b="b"/>
              <a:pathLst>
                <a:path w="12365" h="5364" extrusionOk="0">
                  <a:moveTo>
                    <a:pt x="0" y="0"/>
                  </a:moveTo>
                  <a:cubicBezTo>
                    <a:pt x="387" y="276"/>
                    <a:pt x="718" y="617"/>
                    <a:pt x="995" y="1004"/>
                  </a:cubicBezTo>
                  <a:cubicBezTo>
                    <a:pt x="1731" y="2007"/>
                    <a:pt x="2201" y="3204"/>
                    <a:pt x="3084" y="4078"/>
                  </a:cubicBezTo>
                  <a:cubicBezTo>
                    <a:pt x="3932" y="4900"/>
                    <a:pt x="5063" y="5364"/>
                    <a:pt x="6243" y="5364"/>
                  </a:cubicBezTo>
                  <a:cubicBezTo>
                    <a:pt x="6319" y="5364"/>
                    <a:pt x="6396" y="5362"/>
                    <a:pt x="6472" y="5358"/>
                  </a:cubicBezTo>
                  <a:cubicBezTo>
                    <a:pt x="8216" y="5255"/>
                    <a:pt x="9878" y="4149"/>
                    <a:pt x="11552" y="4149"/>
                  </a:cubicBezTo>
                  <a:cubicBezTo>
                    <a:pt x="11822" y="4149"/>
                    <a:pt x="12093" y="4178"/>
                    <a:pt x="12364" y="4244"/>
                  </a:cubicBezTo>
                  <a:lnTo>
                    <a:pt x="12364" y="37"/>
                  </a:lnTo>
                  <a:lnTo>
                    <a:pt x="12263" y="9"/>
                  </a:lnTo>
                  <a:lnTo>
                    <a:pt x="12143" y="0"/>
                  </a:lnTo>
                  <a:lnTo>
                    <a:pt x="11536" y="0"/>
                  </a:lnTo>
                  <a:cubicBezTo>
                    <a:pt x="10204" y="142"/>
                    <a:pt x="8899" y="1160"/>
                    <a:pt x="7636" y="1160"/>
                  </a:cubicBezTo>
                  <a:cubicBezTo>
                    <a:pt x="7093" y="1160"/>
                    <a:pt x="6557" y="971"/>
                    <a:pt x="6030" y="442"/>
                  </a:cubicBezTo>
                  <a:cubicBezTo>
                    <a:pt x="5874" y="285"/>
                    <a:pt x="5726" y="138"/>
                    <a:pt x="5588"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41" name="Google Shape;3811;p45"/>
            <p:cNvSpPr/>
            <p:nvPr/>
          </p:nvSpPr>
          <p:spPr>
            <a:xfrm>
              <a:off x="3911600" y="3780275"/>
              <a:ext cx="365750" cy="173350"/>
            </a:xfrm>
            <a:custGeom>
              <a:avLst/>
              <a:gdLst/>
              <a:ahLst/>
              <a:cxnLst/>
              <a:rect l="l" t="t" r="r" b="b"/>
              <a:pathLst>
                <a:path w="14630" h="6934" extrusionOk="0">
                  <a:moveTo>
                    <a:pt x="1" y="0"/>
                  </a:moveTo>
                  <a:cubicBezTo>
                    <a:pt x="746" y="3038"/>
                    <a:pt x="3002" y="5487"/>
                    <a:pt x="5975" y="6472"/>
                  </a:cubicBezTo>
                  <a:cubicBezTo>
                    <a:pt x="6910" y="6782"/>
                    <a:pt x="7874" y="6933"/>
                    <a:pt x="8831" y="6933"/>
                  </a:cubicBezTo>
                  <a:cubicBezTo>
                    <a:pt x="10919" y="6933"/>
                    <a:pt x="12975" y="6213"/>
                    <a:pt x="14629" y="4843"/>
                  </a:cubicBezTo>
                  <a:lnTo>
                    <a:pt x="14629" y="4484"/>
                  </a:lnTo>
                  <a:cubicBezTo>
                    <a:pt x="13893" y="4116"/>
                    <a:pt x="13073" y="3793"/>
                    <a:pt x="12300" y="3655"/>
                  </a:cubicBezTo>
                  <a:cubicBezTo>
                    <a:pt x="12163" y="3632"/>
                    <a:pt x="12026" y="3621"/>
                    <a:pt x="11889" y="3621"/>
                  </a:cubicBezTo>
                  <a:cubicBezTo>
                    <a:pt x="10452" y="3621"/>
                    <a:pt x="9042" y="4802"/>
                    <a:pt x="7681" y="4802"/>
                  </a:cubicBezTo>
                  <a:cubicBezTo>
                    <a:pt x="7138" y="4802"/>
                    <a:pt x="6603" y="4614"/>
                    <a:pt x="6077" y="4088"/>
                  </a:cubicBezTo>
                  <a:cubicBezTo>
                    <a:pt x="4106" y="2118"/>
                    <a:pt x="3646" y="1105"/>
                    <a:pt x="1814" y="387"/>
                  </a:cubicBezTo>
                  <a:cubicBezTo>
                    <a:pt x="1234" y="175"/>
                    <a:pt x="617" y="37"/>
                    <a:pt x="1"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42" name="Google Shape;3812;p45"/>
            <p:cNvSpPr/>
            <p:nvPr/>
          </p:nvSpPr>
          <p:spPr>
            <a:xfrm>
              <a:off x="3417000" y="3900450"/>
              <a:ext cx="206250" cy="258325"/>
            </a:xfrm>
            <a:custGeom>
              <a:avLst/>
              <a:gdLst/>
              <a:ahLst/>
              <a:cxnLst/>
              <a:rect l="l" t="t" r="r" b="b"/>
              <a:pathLst>
                <a:path w="8250" h="10333" extrusionOk="0">
                  <a:moveTo>
                    <a:pt x="3075" y="1"/>
                  </a:moveTo>
                  <a:cubicBezTo>
                    <a:pt x="1987" y="1"/>
                    <a:pt x="906" y="344"/>
                    <a:pt x="0" y="1021"/>
                  </a:cubicBezTo>
                  <a:lnTo>
                    <a:pt x="0" y="9306"/>
                  </a:lnTo>
                  <a:cubicBezTo>
                    <a:pt x="910" y="9986"/>
                    <a:pt x="1996" y="10332"/>
                    <a:pt x="3087" y="10332"/>
                  </a:cubicBezTo>
                  <a:cubicBezTo>
                    <a:pt x="3875" y="10332"/>
                    <a:pt x="4666" y="10152"/>
                    <a:pt x="5395" y="9785"/>
                  </a:cubicBezTo>
                  <a:cubicBezTo>
                    <a:pt x="7144" y="8901"/>
                    <a:pt x="8249" y="7115"/>
                    <a:pt x="8249" y="5164"/>
                  </a:cubicBezTo>
                  <a:cubicBezTo>
                    <a:pt x="8249" y="3212"/>
                    <a:pt x="7144" y="1426"/>
                    <a:pt x="5395" y="551"/>
                  </a:cubicBezTo>
                  <a:cubicBezTo>
                    <a:pt x="4662" y="183"/>
                    <a:pt x="3867" y="1"/>
                    <a:pt x="3075" y="1"/>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43" name="Google Shape;3813;p45"/>
            <p:cNvSpPr/>
            <p:nvPr/>
          </p:nvSpPr>
          <p:spPr>
            <a:xfrm>
              <a:off x="4068100" y="4152450"/>
              <a:ext cx="209250" cy="90675"/>
            </a:xfrm>
            <a:custGeom>
              <a:avLst/>
              <a:gdLst/>
              <a:ahLst/>
              <a:cxnLst/>
              <a:rect l="l" t="t" r="r" b="b"/>
              <a:pathLst>
                <a:path w="8370" h="3627" extrusionOk="0">
                  <a:moveTo>
                    <a:pt x="4965" y="0"/>
                  </a:moveTo>
                  <a:cubicBezTo>
                    <a:pt x="2791" y="0"/>
                    <a:pt x="780" y="1438"/>
                    <a:pt x="1" y="3627"/>
                  </a:cubicBezTo>
                  <a:lnTo>
                    <a:pt x="8369" y="3627"/>
                  </a:lnTo>
                  <a:lnTo>
                    <a:pt x="8369" y="1353"/>
                  </a:lnTo>
                  <a:cubicBezTo>
                    <a:pt x="7752" y="764"/>
                    <a:pt x="6988" y="350"/>
                    <a:pt x="6160" y="147"/>
                  </a:cubicBezTo>
                  <a:cubicBezTo>
                    <a:pt x="5760" y="48"/>
                    <a:pt x="5360" y="0"/>
                    <a:pt x="4965"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44" name="Google Shape;3814;p45"/>
            <p:cNvSpPr/>
            <p:nvPr/>
          </p:nvSpPr>
          <p:spPr>
            <a:xfrm>
              <a:off x="3911600" y="3780275"/>
              <a:ext cx="365750" cy="173350"/>
            </a:xfrm>
            <a:custGeom>
              <a:avLst/>
              <a:gdLst/>
              <a:ahLst/>
              <a:cxnLst/>
              <a:rect l="l" t="t" r="r" b="b"/>
              <a:pathLst>
                <a:path w="14630" h="6934" extrusionOk="0">
                  <a:moveTo>
                    <a:pt x="1" y="0"/>
                  </a:moveTo>
                  <a:cubicBezTo>
                    <a:pt x="746" y="3038"/>
                    <a:pt x="3002" y="5487"/>
                    <a:pt x="5975" y="6472"/>
                  </a:cubicBezTo>
                  <a:cubicBezTo>
                    <a:pt x="6910" y="6782"/>
                    <a:pt x="7874" y="6933"/>
                    <a:pt x="8831" y="6933"/>
                  </a:cubicBezTo>
                  <a:cubicBezTo>
                    <a:pt x="10919" y="6933"/>
                    <a:pt x="12975" y="6213"/>
                    <a:pt x="14629" y="4843"/>
                  </a:cubicBezTo>
                  <a:lnTo>
                    <a:pt x="14629" y="4484"/>
                  </a:lnTo>
                  <a:cubicBezTo>
                    <a:pt x="13893" y="4116"/>
                    <a:pt x="13073" y="3793"/>
                    <a:pt x="12300" y="3655"/>
                  </a:cubicBezTo>
                  <a:cubicBezTo>
                    <a:pt x="12163" y="3632"/>
                    <a:pt x="12026" y="3621"/>
                    <a:pt x="11889" y="3621"/>
                  </a:cubicBezTo>
                  <a:cubicBezTo>
                    <a:pt x="10452" y="3621"/>
                    <a:pt x="9042" y="4802"/>
                    <a:pt x="7681" y="4802"/>
                  </a:cubicBezTo>
                  <a:cubicBezTo>
                    <a:pt x="7138" y="4802"/>
                    <a:pt x="6603" y="4614"/>
                    <a:pt x="6077" y="4088"/>
                  </a:cubicBezTo>
                  <a:cubicBezTo>
                    <a:pt x="4106" y="2118"/>
                    <a:pt x="3646" y="1105"/>
                    <a:pt x="1814" y="387"/>
                  </a:cubicBezTo>
                  <a:cubicBezTo>
                    <a:pt x="1234" y="175"/>
                    <a:pt x="617" y="37"/>
                    <a:pt x="1"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45" name="Google Shape;3815;p45"/>
            <p:cNvSpPr/>
            <p:nvPr/>
          </p:nvSpPr>
          <p:spPr>
            <a:xfrm>
              <a:off x="4212400" y="4249775"/>
              <a:ext cx="35950" cy="4400"/>
            </a:xfrm>
            <a:custGeom>
              <a:avLst/>
              <a:gdLst/>
              <a:ahLst/>
              <a:cxnLst/>
              <a:rect l="l" t="t" r="r" b="b"/>
              <a:pathLst>
                <a:path w="1438" h="176" extrusionOk="0">
                  <a:moveTo>
                    <a:pt x="1" y="1"/>
                  </a:moveTo>
                  <a:lnTo>
                    <a:pt x="1" y="176"/>
                  </a:lnTo>
                  <a:lnTo>
                    <a:pt x="1437" y="176"/>
                  </a:lnTo>
                  <a:lnTo>
                    <a:pt x="1437" y="1"/>
                  </a:ln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46" name="Google Shape;3816;p45"/>
            <p:cNvSpPr/>
            <p:nvPr/>
          </p:nvSpPr>
          <p:spPr>
            <a:xfrm>
              <a:off x="4060750" y="3698800"/>
              <a:ext cx="14050" cy="18900"/>
            </a:xfrm>
            <a:custGeom>
              <a:avLst/>
              <a:gdLst/>
              <a:ahLst/>
              <a:cxnLst/>
              <a:rect l="l" t="t" r="r" b="b"/>
              <a:pathLst>
                <a:path w="562" h="756" extrusionOk="0">
                  <a:moveTo>
                    <a:pt x="295" y="0"/>
                  </a:moveTo>
                  <a:cubicBezTo>
                    <a:pt x="101" y="0"/>
                    <a:pt x="19" y="102"/>
                    <a:pt x="19" y="212"/>
                  </a:cubicBezTo>
                  <a:cubicBezTo>
                    <a:pt x="19" y="488"/>
                    <a:pt x="460" y="378"/>
                    <a:pt x="460" y="553"/>
                  </a:cubicBezTo>
                  <a:cubicBezTo>
                    <a:pt x="460" y="617"/>
                    <a:pt x="405" y="673"/>
                    <a:pt x="276" y="673"/>
                  </a:cubicBezTo>
                  <a:cubicBezTo>
                    <a:pt x="193" y="673"/>
                    <a:pt x="101" y="636"/>
                    <a:pt x="37" y="580"/>
                  </a:cubicBezTo>
                  <a:lnTo>
                    <a:pt x="0" y="663"/>
                  </a:lnTo>
                  <a:cubicBezTo>
                    <a:pt x="74" y="728"/>
                    <a:pt x="175" y="755"/>
                    <a:pt x="276" y="755"/>
                  </a:cubicBezTo>
                  <a:cubicBezTo>
                    <a:pt x="470" y="755"/>
                    <a:pt x="562" y="663"/>
                    <a:pt x="562" y="544"/>
                  </a:cubicBezTo>
                  <a:cubicBezTo>
                    <a:pt x="562" y="277"/>
                    <a:pt x="111" y="387"/>
                    <a:pt x="111" y="212"/>
                  </a:cubicBezTo>
                  <a:cubicBezTo>
                    <a:pt x="111" y="148"/>
                    <a:pt x="166" y="93"/>
                    <a:pt x="295" y="93"/>
                  </a:cubicBezTo>
                  <a:cubicBezTo>
                    <a:pt x="359" y="93"/>
                    <a:pt x="433" y="120"/>
                    <a:pt x="488" y="157"/>
                  </a:cubicBezTo>
                  <a:lnTo>
                    <a:pt x="525" y="74"/>
                  </a:lnTo>
                  <a:cubicBezTo>
                    <a:pt x="460" y="28"/>
                    <a:pt x="378" y="0"/>
                    <a:pt x="295"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47" name="Google Shape;3817;p45"/>
            <p:cNvSpPr/>
            <p:nvPr/>
          </p:nvSpPr>
          <p:spPr>
            <a:xfrm>
              <a:off x="4077075" y="3699000"/>
              <a:ext cx="16825" cy="18725"/>
            </a:xfrm>
            <a:custGeom>
              <a:avLst/>
              <a:gdLst/>
              <a:ahLst/>
              <a:cxnLst/>
              <a:rect l="l" t="t" r="r" b="b"/>
              <a:pathLst>
                <a:path w="673" h="749" extrusionOk="0">
                  <a:moveTo>
                    <a:pt x="422" y="1"/>
                  </a:moveTo>
                  <a:cubicBezTo>
                    <a:pt x="414" y="1"/>
                    <a:pt x="405" y="1"/>
                    <a:pt x="397" y="2"/>
                  </a:cubicBezTo>
                  <a:cubicBezTo>
                    <a:pt x="391" y="1"/>
                    <a:pt x="385" y="1"/>
                    <a:pt x="379" y="1"/>
                  </a:cubicBezTo>
                  <a:cubicBezTo>
                    <a:pt x="167" y="1"/>
                    <a:pt x="1" y="164"/>
                    <a:pt x="1" y="379"/>
                  </a:cubicBezTo>
                  <a:cubicBezTo>
                    <a:pt x="1" y="585"/>
                    <a:pt x="166" y="748"/>
                    <a:pt x="371" y="748"/>
                  </a:cubicBezTo>
                  <a:cubicBezTo>
                    <a:pt x="376" y="748"/>
                    <a:pt x="382" y="748"/>
                    <a:pt x="387" y="747"/>
                  </a:cubicBezTo>
                  <a:cubicBezTo>
                    <a:pt x="397" y="748"/>
                    <a:pt x="406" y="749"/>
                    <a:pt x="415" y="749"/>
                  </a:cubicBezTo>
                  <a:cubicBezTo>
                    <a:pt x="515" y="749"/>
                    <a:pt x="605" y="704"/>
                    <a:pt x="673" y="637"/>
                  </a:cubicBezTo>
                  <a:lnTo>
                    <a:pt x="599" y="572"/>
                  </a:lnTo>
                  <a:cubicBezTo>
                    <a:pt x="553" y="628"/>
                    <a:pt x="470" y="655"/>
                    <a:pt x="397" y="655"/>
                  </a:cubicBezTo>
                  <a:cubicBezTo>
                    <a:pt x="388" y="656"/>
                    <a:pt x="379" y="656"/>
                    <a:pt x="371" y="656"/>
                  </a:cubicBezTo>
                  <a:cubicBezTo>
                    <a:pt x="0" y="656"/>
                    <a:pt x="0" y="93"/>
                    <a:pt x="371" y="93"/>
                  </a:cubicBezTo>
                  <a:cubicBezTo>
                    <a:pt x="379" y="93"/>
                    <a:pt x="388" y="93"/>
                    <a:pt x="397" y="94"/>
                  </a:cubicBezTo>
                  <a:cubicBezTo>
                    <a:pt x="470" y="94"/>
                    <a:pt x="553" y="121"/>
                    <a:pt x="599" y="177"/>
                  </a:cubicBezTo>
                  <a:lnTo>
                    <a:pt x="673" y="112"/>
                  </a:lnTo>
                  <a:cubicBezTo>
                    <a:pt x="605" y="45"/>
                    <a:pt x="515" y="1"/>
                    <a:pt x="422"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48" name="Google Shape;3818;p45"/>
            <p:cNvSpPr/>
            <p:nvPr/>
          </p:nvSpPr>
          <p:spPr>
            <a:xfrm>
              <a:off x="4095575" y="3698175"/>
              <a:ext cx="22950" cy="19525"/>
            </a:xfrm>
            <a:custGeom>
              <a:avLst/>
              <a:gdLst/>
              <a:ahLst/>
              <a:cxnLst/>
              <a:rect l="l" t="t" r="r" b="b"/>
              <a:pathLst>
                <a:path w="918" h="781" extrusionOk="0">
                  <a:moveTo>
                    <a:pt x="388" y="120"/>
                  </a:moveTo>
                  <a:cubicBezTo>
                    <a:pt x="537" y="120"/>
                    <a:pt x="679" y="236"/>
                    <a:pt x="679" y="412"/>
                  </a:cubicBezTo>
                  <a:cubicBezTo>
                    <a:pt x="687" y="563"/>
                    <a:pt x="567" y="689"/>
                    <a:pt x="410" y="689"/>
                  </a:cubicBezTo>
                  <a:cubicBezTo>
                    <a:pt x="404" y="689"/>
                    <a:pt x="399" y="689"/>
                    <a:pt x="393" y="688"/>
                  </a:cubicBezTo>
                  <a:cubicBezTo>
                    <a:pt x="145" y="688"/>
                    <a:pt x="16" y="385"/>
                    <a:pt x="191" y="200"/>
                  </a:cubicBezTo>
                  <a:cubicBezTo>
                    <a:pt x="249" y="145"/>
                    <a:pt x="319" y="120"/>
                    <a:pt x="388" y="120"/>
                  </a:cubicBezTo>
                  <a:close/>
                  <a:moveTo>
                    <a:pt x="401" y="0"/>
                  </a:moveTo>
                  <a:cubicBezTo>
                    <a:pt x="195" y="0"/>
                    <a:pt x="0" y="165"/>
                    <a:pt x="6" y="412"/>
                  </a:cubicBezTo>
                  <a:cubicBezTo>
                    <a:pt x="6" y="618"/>
                    <a:pt x="172" y="781"/>
                    <a:pt x="376" y="781"/>
                  </a:cubicBezTo>
                  <a:cubicBezTo>
                    <a:pt x="382" y="781"/>
                    <a:pt x="387" y="781"/>
                    <a:pt x="393" y="780"/>
                  </a:cubicBezTo>
                  <a:cubicBezTo>
                    <a:pt x="743" y="780"/>
                    <a:pt x="918" y="357"/>
                    <a:pt x="669" y="108"/>
                  </a:cubicBezTo>
                  <a:cubicBezTo>
                    <a:pt x="589" y="34"/>
                    <a:pt x="494" y="0"/>
                    <a:pt x="401"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49" name="Google Shape;3819;p45"/>
            <p:cNvSpPr/>
            <p:nvPr/>
          </p:nvSpPr>
          <p:spPr>
            <a:xfrm>
              <a:off x="4119425" y="3699025"/>
              <a:ext cx="15000" cy="18450"/>
            </a:xfrm>
            <a:custGeom>
              <a:avLst/>
              <a:gdLst/>
              <a:ahLst/>
              <a:cxnLst/>
              <a:rect l="l" t="t" r="r" b="b"/>
              <a:pathLst>
                <a:path w="600" h="738" extrusionOk="0">
                  <a:moveTo>
                    <a:pt x="277" y="102"/>
                  </a:moveTo>
                  <a:cubicBezTo>
                    <a:pt x="415" y="102"/>
                    <a:pt x="479" y="157"/>
                    <a:pt x="479" y="268"/>
                  </a:cubicBezTo>
                  <a:cubicBezTo>
                    <a:pt x="479" y="369"/>
                    <a:pt x="406" y="433"/>
                    <a:pt x="277" y="433"/>
                  </a:cubicBezTo>
                  <a:lnTo>
                    <a:pt x="102" y="433"/>
                  </a:lnTo>
                  <a:lnTo>
                    <a:pt x="102" y="102"/>
                  </a:lnTo>
                  <a:close/>
                  <a:moveTo>
                    <a:pt x="1" y="1"/>
                  </a:moveTo>
                  <a:lnTo>
                    <a:pt x="1" y="737"/>
                  </a:lnTo>
                  <a:lnTo>
                    <a:pt x="102" y="737"/>
                  </a:lnTo>
                  <a:lnTo>
                    <a:pt x="102" y="507"/>
                  </a:lnTo>
                  <a:lnTo>
                    <a:pt x="323" y="507"/>
                  </a:lnTo>
                  <a:lnTo>
                    <a:pt x="479" y="737"/>
                  </a:lnTo>
                  <a:lnTo>
                    <a:pt x="599" y="737"/>
                  </a:lnTo>
                  <a:lnTo>
                    <a:pt x="424" y="489"/>
                  </a:lnTo>
                  <a:cubicBezTo>
                    <a:pt x="525" y="452"/>
                    <a:pt x="590" y="360"/>
                    <a:pt x="590" y="258"/>
                  </a:cubicBezTo>
                  <a:cubicBezTo>
                    <a:pt x="590" y="93"/>
                    <a:pt x="470" y="1"/>
                    <a:pt x="286"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50" name="Google Shape;3820;p45"/>
            <p:cNvSpPr/>
            <p:nvPr/>
          </p:nvSpPr>
          <p:spPr>
            <a:xfrm>
              <a:off x="4138300" y="3699250"/>
              <a:ext cx="13375" cy="18225"/>
            </a:xfrm>
            <a:custGeom>
              <a:avLst/>
              <a:gdLst/>
              <a:ahLst/>
              <a:cxnLst/>
              <a:rect l="l" t="t" r="r" b="b"/>
              <a:pathLst>
                <a:path w="535" h="729" extrusionOk="0">
                  <a:moveTo>
                    <a:pt x="1" y="1"/>
                  </a:moveTo>
                  <a:lnTo>
                    <a:pt x="1" y="728"/>
                  </a:lnTo>
                  <a:lnTo>
                    <a:pt x="535" y="728"/>
                  </a:lnTo>
                  <a:lnTo>
                    <a:pt x="535" y="645"/>
                  </a:lnTo>
                  <a:lnTo>
                    <a:pt x="102" y="645"/>
                  </a:lnTo>
                  <a:lnTo>
                    <a:pt x="102" y="406"/>
                  </a:lnTo>
                  <a:lnTo>
                    <a:pt x="470" y="406"/>
                  </a:lnTo>
                  <a:lnTo>
                    <a:pt x="470" y="323"/>
                  </a:lnTo>
                  <a:lnTo>
                    <a:pt x="102" y="323"/>
                  </a:lnTo>
                  <a:lnTo>
                    <a:pt x="102" y="93"/>
                  </a:lnTo>
                  <a:lnTo>
                    <a:pt x="516" y="93"/>
                  </a:lnTo>
                  <a:lnTo>
                    <a:pt x="516" y="1"/>
                  </a:ln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51" name="Google Shape;3821;p45"/>
            <p:cNvSpPr/>
            <p:nvPr/>
          </p:nvSpPr>
          <p:spPr>
            <a:xfrm>
              <a:off x="4161325" y="3699025"/>
              <a:ext cx="14975" cy="18675"/>
            </a:xfrm>
            <a:custGeom>
              <a:avLst/>
              <a:gdLst/>
              <a:ahLst/>
              <a:cxnLst/>
              <a:rect l="l" t="t" r="r" b="b"/>
              <a:pathLst>
                <a:path w="599" h="747" extrusionOk="0">
                  <a:moveTo>
                    <a:pt x="304" y="93"/>
                  </a:moveTo>
                  <a:cubicBezTo>
                    <a:pt x="414" y="93"/>
                    <a:pt x="497" y="185"/>
                    <a:pt x="497" y="378"/>
                  </a:cubicBezTo>
                  <a:cubicBezTo>
                    <a:pt x="497" y="562"/>
                    <a:pt x="424" y="654"/>
                    <a:pt x="304" y="654"/>
                  </a:cubicBezTo>
                  <a:cubicBezTo>
                    <a:pt x="184" y="654"/>
                    <a:pt x="111" y="562"/>
                    <a:pt x="111" y="378"/>
                  </a:cubicBezTo>
                  <a:cubicBezTo>
                    <a:pt x="111" y="185"/>
                    <a:pt x="194" y="93"/>
                    <a:pt x="304" y="93"/>
                  </a:cubicBezTo>
                  <a:close/>
                  <a:moveTo>
                    <a:pt x="304" y="1"/>
                  </a:moveTo>
                  <a:cubicBezTo>
                    <a:pt x="129" y="1"/>
                    <a:pt x="0" y="139"/>
                    <a:pt x="0" y="378"/>
                  </a:cubicBezTo>
                  <a:cubicBezTo>
                    <a:pt x="0" y="617"/>
                    <a:pt x="138" y="746"/>
                    <a:pt x="304" y="746"/>
                  </a:cubicBezTo>
                  <a:cubicBezTo>
                    <a:pt x="479" y="746"/>
                    <a:pt x="599" y="608"/>
                    <a:pt x="599" y="378"/>
                  </a:cubicBezTo>
                  <a:cubicBezTo>
                    <a:pt x="599" y="139"/>
                    <a:pt x="479" y="1"/>
                    <a:pt x="304"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52" name="Google Shape;3822;p45"/>
            <p:cNvSpPr/>
            <p:nvPr/>
          </p:nvSpPr>
          <p:spPr>
            <a:xfrm>
              <a:off x="4178800" y="3699025"/>
              <a:ext cx="15000" cy="18675"/>
            </a:xfrm>
            <a:custGeom>
              <a:avLst/>
              <a:gdLst/>
              <a:ahLst/>
              <a:cxnLst/>
              <a:rect l="l" t="t" r="r" b="b"/>
              <a:pathLst>
                <a:path w="600" h="747" extrusionOk="0">
                  <a:moveTo>
                    <a:pt x="305" y="93"/>
                  </a:moveTo>
                  <a:cubicBezTo>
                    <a:pt x="415" y="93"/>
                    <a:pt x="498" y="185"/>
                    <a:pt x="498" y="378"/>
                  </a:cubicBezTo>
                  <a:cubicBezTo>
                    <a:pt x="498" y="562"/>
                    <a:pt x="415" y="654"/>
                    <a:pt x="305" y="654"/>
                  </a:cubicBezTo>
                  <a:cubicBezTo>
                    <a:pt x="185" y="654"/>
                    <a:pt x="111" y="562"/>
                    <a:pt x="111" y="378"/>
                  </a:cubicBezTo>
                  <a:cubicBezTo>
                    <a:pt x="111" y="185"/>
                    <a:pt x="185" y="93"/>
                    <a:pt x="305" y="93"/>
                  </a:cubicBezTo>
                  <a:close/>
                  <a:moveTo>
                    <a:pt x="305" y="1"/>
                  </a:moveTo>
                  <a:cubicBezTo>
                    <a:pt x="130" y="1"/>
                    <a:pt x="1" y="139"/>
                    <a:pt x="1" y="378"/>
                  </a:cubicBezTo>
                  <a:cubicBezTo>
                    <a:pt x="1" y="617"/>
                    <a:pt x="130" y="746"/>
                    <a:pt x="305" y="746"/>
                  </a:cubicBezTo>
                  <a:cubicBezTo>
                    <a:pt x="480" y="746"/>
                    <a:pt x="599" y="608"/>
                    <a:pt x="599" y="378"/>
                  </a:cubicBezTo>
                  <a:cubicBezTo>
                    <a:pt x="599" y="139"/>
                    <a:pt x="480" y="1"/>
                    <a:pt x="305"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53" name="Google Shape;3823;p45"/>
            <p:cNvSpPr/>
            <p:nvPr/>
          </p:nvSpPr>
          <p:spPr>
            <a:xfrm>
              <a:off x="4195150" y="3699250"/>
              <a:ext cx="6925" cy="18225"/>
            </a:xfrm>
            <a:custGeom>
              <a:avLst/>
              <a:gdLst/>
              <a:ahLst/>
              <a:cxnLst/>
              <a:rect l="l" t="t" r="r" b="b"/>
              <a:pathLst>
                <a:path w="277" h="729" extrusionOk="0">
                  <a:moveTo>
                    <a:pt x="1" y="1"/>
                  </a:moveTo>
                  <a:lnTo>
                    <a:pt x="1" y="93"/>
                  </a:lnTo>
                  <a:lnTo>
                    <a:pt x="166" y="93"/>
                  </a:lnTo>
                  <a:lnTo>
                    <a:pt x="166" y="728"/>
                  </a:lnTo>
                  <a:lnTo>
                    <a:pt x="277" y="728"/>
                  </a:lnTo>
                  <a:lnTo>
                    <a:pt x="277" y="1"/>
                  </a:ln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54" name="Google Shape;3824;p45"/>
            <p:cNvSpPr/>
            <p:nvPr/>
          </p:nvSpPr>
          <p:spPr>
            <a:xfrm>
              <a:off x="4205050" y="3698800"/>
              <a:ext cx="13825" cy="18675"/>
            </a:xfrm>
            <a:custGeom>
              <a:avLst/>
              <a:gdLst/>
              <a:ahLst/>
              <a:cxnLst/>
              <a:rect l="l" t="t" r="r" b="b"/>
              <a:pathLst>
                <a:path w="553" h="747" extrusionOk="0">
                  <a:moveTo>
                    <a:pt x="267" y="0"/>
                  </a:moveTo>
                  <a:cubicBezTo>
                    <a:pt x="166" y="0"/>
                    <a:pt x="74" y="47"/>
                    <a:pt x="0" y="120"/>
                  </a:cubicBezTo>
                  <a:lnTo>
                    <a:pt x="74" y="185"/>
                  </a:lnTo>
                  <a:cubicBezTo>
                    <a:pt x="115" y="135"/>
                    <a:pt x="179" y="100"/>
                    <a:pt x="238" y="100"/>
                  </a:cubicBezTo>
                  <a:cubicBezTo>
                    <a:pt x="245" y="100"/>
                    <a:pt x="252" y="101"/>
                    <a:pt x="258" y="102"/>
                  </a:cubicBezTo>
                  <a:cubicBezTo>
                    <a:pt x="369" y="102"/>
                    <a:pt x="415" y="148"/>
                    <a:pt x="415" y="221"/>
                  </a:cubicBezTo>
                  <a:cubicBezTo>
                    <a:pt x="415" y="267"/>
                    <a:pt x="405" y="313"/>
                    <a:pt x="323" y="387"/>
                  </a:cubicBezTo>
                  <a:lnTo>
                    <a:pt x="28" y="682"/>
                  </a:lnTo>
                  <a:lnTo>
                    <a:pt x="28" y="746"/>
                  </a:lnTo>
                  <a:lnTo>
                    <a:pt x="553" y="746"/>
                  </a:lnTo>
                  <a:lnTo>
                    <a:pt x="553" y="663"/>
                  </a:lnTo>
                  <a:lnTo>
                    <a:pt x="175" y="654"/>
                  </a:lnTo>
                  <a:lnTo>
                    <a:pt x="405" y="442"/>
                  </a:lnTo>
                  <a:cubicBezTo>
                    <a:pt x="479" y="387"/>
                    <a:pt x="525" y="304"/>
                    <a:pt x="525" y="212"/>
                  </a:cubicBezTo>
                  <a:cubicBezTo>
                    <a:pt x="525" y="83"/>
                    <a:pt x="424" y="0"/>
                    <a:pt x="267"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55" name="Google Shape;3825;p45"/>
            <p:cNvSpPr/>
            <p:nvPr/>
          </p:nvSpPr>
          <p:spPr>
            <a:xfrm>
              <a:off x="4220225" y="3699250"/>
              <a:ext cx="16375" cy="18225"/>
            </a:xfrm>
            <a:custGeom>
              <a:avLst/>
              <a:gdLst/>
              <a:ahLst/>
              <a:cxnLst/>
              <a:rect l="l" t="t" r="r" b="b"/>
              <a:pathLst>
                <a:path w="655" h="729" extrusionOk="0">
                  <a:moveTo>
                    <a:pt x="378" y="1"/>
                  </a:moveTo>
                  <a:lnTo>
                    <a:pt x="1" y="480"/>
                  </a:lnTo>
                  <a:lnTo>
                    <a:pt x="1" y="553"/>
                  </a:lnTo>
                  <a:lnTo>
                    <a:pt x="406" y="553"/>
                  </a:lnTo>
                  <a:lnTo>
                    <a:pt x="406" y="728"/>
                  </a:lnTo>
                  <a:lnTo>
                    <a:pt x="517" y="728"/>
                  </a:lnTo>
                  <a:lnTo>
                    <a:pt x="517" y="553"/>
                  </a:lnTo>
                  <a:lnTo>
                    <a:pt x="655" y="553"/>
                  </a:lnTo>
                  <a:lnTo>
                    <a:pt x="655" y="461"/>
                  </a:lnTo>
                  <a:lnTo>
                    <a:pt x="517" y="461"/>
                  </a:lnTo>
                  <a:lnTo>
                    <a:pt x="517" y="305"/>
                  </a:lnTo>
                  <a:lnTo>
                    <a:pt x="415" y="305"/>
                  </a:lnTo>
                  <a:lnTo>
                    <a:pt x="415" y="461"/>
                  </a:lnTo>
                  <a:lnTo>
                    <a:pt x="139" y="461"/>
                  </a:lnTo>
                  <a:lnTo>
                    <a:pt x="489" y="1"/>
                  </a:ln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56" name="Google Shape;3826;p45"/>
            <p:cNvSpPr/>
            <p:nvPr/>
          </p:nvSpPr>
          <p:spPr>
            <a:xfrm>
              <a:off x="4237725" y="3699250"/>
              <a:ext cx="16375" cy="18225"/>
            </a:xfrm>
            <a:custGeom>
              <a:avLst/>
              <a:gdLst/>
              <a:ahLst/>
              <a:cxnLst/>
              <a:rect l="l" t="t" r="r" b="b"/>
              <a:pathLst>
                <a:path w="655" h="729" extrusionOk="0">
                  <a:moveTo>
                    <a:pt x="378" y="1"/>
                  </a:moveTo>
                  <a:lnTo>
                    <a:pt x="1" y="480"/>
                  </a:lnTo>
                  <a:lnTo>
                    <a:pt x="1" y="553"/>
                  </a:lnTo>
                  <a:lnTo>
                    <a:pt x="415" y="553"/>
                  </a:lnTo>
                  <a:lnTo>
                    <a:pt x="415" y="728"/>
                  </a:lnTo>
                  <a:lnTo>
                    <a:pt x="516" y="728"/>
                  </a:lnTo>
                  <a:lnTo>
                    <a:pt x="516" y="553"/>
                  </a:lnTo>
                  <a:lnTo>
                    <a:pt x="654" y="553"/>
                  </a:lnTo>
                  <a:lnTo>
                    <a:pt x="654" y="461"/>
                  </a:lnTo>
                  <a:lnTo>
                    <a:pt x="516" y="461"/>
                  </a:lnTo>
                  <a:lnTo>
                    <a:pt x="516" y="305"/>
                  </a:lnTo>
                  <a:lnTo>
                    <a:pt x="415" y="305"/>
                  </a:lnTo>
                  <a:lnTo>
                    <a:pt x="415" y="461"/>
                  </a:lnTo>
                  <a:lnTo>
                    <a:pt x="139" y="461"/>
                  </a:lnTo>
                  <a:lnTo>
                    <a:pt x="498" y="1"/>
                  </a:ln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57" name="Google Shape;3827;p45"/>
            <p:cNvSpPr/>
            <p:nvPr/>
          </p:nvSpPr>
          <p:spPr>
            <a:xfrm>
              <a:off x="3918975" y="4733325"/>
              <a:ext cx="61475" cy="15850"/>
            </a:xfrm>
            <a:custGeom>
              <a:avLst/>
              <a:gdLst/>
              <a:ahLst/>
              <a:cxnLst/>
              <a:rect l="l" t="t" r="r" b="b"/>
              <a:pathLst>
                <a:path w="2459" h="634" extrusionOk="0">
                  <a:moveTo>
                    <a:pt x="0" y="1"/>
                  </a:moveTo>
                  <a:cubicBezTo>
                    <a:pt x="0" y="314"/>
                    <a:pt x="230" y="572"/>
                    <a:pt x="543" y="599"/>
                  </a:cubicBezTo>
                  <a:cubicBezTo>
                    <a:pt x="769" y="622"/>
                    <a:pt x="997" y="634"/>
                    <a:pt x="1226" y="634"/>
                  </a:cubicBezTo>
                  <a:cubicBezTo>
                    <a:pt x="1455" y="634"/>
                    <a:pt x="1685" y="622"/>
                    <a:pt x="1915" y="599"/>
                  </a:cubicBezTo>
                  <a:cubicBezTo>
                    <a:pt x="2219" y="572"/>
                    <a:pt x="2458" y="314"/>
                    <a:pt x="2458" y="1"/>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58" name="Google Shape;3828;p45"/>
            <p:cNvSpPr/>
            <p:nvPr/>
          </p:nvSpPr>
          <p:spPr>
            <a:xfrm>
              <a:off x="3910675" y="4620800"/>
              <a:ext cx="78050" cy="126550"/>
            </a:xfrm>
            <a:custGeom>
              <a:avLst/>
              <a:gdLst/>
              <a:ahLst/>
              <a:cxnLst/>
              <a:rect l="l" t="t" r="r" b="b"/>
              <a:pathLst>
                <a:path w="3122" h="5062" extrusionOk="0">
                  <a:moveTo>
                    <a:pt x="608" y="0"/>
                  </a:moveTo>
                  <a:cubicBezTo>
                    <a:pt x="268" y="0"/>
                    <a:pt x="1" y="267"/>
                    <a:pt x="1" y="608"/>
                  </a:cubicBezTo>
                  <a:lnTo>
                    <a:pt x="1" y="4345"/>
                  </a:lnTo>
                  <a:cubicBezTo>
                    <a:pt x="1" y="4631"/>
                    <a:pt x="194" y="4879"/>
                    <a:pt x="479" y="4944"/>
                  </a:cubicBezTo>
                  <a:cubicBezTo>
                    <a:pt x="834" y="5022"/>
                    <a:pt x="1198" y="5061"/>
                    <a:pt x="1561" y="5061"/>
                  </a:cubicBezTo>
                  <a:cubicBezTo>
                    <a:pt x="1925" y="5061"/>
                    <a:pt x="2288" y="5022"/>
                    <a:pt x="2643" y="4944"/>
                  </a:cubicBezTo>
                  <a:cubicBezTo>
                    <a:pt x="2928" y="4879"/>
                    <a:pt x="3122" y="4631"/>
                    <a:pt x="3122" y="4345"/>
                  </a:cubicBezTo>
                  <a:lnTo>
                    <a:pt x="3122" y="608"/>
                  </a:lnTo>
                  <a:cubicBezTo>
                    <a:pt x="3122" y="267"/>
                    <a:pt x="2855" y="0"/>
                    <a:pt x="2514"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59" name="Google Shape;3829;p45"/>
            <p:cNvSpPr/>
            <p:nvPr/>
          </p:nvSpPr>
          <p:spPr>
            <a:xfrm>
              <a:off x="3912300" y="4618000"/>
              <a:ext cx="74825" cy="30000"/>
            </a:xfrm>
            <a:custGeom>
              <a:avLst/>
              <a:gdLst/>
              <a:ahLst/>
              <a:cxnLst/>
              <a:rect l="l" t="t" r="r" b="b"/>
              <a:pathLst>
                <a:path w="2993" h="1200" extrusionOk="0">
                  <a:moveTo>
                    <a:pt x="1512" y="1"/>
                  </a:moveTo>
                  <a:cubicBezTo>
                    <a:pt x="1188" y="1"/>
                    <a:pt x="863" y="28"/>
                    <a:pt x="543" y="85"/>
                  </a:cubicBezTo>
                  <a:cubicBezTo>
                    <a:pt x="286" y="149"/>
                    <a:pt x="92" y="250"/>
                    <a:pt x="46" y="407"/>
                  </a:cubicBezTo>
                  <a:cubicBezTo>
                    <a:pt x="0" y="563"/>
                    <a:pt x="120" y="757"/>
                    <a:pt x="378" y="922"/>
                  </a:cubicBezTo>
                  <a:cubicBezTo>
                    <a:pt x="721" y="1108"/>
                    <a:pt x="1100" y="1200"/>
                    <a:pt x="1479" y="1200"/>
                  </a:cubicBezTo>
                  <a:cubicBezTo>
                    <a:pt x="1871" y="1200"/>
                    <a:pt x="2263" y="1101"/>
                    <a:pt x="2615" y="904"/>
                  </a:cubicBezTo>
                  <a:cubicBezTo>
                    <a:pt x="2882" y="738"/>
                    <a:pt x="2992" y="545"/>
                    <a:pt x="2946" y="388"/>
                  </a:cubicBezTo>
                  <a:cubicBezTo>
                    <a:pt x="2900" y="223"/>
                    <a:pt x="2698" y="131"/>
                    <a:pt x="2440" y="75"/>
                  </a:cubicBezTo>
                  <a:cubicBezTo>
                    <a:pt x="2134" y="26"/>
                    <a:pt x="1823" y="1"/>
                    <a:pt x="1512" y="1"/>
                  </a:cubicBezTo>
                  <a:close/>
                </a:path>
              </a:pathLst>
            </a:custGeom>
            <a:solidFill>
              <a:srgbClr val="E0E0E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60" name="Google Shape;3830;p45"/>
            <p:cNvSpPr/>
            <p:nvPr/>
          </p:nvSpPr>
          <p:spPr>
            <a:xfrm>
              <a:off x="3957625" y="4626075"/>
              <a:ext cx="22825" cy="8750"/>
            </a:xfrm>
            <a:custGeom>
              <a:avLst/>
              <a:gdLst/>
              <a:ahLst/>
              <a:cxnLst/>
              <a:rect l="l" t="t" r="r" b="b"/>
              <a:pathLst>
                <a:path w="913" h="350" extrusionOk="0">
                  <a:moveTo>
                    <a:pt x="535" y="1"/>
                  </a:moveTo>
                  <a:lnTo>
                    <a:pt x="562" y="10"/>
                  </a:lnTo>
                  <a:cubicBezTo>
                    <a:pt x="516" y="4"/>
                    <a:pt x="469" y="1"/>
                    <a:pt x="423" y="1"/>
                  </a:cubicBezTo>
                  <a:cubicBezTo>
                    <a:pt x="323" y="1"/>
                    <a:pt x="224" y="15"/>
                    <a:pt x="130" y="47"/>
                  </a:cubicBezTo>
                  <a:cubicBezTo>
                    <a:pt x="65" y="65"/>
                    <a:pt x="1" y="111"/>
                    <a:pt x="1" y="176"/>
                  </a:cubicBezTo>
                  <a:cubicBezTo>
                    <a:pt x="10" y="240"/>
                    <a:pt x="65" y="259"/>
                    <a:pt x="111" y="286"/>
                  </a:cubicBezTo>
                  <a:cubicBezTo>
                    <a:pt x="214" y="329"/>
                    <a:pt x="324" y="350"/>
                    <a:pt x="435" y="350"/>
                  </a:cubicBezTo>
                  <a:cubicBezTo>
                    <a:pt x="564" y="350"/>
                    <a:pt x="693" y="322"/>
                    <a:pt x="811" y="268"/>
                  </a:cubicBezTo>
                  <a:cubicBezTo>
                    <a:pt x="857" y="249"/>
                    <a:pt x="912" y="203"/>
                    <a:pt x="894" y="148"/>
                  </a:cubicBezTo>
                  <a:cubicBezTo>
                    <a:pt x="885" y="121"/>
                    <a:pt x="866" y="102"/>
                    <a:pt x="839" y="84"/>
                  </a:cubicBezTo>
                  <a:cubicBezTo>
                    <a:pt x="746" y="29"/>
                    <a:pt x="636" y="1"/>
                    <a:pt x="535"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61" name="Google Shape;3831;p45"/>
            <p:cNvSpPr/>
            <p:nvPr/>
          </p:nvSpPr>
          <p:spPr>
            <a:xfrm>
              <a:off x="3913900" y="4661025"/>
              <a:ext cx="74825" cy="59075"/>
            </a:xfrm>
            <a:custGeom>
              <a:avLst/>
              <a:gdLst/>
              <a:ahLst/>
              <a:cxnLst/>
              <a:rect l="l" t="t" r="r" b="b"/>
              <a:pathLst>
                <a:path w="2993" h="2363" extrusionOk="0">
                  <a:moveTo>
                    <a:pt x="2044" y="39"/>
                  </a:moveTo>
                  <a:cubicBezTo>
                    <a:pt x="2100" y="39"/>
                    <a:pt x="2155" y="57"/>
                    <a:pt x="2192" y="104"/>
                  </a:cubicBezTo>
                  <a:cubicBezTo>
                    <a:pt x="2238" y="140"/>
                    <a:pt x="2275" y="186"/>
                    <a:pt x="2311" y="232"/>
                  </a:cubicBezTo>
                  <a:cubicBezTo>
                    <a:pt x="2385" y="343"/>
                    <a:pt x="2440" y="463"/>
                    <a:pt x="2459" y="591"/>
                  </a:cubicBezTo>
                  <a:cubicBezTo>
                    <a:pt x="2460" y="599"/>
                    <a:pt x="2462" y="607"/>
                    <a:pt x="2463" y="614"/>
                  </a:cubicBezTo>
                  <a:lnTo>
                    <a:pt x="2463" y="614"/>
                  </a:lnTo>
                  <a:cubicBezTo>
                    <a:pt x="2355" y="601"/>
                    <a:pt x="2251" y="563"/>
                    <a:pt x="2155" y="499"/>
                  </a:cubicBezTo>
                  <a:cubicBezTo>
                    <a:pt x="2081" y="453"/>
                    <a:pt x="2017" y="380"/>
                    <a:pt x="1971" y="288"/>
                  </a:cubicBezTo>
                  <a:cubicBezTo>
                    <a:pt x="1943" y="242"/>
                    <a:pt x="1943" y="196"/>
                    <a:pt x="1952" y="140"/>
                  </a:cubicBezTo>
                  <a:cubicBezTo>
                    <a:pt x="1962" y="94"/>
                    <a:pt x="1998" y="57"/>
                    <a:pt x="2044" y="39"/>
                  </a:cubicBezTo>
                  <a:close/>
                  <a:moveTo>
                    <a:pt x="1193" y="487"/>
                  </a:moveTo>
                  <a:cubicBezTo>
                    <a:pt x="1217" y="487"/>
                    <a:pt x="1237" y="493"/>
                    <a:pt x="1253" y="509"/>
                  </a:cubicBezTo>
                  <a:cubicBezTo>
                    <a:pt x="1289" y="545"/>
                    <a:pt x="1308" y="582"/>
                    <a:pt x="1326" y="628"/>
                  </a:cubicBezTo>
                  <a:cubicBezTo>
                    <a:pt x="1363" y="720"/>
                    <a:pt x="1382" y="812"/>
                    <a:pt x="1391" y="914"/>
                  </a:cubicBezTo>
                  <a:cubicBezTo>
                    <a:pt x="1415" y="1076"/>
                    <a:pt x="1411" y="1246"/>
                    <a:pt x="1378" y="1411"/>
                  </a:cubicBezTo>
                  <a:lnTo>
                    <a:pt x="1378" y="1411"/>
                  </a:lnTo>
                  <a:cubicBezTo>
                    <a:pt x="1350" y="1395"/>
                    <a:pt x="1323" y="1376"/>
                    <a:pt x="1299" y="1356"/>
                  </a:cubicBezTo>
                  <a:cubicBezTo>
                    <a:pt x="1170" y="1254"/>
                    <a:pt x="1078" y="1107"/>
                    <a:pt x="1032" y="941"/>
                  </a:cubicBezTo>
                  <a:cubicBezTo>
                    <a:pt x="1013" y="868"/>
                    <a:pt x="1013" y="776"/>
                    <a:pt x="1022" y="693"/>
                  </a:cubicBezTo>
                  <a:cubicBezTo>
                    <a:pt x="1022" y="619"/>
                    <a:pt x="1069" y="536"/>
                    <a:pt x="1133" y="499"/>
                  </a:cubicBezTo>
                  <a:cubicBezTo>
                    <a:pt x="1154" y="491"/>
                    <a:pt x="1174" y="487"/>
                    <a:pt x="1193" y="487"/>
                  </a:cubicBezTo>
                  <a:close/>
                  <a:moveTo>
                    <a:pt x="174" y="1099"/>
                  </a:moveTo>
                  <a:cubicBezTo>
                    <a:pt x="235" y="1243"/>
                    <a:pt x="258" y="1387"/>
                    <a:pt x="249" y="1540"/>
                  </a:cubicBezTo>
                  <a:cubicBezTo>
                    <a:pt x="249" y="1669"/>
                    <a:pt x="222" y="1788"/>
                    <a:pt x="185" y="1899"/>
                  </a:cubicBezTo>
                  <a:cubicBezTo>
                    <a:pt x="179" y="1915"/>
                    <a:pt x="173" y="1931"/>
                    <a:pt x="166" y="1947"/>
                  </a:cubicBezTo>
                  <a:lnTo>
                    <a:pt x="166" y="1947"/>
                  </a:lnTo>
                  <a:cubicBezTo>
                    <a:pt x="145" y="1902"/>
                    <a:pt x="126" y="1856"/>
                    <a:pt x="111" y="1807"/>
                  </a:cubicBezTo>
                  <a:cubicBezTo>
                    <a:pt x="41" y="1572"/>
                    <a:pt x="62" y="1320"/>
                    <a:pt x="174" y="1099"/>
                  </a:cubicBezTo>
                  <a:close/>
                  <a:moveTo>
                    <a:pt x="2088" y="0"/>
                  </a:moveTo>
                  <a:cubicBezTo>
                    <a:pt x="2079" y="0"/>
                    <a:pt x="2071" y="1"/>
                    <a:pt x="2063" y="2"/>
                  </a:cubicBezTo>
                  <a:cubicBezTo>
                    <a:pt x="1998" y="21"/>
                    <a:pt x="1943" y="67"/>
                    <a:pt x="1934" y="131"/>
                  </a:cubicBezTo>
                  <a:cubicBezTo>
                    <a:pt x="1925" y="196"/>
                    <a:pt x="1934" y="251"/>
                    <a:pt x="1962" y="306"/>
                  </a:cubicBezTo>
                  <a:cubicBezTo>
                    <a:pt x="2008" y="398"/>
                    <a:pt x="2072" y="481"/>
                    <a:pt x="2164" y="536"/>
                  </a:cubicBezTo>
                  <a:cubicBezTo>
                    <a:pt x="2256" y="597"/>
                    <a:pt x="2360" y="634"/>
                    <a:pt x="2468" y="647"/>
                  </a:cubicBezTo>
                  <a:lnTo>
                    <a:pt x="2468" y="647"/>
                  </a:lnTo>
                  <a:cubicBezTo>
                    <a:pt x="2483" y="766"/>
                    <a:pt x="2471" y="885"/>
                    <a:pt x="2431" y="997"/>
                  </a:cubicBezTo>
                  <a:cubicBezTo>
                    <a:pt x="2376" y="1135"/>
                    <a:pt x="2284" y="1254"/>
                    <a:pt x="2164" y="1346"/>
                  </a:cubicBezTo>
                  <a:cubicBezTo>
                    <a:pt x="2044" y="1438"/>
                    <a:pt x="1897" y="1484"/>
                    <a:pt x="1741" y="1494"/>
                  </a:cubicBezTo>
                  <a:cubicBezTo>
                    <a:pt x="1728" y="1494"/>
                    <a:pt x="1714" y="1495"/>
                    <a:pt x="1701" y="1495"/>
                  </a:cubicBezTo>
                  <a:cubicBezTo>
                    <a:pt x="1611" y="1495"/>
                    <a:pt x="1520" y="1477"/>
                    <a:pt x="1437" y="1441"/>
                  </a:cubicBezTo>
                  <a:lnTo>
                    <a:pt x="1437" y="1441"/>
                  </a:lnTo>
                  <a:cubicBezTo>
                    <a:pt x="1475" y="1262"/>
                    <a:pt x="1481" y="1083"/>
                    <a:pt x="1464" y="895"/>
                  </a:cubicBezTo>
                  <a:cubicBezTo>
                    <a:pt x="1446" y="794"/>
                    <a:pt x="1428" y="702"/>
                    <a:pt x="1391" y="601"/>
                  </a:cubicBezTo>
                  <a:cubicBezTo>
                    <a:pt x="1372" y="545"/>
                    <a:pt x="1345" y="499"/>
                    <a:pt x="1299" y="463"/>
                  </a:cubicBezTo>
                  <a:cubicBezTo>
                    <a:pt x="1271" y="440"/>
                    <a:pt x="1233" y="428"/>
                    <a:pt x="1195" y="428"/>
                  </a:cubicBezTo>
                  <a:cubicBezTo>
                    <a:pt x="1170" y="428"/>
                    <a:pt x="1146" y="433"/>
                    <a:pt x="1124" y="444"/>
                  </a:cubicBezTo>
                  <a:cubicBezTo>
                    <a:pt x="1041" y="490"/>
                    <a:pt x="986" y="582"/>
                    <a:pt x="986" y="684"/>
                  </a:cubicBezTo>
                  <a:cubicBezTo>
                    <a:pt x="967" y="776"/>
                    <a:pt x="976" y="868"/>
                    <a:pt x="995" y="960"/>
                  </a:cubicBezTo>
                  <a:cubicBezTo>
                    <a:pt x="1041" y="1135"/>
                    <a:pt x="1142" y="1291"/>
                    <a:pt x="1280" y="1402"/>
                  </a:cubicBezTo>
                  <a:cubicBezTo>
                    <a:pt x="1308" y="1424"/>
                    <a:pt x="1337" y="1444"/>
                    <a:pt x="1367" y="1461"/>
                  </a:cubicBezTo>
                  <a:lnTo>
                    <a:pt x="1367" y="1461"/>
                  </a:lnTo>
                  <a:cubicBezTo>
                    <a:pt x="1365" y="1466"/>
                    <a:pt x="1364" y="1471"/>
                    <a:pt x="1363" y="1475"/>
                  </a:cubicBezTo>
                  <a:cubicBezTo>
                    <a:pt x="1326" y="1650"/>
                    <a:pt x="1253" y="1825"/>
                    <a:pt x="1161" y="1972"/>
                  </a:cubicBezTo>
                  <a:cubicBezTo>
                    <a:pt x="1078" y="2120"/>
                    <a:pt x="940" y="2239"/>
                    <a:pt x="783" y="2295"/>
                  </a:cubicBezTo>
                  <a:cubicBezTo>
                    <a:pt x="747" y="2303"/>
                    <a:pt x="711" y="2307"/>
                    <a:pt x="675" y="2307"/>
                  </a:cubicBezTo>
                  <a:cubicBezTo>
                    <a:pt x="553" y="2307"/>
                    <a:pt x="434" y="2260"/>
                    <a:pt x="341" y="2175"/>
                  </a:cubicBezTo>
                  <a:cubicBezTo>
                    <a:pt x="274" y="2119"/>
                    <a:pt x="220" y="2049"/>
                    <a:pt x="178" y="1969"/>
                  </a:cubicBezTo>
                  <a:lnTo>
                    <a:pt x="178" y="1969"/>
                  </a:lnTo>
                  <a:cubicBezTo>
                    <a:pt x="187" y="1949"/>
                    <a:pt x="196" y="1929"/>
                    <a:pt x="203" y="1908"/>
                  </a:cubicBezTo>
                  <a:cubicBezTo>
                    <a:pt x="314" y="1632"/>
                    <a:pt x="314" y="1328"/>
                    <a:pt x="203" y="1052"/>
                  </a:cubicBezTo>
                  <a:lnTo>
                    <a:pt x="185" y="1015"/>
                  </a:lnTo>
                  <a:lnTo>
                    <a:pt x="166" y="1043"/>
                  </a:lnTo>
                  <a:cubicBezTo>
                    <a:pt x="28" y="1282"/>
                    <a:pt x="1" y="1567"/>
                    <a:pt x="74" y="1825"/>
                  </a:cubicBezTo>
                  <a:cubicBezTo>
                    <a:pt x="92" y="1886"/>
                    <a:pt x="115" y="1944"/>
                    <a:pt x="144" y="1998"/>
                  </a:cubicBezTo>
                  <a:lnTo>
                    <a:pt x="144" y="1998"/>
                  </a:lnTo>
                  <a:cubicBezTo>
                    <a:pt x="116" y="2061"/>
                    <a:pt x="83" y="2120"/>
                    <a:pt x="47" y="2175"/>
                  </a:cubicBezTo>
                  <a:cubicBezTo>
                    <a:pt x="87" y="2129"/>
                    <a:pt x="124" y="2075"/>
                    <a:pt x="155" y="2017"/>
                  </a:cubicBezTo>
                  <a:lnTo>
                    <a:pt x="155" y="2017"/>
                  </a:lnTo>
                  <a:cubicBezTo>
                    <a:pt x="199" y="2094"/>
                    <a:pt x="255" y="2164"/>
                    <a:pt x="323" y="2221"/>
                  </a:cubicBezTo>
                  <a:cubicBezTo>
                    <a:pt x="423" y="2314"/>
                    <a:pt x="550" y="2362"/>
                    <a:pt x="684" y="2362"/>
                  </a:cubicBezTo>
                  <a:cubicBezTo>
                    <a:pt x="723" y="2362"/>
                    <a:pt x="762" y="2358"/>
                    <a:pt x="802" y="2350"/>
                  </a:cubicBezTo>
                  <a:cubicBezTo>
                    <a:pt x="976" y="2285"/>
                    <a:pt x="1124" y="2166"/>
                    <a:pt x="1216" y="2000"/>
                  </a:cubicBezTo>
                  <a:cubicBezTo>
                    <a:pt x="1316" y="1846"/>
                    <a:pt x="1389" y="1674"/>
                    <a:pt x="1426" y="1493"/>
                  </a:cubicBezTo>
                  <a:lnTo>
                    <a:pt x="1426" y="1493"/>
                  </a:lnTo>
                  <a:cubicBezTo>
                    <a:pt x="1510" y="1531"/>
                    <a:pt x="1599" y="1552"/>
                    <a:pt x="1693" y="1552"/>
                  </a:cubicBezTo>
                  <a:cubicBezTo>
                    <a:pt x="1715" y="1552"/>
                    <a:pt x="1737" y="1551"/>
                    <a:pt x="1759" y="1549"/>
                  </a:cubicBezTo>
                  <a:cubicBezTo>
                    <a:pt x="1925" y="1549"/>
                    <a:pt x="2090" y="1484"/>
                    <a:pt x="2219" y="1392"/>
                  </a:cubicBezTo>
                  <a:cubicBezTo>
                    <a:pt x="2348" y="1300"/>
                    <a:pt x="2449" y="1171"/>
                    <a:pt x="2505" y="1015"/>
                  </a:cubicBezTo>
                  <a:cubicBezTo>
                    <a:pt x="2544" y="898"/>
                    <a:pt x="2556" y="775"/>
                    <a:pt x="2543" y="651"/>
                  </a:cubicBezTo>
                  <a:lnTo>
                    <a:pt x="2543" y="651"/>
                  </a:lnTo>
                  <a:cubicBezTo>
                    <a:pt x="2545" y="651"/>
                    <a:pt x="2548" y="651"/>
                    <a:pt x="2551" y="651"/>
                  </a:cubicBezTo>
                  <a:cubicBezTo>
                    <a:pt x="2578" y="651"/>
                    <a:pt x="2606" y="650"/>
                    <a:pt x="2634" y="647"/>
                  </a:cubicBezTo>
                  <a:cubicBezTo>
                    <a:pt x="2735" y="637"/>
                    <a:pt x="2827" y="601"/>
                    <a:pt x="2919" y="536"/>
                  </a:cubicBezTo>
                  <a:cubicBezTo>
                    <a:pt x="2947" y="518"/>
                    <a:pt x="2974" y="499"/>
                    <a:pt x="2993" y="472"/>
                  </a:cubicBezTo>
                  <a:lnTo>
                    <a:pt x="2993" y="472"/>
                  </a:lnTo>
                  <a:cubicBezTo>
                    <a:pt x="2993" y="472"/>
                    <a:pt x="2965" y="490"/>
                    <a:pt x="2882" y="527"/>
                  </a:cubicBezTo>
                  <a:cubicBezTo>
                    <a:pt x="2799" y="582"/>
                    <a:pt x="2707" y="610"/>
                    <a:pt x="2606" y="619"/>
                  </a:cubicBezTo>
                  <a:cubicBezTo>
                    <a:pt x="2590" y="620"/>
                    <a:pt x="2575" y="620"/>
                    <a:pt x="2559" y="620"/>
                  </a:cubicBezTo>
                  <a:cubicBezTo>
                    <a:pt x="2552" y="620"/>
                    <a:pt x="2546" y="620"/>
                    <a:pt x="2539" y="620"/>
                  </a:cubicBezTo>
                  <a:lnTo>
                    <a:pt x="2539" y="620"/>
                  </a:lnTo>
                  <a:cubicBezTo>
                    <a:pt x="2537" y="608"/>
                    <a:pt x="2535" y="595"/>
                    <a:pt x="2532" y="582"/>
                  </a:cubicBezTo>
                  <a:cubicBezTo>
                    <a:pt x="2505" y="453"/>
                    <a:pt x="2449" y="324"/>
                    <a:pt x="2376" y="214"/>
                  </a:cubicBezTo>
                  <a:cubicBezTo>
                    <a:pt x="2330" y="159"/>
                    <a:pt x="2293" y="113"/>
                    <a:pt x="2238" y="67"/>
                  </a:cubicBezTo>
                  <a:cubicBezTo>
                    <a:pt x="2198" y="27"/>
                    <a:pt x="2144" y="0"/>
                    <a:pt x="2088" y="0"/>
                  </a:cubicBezTo>
                  <a:close/>
                </a:path>
              </a:pathLst>
            </a:custGeom>
            <a:solidFill>
              <a:srgbClr val="FAFA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62" name="Google Shape;3832;p45"/>
            <p:cNvSpPr/>
            <p:nvPr/>
          </p:nvSpPr>
          <p:spPr>
            <a:xfrm>
              <a:off x="3239100" y="4525800"/>
              <a:ext cx="640775" cy="214900"/>
            </a:xfrm>
            <a:custGeom>
              <a:avLst/>
              <a:gdLst/>
              <a:ahLst/>
              <a:cxnLst/>
              <a:rect l="l" t="t" r="r" b="b"/>
              <a:pathLst>
                <a:path w="25631" h="8596" extrusionOk="0">
                  <a:moveTo>
                    <a:pt x="22368" y="1"/>
                  </a:moveTo>
                  <a:cubicBezTo>
                    <a:pt x="20761" y="1"/>
                    <a:pt x="19170" y="321"/>
                    <a:pt x="17694" y="955"/>
                  </a:cubicBezTo>
                  <a:cubicBezTo>
                    <a:pt x="15163" y="2033"/>
                    <a:pt x="11720" y="2778"/>
                    <a:pt x="11720" y="2778"/>
                  </a:cubicBezTo>
                  <a:cubicBezTo>
                    <a:pt x="11720" y="2778"/>
                    <a:pt x="5920" y="2548"/>
                    <a:pt x="3333" y="1195"/>
                  </a:cubicBezTo>
                  <a:cubicBezTo>
                    <a:pt x="2796" y="915"/>
                    <a:pt x="2340" y="826"/>
                    <a:pt x="1977" y="826"/>
                  </a:cubicBezTo>
                  <a:cubicBezTo>
                    <a:pt x="1337" y="826"/>
                    <a:pt x="985" y="1103"/>
                    <a:pt x="985" y="1103"/>
                  </a:cubicBezTo>
                  <a:cubicBezTo>
                    <a:pt x="985" y="1103"/>
                    <a:pt x="0" y="2235"/>
                    <a:pt x="608" y="3542"/>
                  </a:cubicBezTo>
                  <a:cubicBezTo>
                    <a:pt x="1225" y="4859"/>
                    <a:pt x="3618" y="6884"/>
                    <a:pt x="5441" y="7768"/>
                  </a:cubicBezTo>
                  <a:cubicBezTo>
                    <a:pt x="6840" y="8450"/>
                    <a:pt x="8621" y="8531"/>
                    <a:pt x="9384" y="8531"/>
                  </a:cubicBezTo>
                  <a:cubicBezTo>
                    <a:pt x="9620" y="8531"/>
                    <a:pt x="9759" y="8523"/>
                    <a:pt x="9759" y="8523"/>
                  </a:cubicBezTo>
                  <a:cubicBezTo>
                    <a:pt x="9759" y="8523"/>
                    <a:pt x="10865" y="8595"/>
                    <a:pt x="12034" y="8595"/>
                  </a:cubicBezTo>
                  <a:cubicBezTo>
                    <a:pt x="12584" y="8595"/>
                    <a:pt x="13148" y="8579"/>
                    <a:pt x="13616" y="8532"/>
                  </a:cubicBezTo>
                  <a:cubicBezTo>
                    <a:pt x="15071" y="8385"/>
                    <a:pt x="19711" y="6921"/>
                    <a:pt x="22675" y="4205"/>
                  </a:cubicBezTo>
                  <a:cubicBezTo>
                    <a:pt x="25630" y="1480"/>
                    <a:pt x="23844" y="72"/>
                    <a:pt x="23144" y="26"/>
                  </a:cubicBezTo>
                  <a:cubicBezTo>
                    <a:pt x="22886" y="9"/>
                    <a:pt x="22627" y="1"/>
                    <a:pt x="22368"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63" name="Google Shape;3833;p45"/>
            <p:cNvSpPr/>
            <p:nvPr/>
          </p:nvSpPr>
          <p:spPr>
            <a:xfrm>
              <a:off x="3591675" y="4558650"/>
              <a:ext cx="142500" cy="48825"/>
            </a:xfrm>
            <a:custGeom>
              <a:avLst/>
              <a:gdLst/>
              <a:ahLst/>
              <a:cxnLst/>
              <a:rect l="l" t="t" r="r" b="b"/>
              <a:pathLst>
                <a:path w="5700" h="1953" extrusionOk="0">
                  <a:moveTo>
                    <a:pt x="5700" y="1"/>
                  </a:moveTo>
                  <a:cubicBezTo>
                    <a:pt x="5681" y="1"/>
                    <a:pt x="5663" y="10"/>
                    <a:pt x="5644" y="19"/>
                  </a:cubicBezTo>
                  <a:lnTo>
                    <a:pt x="5479" y="74"/>
                  </a:lnTo>
                  <a:lnTo>
                    <a:pt x="4871" y="304"/>
                  </a:lnTo>
                  <a:cubicBezTo>
                    <a:pt x="4355" y="488"/>
                    <a:pt x="3647" y="737"/>
                    <a:pt x="2855" y="995"/>
                  </a:cubicBezTo>
                  <a:lnTo>
                    <a:pt x="830" y="1658"/>
                  </a:lnTo>
                  <a:cubicBezTo>
                    <a:pt x="572" y="1750"/>
                    <a:pt x="360" y="1814"/>
                    <a:pt x="222" y="1869"/>
                  </a:cubicBezTo>
                  <a:lnTo>
                    <a:pt x="56" y="1925"/>
                  </a:lnTo>
                  <a:cubicBezTo>
                    <a:pt x="38" y="1934"/>
                    <a:pt x="19" y="1943"/>
                    <a:pt x="1" y="1952"/>
                  </a:cubicBezTo>
                  <a:cubicBezTo>
                    <a:pt x="19" y="1952"/>
                    <a:pt x="38" y="1952"/>
                    <a:pt x="56" y="1943"/>
                  </a:cubicBezTo>
                  <a:lnTo>
                    <a:pt x="222" y="1888"/>
                  </a:lnTo>
                  <a:lnTo>
                    <a:pt x="839" y="1694"/>
                  </a:lnTo>
                  <a:cubicBezTo>
                    <a:pt x="1363" y="1538"/>
                    <a:pt x="2082" y="1317"/>
                    <a:pt x="2873" y="1050"/>
                  </a:cubicBezTo>
                  <a:cubicBezTo>
                    <a:pt x="3665" y="792"/>
                    <a:pt x="4374" y="544"/>
                    <a:pt x="4880" y="341"/>
                  </a:cubicBezTo>
                  <a:cubicBezTo>
                    <a:pt x="5138" y="249"/>
                    <a:pt x="5341" y="166"/>
                    <a:pt x="5488" y="102"/>
                  </a:cubicBezTo>
                  <a:lnTo>
                    <a:pt x="5644" y="28"/>
                  </a:lnTo>
                  <a:cubicBezTo>
                    <a:pt x="5663" y="19"/>
                    <a:pt x="5681" y="10"/>
                    <a:pt x="5700" y="1"/>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64" name="Google Shape;3834;p45"/>
            <p:cNvSpPr/>
            <p:nvPr/>
          </p:nvSpPr>
          <p:spPr>
            <a:xfrm>
              <a:off x="3433350" y="4667975"/>
              <a:ext cx="62375" cy="72975"/>
            </a:xfrm>
            <a:custGeom>
              <a:avLst/>
              <a:gdLst/>
              <a:ahLst/>
              <a:cxnLst/>
              <a:rect l="l" t="t" r="r" b="b"/>
              <a:pathLst>
                <a:path w="2495" h="2919" extrusionOk="0">
                  <a:moveTo>
                    <a:pt x="46" y="0"/>
                  </a:moveTo>
                  <a:cubicBezTo>
                    <a:pt x="46" y="0"/>
                    <a:pt x="37" y="19"/>
                    <a:pt x="37" y="46"/>
                  </a:cubicBezTo>
                  <a:cubicBezTo>
                    <a:pt x="28" y="83"/>
                    <a:pt x="19" y="120"/>
                    <a:pt x="19" y="157"/>
                  </a:cubicBezTo>
                  <a:cubicBezTo>
                    <a:pt x="0" y="304"/>
                    <a:pt x="9" y="452"/>
                    <a:pt x="37" y="599"/>
                  </a:cubicBezTo>
                  <a:cubicBezTo>
                    <a:pt x="129" y="1087"/>
                    <a:pt x="378" y="1529"/>
                    <a:pt x="737" y="1869"/>
                  </a:cubicBezTo>
                  <a:cubicBezTo>
                    <a:pt x="1096" y="2191"/>
                    <a:pt x="1501" y="2468"/>
                    <a:pt x="1943" y="2670"/>
                  </a:cubicBezTo>
                  <a:cubicBezTo>
                    <a:pt x="2118" y="2753"/>
                    <a:pt x="2246" y="2818"/>
                    <a:pt x="2348" y="2864"/>
                  </a:cubicBezTo>
                  <a:cubicBezTo>
                    <a:pt x="2394" y="2882"/>
                    <a:pt x="2440" y="2910"/>
                    <a:pt x="2495" y="2919"/>
                  </a:cubicBezTo>
                  <a:cubicBezTo>
                    <a:pt x="2449" y="2891"/>
                    <a:pt x="2403" y="2864"/>
                    <a:pt x="2357" y="2845"/>
                  </a:cubicBezTo>
                  <a:lnTo>
                    <a:pt x="1961" y="2643"/>
                  </a:lnTo>
                  <a:cubicBezTo>
                    <a:pt x="1538" y="2422"/>
                    <a:pt x="1132" y="2145"/>
                    <a:pt x="783" y="1823"/>
                  </a:cubicBezTo>
                  <a:cubicBezTo>
                    <a:pt x="433" y="1492"/>
                    <a:pt x="184" y="1068"/>
                    <a:pt x="74" y="599"/>
                  </a:cubicBezTo>
                  <a:cubicBezTo>
                    <a:pt x="46" y="396"/>
                    <a:pt x="37" y="203"/>
                    <a:pt x="46" y="0"/>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65" name="Google Shape;3835;p45"/>
            <p:cNvSpPr/>
            <p:nvPr/>
          </p:nvSpPr>
          <p:spPr>
            <a:xfrm>
              <a:off x="3504700" y="4695600"/>
              <a:ext cx="98050" cy="42375"/>
            </a:xfrm>
            <a:custGeom>
              <a:avLst/>
              <a:gdLst/>
              <a:ahLst/>
              <a:cxnLst/>
              <a:rect l="l" t="t" r="r" b="b"/>
              <a:pathLst>
                <a:path w="3922" h="1695" extrusionOk="0">
                  <a:moveTo>
                    <a:pt x="2836" y="0"/>
                  </a:moveTo>
                  <a:lnTo>
                    <a:pt x="2753" y="19"/>
                  </a:lnTo>
                  <a:lnTo>
                    <a:pt x="37" y="635"/>
                  </a:lnTo>
                  <a:lnTo>
                    <a:pt x="0" y="645"/>
                  </a:lnTo>
                  <a:lnTo>
                    <a:pt x="18" y="672"/>
                  </a:lnTo>
                  <a:cubicBezTo>
                    <a:pt x="249" y="1040"/>
                    <a:pt x="580" y="1344"/>
                    <a:pt x="976" y="1538"/>
                  </a:cubicBezTo>
                  <a:cubicBezTo>
                    <a:pt x="1086" y="1593"/>
                    <a:pt x="1197" y="1630"/>
                    <a:pt x="1307" y="1666"/>
                  </a:cubicBezTo>
                  <a:cubicBezTo>
                    <a:pt x="1344" y="1676"/>
                    <a:pt x="1381" y="1694"/>
                    <a:pt x="1399" y="1694"/>
                  </a:cubicBezTo>
                  <a:lnTo>
                    <a:pt x="1427" y="1694"/>
                  </a:lnTo>
                  <a:cubicBezTo>
                    <a:pt x="1390" y="1676"/>
                    <a:pt x="1353" y="1657"/>
                    <a:pt x="1317" y="1648"/>
                  </a:cubicBezTo>
                  <a:cubicBezTo>
                    <a:pt x="1206" y="1611"/>
                    <a:pt x="1096" y="1565"/>
                    <a:pt x="994" y="1510"/>
                  </a:cubicBezTo>
                  <a:cubicBezTo>
                    <a:pt x="618" y="1313"/>
                    <a:pt x="302" y="1028"/>
                    <a:pt x="82" y="673"/>
                  </a:cubicBezTo>
                  <a:lnTo>
                    <a:pt x="82" y="673"/>
                  </a:lnTo>
                  <a:lnTo>
                    <a:pt x="2771" y="74"/>
                  </a:lnTo>
                  <a:lnTo>
                    <a:pt x="2849" y="56"/>
                  </a:lnTo>
                  <a:lnTo>
                    <a:pt x="2849" y="56"/>
                  </a:lnTo>
                  <a:cubicBezTo>
                    <a:pt x="3013" y="94"/>
                    <a:pt x="3177" y="176"/>
                    <a:pt x="3305" y="286"/>
                  </a:cubicBezTo>
                  <a:cubicBezTo>
                    <a:pt x="3434" y="396"/>
                    <a:pt x="3544" y="525"/>
                    <a:pt x="3627" y="672"/>
                  </a:cubicBezTo>
                  <a:cubicBezTo>
                    <a:pt x="3762" y="941"/>
                    <a:pt x="3852" y="1244"/>
                    <a:pt x="3874" y="1548"/>
                  </a:cubicBezTo>
                  <a:lnTo>
                    <a:pt x="3874" y="1548"/>
                  </a:lnTo>
                  <a:lnTo>
                    <a:pt x="2117" y="1648"/>
                  </a:lnTo>
                  <a:lnTo>
                    <a:pt x="1611" y="1676"/>
                  </a:lnTo>
                  <a:lnTo>
                    <a:pt x="1473" y="1685"/>
                  </a:lnTo>
                  <a:cubicBezTo>
                    <a:pt x="1464" y="1685"/>
                    <a:pt x="1445" y="1694"/>
                    <a:pt x="1427" y="1694"/>
                  </a:cubicBezTo>
                  <a:lnTo>
                    <a:pt x="1602" y="1694"/>
                  </a:lnTo>
                  <a:lnTo>
                    <a:pt x="2108" y="1676"/>
                  </a:lnTo>
                  <a:lnTo>
                    <a:pt x="3894" y="1593"/>
                  </a:lnTo>
                  <a:lnTo>
                    <a:pt x="3922" y="1593"/>
                  </a:lnTo>
                  <a:lnTo>
                    <a:pt x="3922" y="1565"/>
                  </a:lnTo>
                  <a:cubicBezTo>
                    <a:pt x="3903" y="1243"/>
                    <a:pt x="3821" y="930"/>
                    <a:pt x="3673" y="645"/>
                  </a:cubicBezTo>
                  <a:cubicBezTo>
                    <a:pt x="3508" y="322"/>
                    <a:pt x="3204" y="83"/>
                    <a:pt x="2854" y="0"/>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66" name="Google Shape;3836;p45"/>
            <p:cNvSpPr/>
            <p:nvPr/>
          </p:nvSpPr>
          <p:spPr>
            <a:xfrm>
              <a:off x="3361300" y="4693300"/>
              <a:ext cx="64475" cy="41900"/>
            </a:xfrm>
            <a:custGeom>
              <a:avLst/>
              <a:gdLst/>
              <a:ahLst/>
              <a:cxnLst/>
              <a:rect l="l" t="t" r="r" b="b"/>
              <a:pathLst>
                <a:path w="2579" h="1676" extrusionOk="0">
                  <a:moveTo>
                    <a:pt x="1" y="0"/>
                  </a:moveTo>
                  <a:lnTo>
                    <a:pt x="1" y="37"/>
                  </a:lnTo>
                  <a:cubicBezTo>
                    <a:pt x="19" y="184"/>
                    <a:pt x="47" y="332"/>
                    <a:pt x="83" y="479"/>
                  </a:cubicBezTo>
                  <a:cubicBezTo>
                    <a:pt x="111" y="589"/>
                    <a:pt x="157" y="700"/>
                    <a:pt x="222" y="792"/>
                  </a:cubicBezTo>
                  <a:cubicBezTo>
                    <a:pt x="258" y="856"/>
                    <a:pt x="304" y="921"/>
                    <a:pt x="360" y="976"/>
                  </a:cubicBezTo>
                  <a:cubicBezTo>
                    <a:pt x="396" y="1004"/>
                    <a:pt x="415" y="1022"/>
                    <a:pt x="415" y="1022"/>
                  </a:cubicBezTo>
                  <a:cubicBezTo>
                    <a:pt x="350" y="948"/>
                    <a:pt x="295" y="865"/>
                    <a:pt x="249" y="783"/>
                  </a:cubicBezTo>
                  <a:cubicBezTo>
                    <a:pt x="194" y="681"/>
                    <a:pt x="148" y="571"/>
                    <a:pt x="120" y="460"/>
                  </a:cubicBezTo>
                  <a:cubicBezTo>
                    <a:pt x="95" y="333"/>
                    <a:pt x="69" y="198"/>
                    <a:pt x="51" y="62"/>
                  </a:cubicBezTo>
                  <a:lnTo>
                    <a:pt x="51" y="62"/>
                  </a:lnTo>
                  <a:cubicBezTo>
                    <a:pt x="357" y="126"/>
                    <a:pt x="713" y="215"/>
                    <a:pt x="1087" y="304"/>
                  </a:cubicBezTo>
                  <a:lnTo>
                    <a:pt x="1716" y="466"/>
                  </a:lnTo>
                  <a:lnTo>
                    <a:pt x="1716" y="466"/>
                  </a:lnTo>
                  <a:cubicBezTo>
                    <a:pt x="1762" y="663"/>
                    <a:pt x="1826" y="851"/>
                    <a:pt x="1925" y="1031"/>
                  </a:cubicBezTo>
                  <a:cubicBezTo>
                    <a:pt x="1998" y="1178"/>
                    <a:pt x="2100" y="1307"/>
                    <a:pt x="2219" y="1418"/>
                  </a:cubicBezTo>
                  <a:cubicBezTo>
                    <a:pt x="2302" y="1491"/>
                    <a:pt x="2385" y="1565"/>
                    <a:pt x="2468" y="1620"/>
                  </a:cubicBezTo>
                  <a:cubicBezTo>
                    <a:pt x="2505" y="1639"/>
                    <a:pt x="2532" y="1657"/>
                    <a:pt x="2569" y="1676"/>
                  </a:cubicBezTo>
                  <a:cubicBezTo>
                    <a:pt x="2578" y="1666"/>
                    <a:pt x="2440" y="1584"/>
                    <a:pt x="2247" y="1399"/>
                  </a:cubicBezTo>
                  <a:cubicBezTo>
                    <a:pt x="2136" y="1280"/>
                    <a:pt x="2044" y="1151"/>
                    <a:pt x="1971" y="1013"/>
                  </a:cubicBezTo>
                  <a:cubicBezTo>
                    <a:pt x="1879" y="829"/>
                    <a:pt x="1814" y="635"/>
                    <a:pt x="1768" y="433"/>
                  </a:cubicBezTo>
                  <a:lnTo>
                    <a:pt x="1768" y="424"/>
                  </a:lnTo>
                  <a:lnTo>
                    <a:pt x="1759" y="424"/>
                  </a:lnTo>
                  <a:cubicBezTo>
                    <a:pt x="1556" y="368"/>
                    <a:pt x="1335" y="304"/>
                    <a:pt x="1105" y="249"/>
                  </a:cubicBezTo>
                  <a:cubicBezTo>
                    <a:pt x="719" y="147"/>
                    <a:pt x="350" y="65"/>
                    <a:pt x="28" y="0"/>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67" name="Google Shape;3837;p45"/>
            <p:cNvSpPr/>
            <p:nvPr/>
          </p:nvSpPr>
          <p:spPr>
            <a:xfrm>
              <a:off x="3611950" y="4343100"/>
              <a:ext cx="72525" cy="71100"/>
            </a:xfrm>
            <a:custGeom>
              <a:avLst/>
              <a:gdLst/>
              <a:ahLst/>
              <a:cxnLst/>
              <a:rect l="l" t="t" r="r" b="b"/>
              <a:pathLst>
                <a:path w="2901" h="2844" extrusionOk="0">
                  <a:moveTo>
                    <a:pt x="940" y="1"/>
                  </a:moveTo>
                  <a:cubicBezTo>
                    <a:pt x="437" y="1"/>
                    <a:pt x="0" y="61"/>
                    <a:pt x="0" y="61"/>
                  </a:cubicBezTo>
                  <a:lnTo>
                    <a:pt x="497" y="1451"/>
                  </a:lnTo>
                  <a:lnTo>
                    <a:pt x="1344" y="1451"/>
                  </a:lnTo>
                  <a:cubicBezTo>
                    <a:pt x="1344" y="1451"/>
                    <a:pt x="1686" y="2844"/>
                    <a:pt x="2258" y="2844"/>
                  </a:cubicBezTo>
                  <a:cubicBezTo>
                    <a:pt x="2272" y="2844"/>
                    <a:pt x="2287" y="2843"/>
                    <a:pt x="2302" y="2841"/>
                  </a:cubicBezTo>
                  <a:cubicBezTo>
                    <a:pt x="2900" y="2777"/>
                    <a:pt x="2790" y="834"/>
                    <a:pt x="2302" y="328"/>
                  </a:cubicBezTo>
                  <a:cubicBezTo>
                    <a:pt x="2053" y="65"/>
                    <a:pt x="1461" y="1"/>
                    <a:pt x="940"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68" name="Google Shape;3838;p45"/>
            <p:cNvSpPr/>
            <p:nvPr/>
          </p:nvSpPr>
          <p:spPr>
            <a:xfrm>
              <a:off x="3634275" y="4334600"/>
              <a:ext cx="54550" cy="89675"/>
            </a:xfrm>
            <a:custGeom>
              <a:avLst/>
              <a:gdLst/>
              <a:ahLst/>
              <a:cxnLst/>
              <a:rect l="l" t="t" r="r" b="b"/>
              <a:pathLst>
                <a:path w="2182" h="3587" extrusionOk="0">
                  <a:moveTo>
                    <a:pt x="272" y="0"/>
                  </a:moveTo>
                  <a:cubicBezTo>
                    <a:pt x="160" y="0"/>
                    <a:pt x="77" y="145"/>
                    <a:pt x="147" y="263"/>
                  </a:cubicBezTo>
                  <a:cubicBezTo>
                    <a:pt x="221" y="428"/>
                    <a:pt x="267" y="603"/>
                    <a:pt x="295" y="778"/>
                  </a:cubicBezTo>
                  <a:cubicBezTo>
                    <a:pt x="322" y="926"/>
                    <a:pt x="332" y="1073"/>
                    <a:pt x="304" y="1220"/>
                  </a:cubicBezTo>
                  <a:cubicBezTo>
                    <a:pt x="285" y="1340"/>
                    <a:pt x="267" y="1450"/>
                    <a:pt x="249" y="1542"/>
                  </a:cubicBezTo>
                  <a:lnTo>
                    <a:pt x="203" y="1782"/>
                  </a:lnTo>
                  <a:lnTo>
                    <a:pt x="0" y="2417"/>
                  </a:lnTo>
                  <a:lnTo>
                    <a:pt x="1123" y="3586"/>
                  </a:lnTo>
                  <a:lnTo>
                    <a:pt x="1869" y="2767"/>
                  </a:lnTo>
                  <a:cubicBezTo>
                    <a:pt x="2016" y="2537"/>
                    <a:pt x="2118" y="2288"/>
                    <a:pt x="2164" y="2021"/>
                  </a:cubicBezTo>
                  <a:cubicBezTo>
                    <a:pt x="2182" y="1846"/>
                    <a:pt x="2173" y="1680"/>
                    <a:pt x="2127" y="1515"/>
                  </a:cubicBezTo>
                  <a:cubicBezTo>
                    <a:pt x="2173" y="1386"/>
                    <a:pt x="2164" y="1248"/>
                    <a:pt x="2108" y="1128"/>
                  </a:cubicBezTo>
                  <a:cubicBezTo>
                    <a:pt x="2062" y="1054"/>
                    <a:pt x="1989" y="1008"/>
                    <a:pt x="1906" y="999"/>
                  </a:cubicBezTo>
                  <a:cubicBezTo>
                    <a:pt x="2013" y="737"/>
                    <a:pt x="1866" y="564"/>
                    <a:pt x="1689" y="564"/>
                  </a:cubicBezTo>
                  <a:cubicBezTo>
                    <a:pt x="1592" y="564"/>
                    <a:pt x="1487" y="615"/>
                    <a:pt x="1409" y="732"/>
                  </a:cubicBezTo>
                  <a:cubicBezTo>
                    <a:pt x="1293" y="905"/>
                    <a:pt x="1045" y="1220"/>
                    <a:pt x="889" y="1220"/>
                  </a:cubicBezTo>
                  <a:cubicBezTo>
                    <a:pt x="820" y="1220"/>
                    <a:pt x="769" y="1159"/>
                    <a:pt x="755" y="999"/>
                  </a:cubicBezTo>
                  <a:cubicBezTo>
                    <a:pt x="700" y="465"/>
                    <a:pt x="470" y="69"/>
                    <a:pt x="332" y="14"/>
                  </a:cubicBezTo>
                  <a:cubicBezTo>
                    <a:pt x="311" y="5"/>
                    <a:pt x="291" y="0"/>
                    <a:pt x="272" y="0"/>
                  </a:cubicBezTo>
                  <a:close/>
                </a:path>
              </a:pathLst>
            </a:custGeom>
            <a:solidFill>
              <a:srgbClr val="FFBE9D"/>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69" name="Google Shape;3839;p45"/>
            <p:cNvSpPr/>
            <p:nvPr/>
          </p:nvSpPr>
          <p:spPr>
            <a:xfrm>
              <a:off x="3405500" y="4050800"/>
              <a:ext cx="75725" cy="174625"/>
            </a:xfrm>
            <a:custGeom>
              <a:avLst/>
              <a:gdLst/>
              <a:ahLst/>
              <a:cxnLst/>
              <a:rect l="l" t="t" r="r" b="b"/>
              <a:pathLst>
                <a:path w="3029" h="6985" extrusionOk="0">
                  <a:moveTo>
                    <a:pt x="2225" y="0"/>
                  </a:moveTo>
                  <a:cubicBezTo>
                    <a:pt x="1933" y="0"/>
                    <a:pt x="1636" y="83"/>
                    <a:pt x="1381" y="236"/>
                  </a:cubicBezTo>
                  <a:cubicBezTo>
                    <a:pt x="884" y="531"/>
                    <a:pt x="847" y="1129"/>
                    <a:pt x="405" y="1516"/>
                  </a:cubicBezTo>
                  <a:cubicBezTo>
                    <a:pt x="0" y="1875"/>
                    <a:pt x="129" y="2703"/>
                    <a:pt x="212" y="3274"/>
                  </a:cubicBezTo>
                  <a:cubicBezTo>
                    <a:pt x="368" y="4498"/>
                    <a:pt x="553" y="5916"/>
                    <a:pt x="1179" y="6984"/>
                  </a:cubicBezTo>
                  <a:lnTo>
                    <a:pt x="3029" y="254"/>
                  </a:lnTo>
                  <a:cubicBezTo>
                    <a:pt x="2796" y="81"/>
                    <a:pt x="2513" y="0"/>
                    <a:pt x="2225"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70" name="Google Shape;3840;p45"/>
            <p:cNvSpPr/>
            <p:nvPr/>
          </p:nvSpPr>
          <p:spPr>
            <a:xfrm>
              <a:off x="3443225" y="4065575"/>
              <a:ext cx="123850" cy="254125"/>
            </a:xfrm>
            <a:custGeom>
              <a:avLst/>
              <a:gdLst/>
              <a:ahLst/>
              <a:cxnLst/>
              <a:rect l="l" t="t" r="r" b="b"/>
              <a:pathLst>
                <a:path w="4954" h="10165" extrusionOk="0">
                  <a:moveTo>
                    <a:pt x="2714" y="1"/>
                  </a:moveTo>
                  <a:cubicBezTo>
                    <a:pt x="1764" y="1"/>
                    <a:pt x="818" y="279"/>
                    <a:pt x="1" y="823"/>
                  </a:cubicBezTo>
                  <a:lnTo>
                    <a:pt x="75" y="5730"/>
                  </a:lnTo>
                  <a:lnTo>
                    <a:pt x="65" y="8372"/>
                  </a:lnTo>
                  <a:cubicBezTo>
                    <a:pt x="75" y="9256"/>
                    <a:pt x="535" y="10094"/>
                    <a:pt x="1410" y="10158"/>
                  </a:cubicBezTo>
                  <a:cubicBezTo>
                    <a:pt x="1459" y="10163"/>
                    <a:pt x="1508" y="10165"/>
                    <a:pt x="1556" y="10165"/>
                  </a:cubicBezTo>
                  <a:cubicBezTo>
                    <a:pt x="2459" y="10165"/>
                    <a:pt x="3216" y="9446"/>
                    <a:pt x="3251" y="8529"/>
                  </a:cubicBezTo>
                  <a:cubicBezTo>
                    <a:pt x="3297" y="7599"/>
                    <a:pt x="3324" y="6660"/>
                    <a:pt x="3324" y="6660"/>
                  </a:cubicBezTo>
                  <a:cubicBezTo>
                    <a:pt x="3324" y="6660"/>
                    <a:pt x="4742" y="6531"/>
                    <a:pt x="4843" y="5141"/>
                  </a:cubicBezTo>
                  <a:cubicBezTo>
                    <a:pt x="4954" y="3742"/>
                    <a:pt x="4917" y="529"/>
                    <a:pt x="4917" y="529"/>
                  </a:cubicBezTo>
                  <a:cubicBezTo>
                    <a:pt x="4222" y="175"/>
                    <a:pt x="3467" y="1"/>
                    <a:pt x="2714" y="1"/>
                  </a:cubicBezTo>
                  <a:close/>
                </a:path>
              </a:pathLst>
            </a:custGeom>
            <a:solidFill>
              <a:srgbClr val="FFBE9D"/>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71" name="Google Shape;3841;p45"/>
            <p:cNvSpPr/>
            <p:nvPr/>
          </p:nvSpPr>
          <p:spPr>
            <a:xfrm>
              <a:off x="3424600" y="4036250"/>
              <a:ext cx="171250" cy="200300"/>
            </a:xfrm>
            <a:custGeom>
              <a:avLst/>
              <a:gdLst/>
              <a:ahLst/>
              <a:cxnLst/>
              <a:rect l="l" t="t" r="r" b="b"/>
              <a:pathLst>
                <a:path w="6850" h="8012" extrusionOk="0">
                  <a:moveTo>
                    <a:pt x="4207" y="4602"/>
                  </a:moveTo>
                  <a:lnTo>
                    <a:pt x="4207" y="4602"/>
                  </a:lnTo>
                  <a:cubicBezTo>
                    <a:pt x="4204" y="4602"/>
                    <a:pt x="4201" y="4602"/>
                    <a:pt x="4198" y="4602"/>
                  </a:cubicBezTo>
                  <a:lnTo>
                    <a:pt x="4208" y="4602"/>
                  </a:lnTo>
                  <a:cubicBezTo>
                    <a:pt x="4207" y="4602"/>
                    <a:pt x="4207" y="4602"/>
                    <a:pt x="4207" y="4602"/>
                  </a:cubicBezTo>
                  <a:close/>
                  <a:moveTo>
                    <a:pt x="4120" y="0"/>
                  </a:moveTo>
                  <a:cubicBezTo>
                    <a:pt x="3802" y="0"/>
                    <a:pt x="3470" y="109"/>
                    <a:pt x="3176" y="256"/>
                  </a:cubicBezTo>
                  <a:cubicBezTo>
                    <a:pt x="2725" y="487"/>
                    <a:pt x="2320" y="809"/>
                    <a:pt x="1832" y="965"/>
                  </a:cubicBezTo>
                  <a:cubicBezTo>
                    <a:pt x="1455" y="1085"/>
                    <a:pt x="1031" y="1103"/>
                    <a:pt x="682" y="1324"/>
                  </a:cubicBezTo>
                  <a:cubicBezTo>
                    <a:pt x="378" y="1545"/>
                    <a:pt x="166" y="1867"/>
                    <a:pt x="92" y="2236"/>
                  </a:cubicBezTo>
                  <a:cubicBezTo>
                    <a:pt x="28" y="2604"/>
                    <a:pt x="0" y="2972"/>
                    <a:pt x="28" y="3350"/>
                  </a:cubicBezTo>
                  <a:cubicBezTo>
                    <a:pt x="37" y="4372"/>
                    <a:pt x="56" y="5403"/>
                    <a:pt x="74" y="6434"/>
                  </a:cubicBezTo>
                  <a:cubicBezTo>
                    <a:pt x="65" y="6830"/>
                    <a:pt x="184" y="7235"/>
                    <a:pt x="415" y="7566"/>
                  </a:cubicBezTo>
                  <a:cubicBezTo>
                    <a:pt x="661" y="7919"/>
                    <a:pt x="686" y="8012"/>
                    <a:pt x="910" y="8012"/>
                  </a:cubicBezTo>
                  <a:cubicBezTo>
                    <a:pt x="996" y="8012"/>
                    <a:pt x="1112" y="7998"/>
                    <a:pt x="1280" y="7980"/>
                  </a:cubicBezTo>
                  <a:cubicBezTo>
                    <a:pt x="1888" y="7907"/>
                    <a:pt x="2781" y="7723"/>
                    <a:pt x="3195" y="7271"/>
                  </a:cubicBezTo>
                  <a:cubicBezTo>
                    <a:pt x="3453" y="6986"/>
                    <a:pt x="4042" y="6848"/>
                    <a:pt x="4079" y="6498"/>
                  </a:cubicBezTo>
                  <a:cubicBezTo>
                    <a:pt x="4106" y="6231"/>
                    <a:pt x="3922" y="5983"/>
                    <a:pt x="3664" y="5927"/>
                  </a:cubicBezTo>
                  <a:cubicBezTo>
                    <a:pt x="3370" y="5854"/>
                    <a:pt x="3121" y="5670"/>
                    <a:pt x="2983" y="5412"/>
                  </a:cubicBezTo>
                  <a:cubicBezTo>
                    <a:pt x="2808" y="5053"/>
                    <a:pt x="2928" y="4620"/>
                    <a:pt x="3250" y="4399"/>
                  </a:cubicBezTo>
                  <a:cubicBezTo>
                    <a:pt x="3362" y="4325"/>
                    <a:pt x="3483" y="4292"/>
                    <a:pt x="3604" y="4292"/>
                  </a:cubicBezTo>
                  <a:cubicBezTo>
                    <a:pt x="3829" y="4292"/>
                    <a:pt x="4051" y="4410"/>
                    <a:pt x="4207" y="4602"/>
                  </a:cubicBezTo>
                  <a:lnTo>
                    <a:pt x="4207" y="4602"/>
                  </a:lnTo>
                  <a:cubicBezTo>
                    <a:pt x="4438" y="4596"/>
                    <a:pt x="4457" y="4360"/>
                    <a:pt x="4511" y="4215"/>
                  </a:cubicBezTo>
                  <a:cubicBezTo>
                    <a:pt x="4677" y="3727"/>
                    <a:pt x="4521" y="3386"/>
                    <a:pt x="4539" y="3239"/>
                  </a:cubicBezTo>
                  <a:lnTo>
                    <a:pt x="4539" y="3239"/>
                  </a:lnTo>
                  <a:cubicBezTo>
                    <a:pt x="4755" y="3346"/>
                    <a:pt x="4995" y="3397"/>
                    <a:pt x="5236" y="3397"/>
                  </a:cubicBezTo>
                  <a:cubicBezTo>
                    <a:pt x="5887" y="3397"/>
                    <a:pt x="6545" y="3023"/>
                    <a:pt x="6767" y="2365"/>
                  </a:cubicBezTo>
                  <a:cubicBezTo>
                    <a:pt x="6850" y="2134"/>
                    <a:pt x="6850" y="1886"/>
                    <a:pt x="6776" y="1656"/>
                  </a:cubicBezTo>
                  <a:cubicBezTo>
                    <a:pt x="6564" y="993"/>
                    <a:pt x="5947" y="1048"/>
                    <a:pt x="5496" y="790"/>
                  </a:cubicBezTo>
                  <a:cubicBezTo>
                    <a:pt x="5183" y="615"/>
                    <a:pt x="4962" y="284"/>
                    <a:pt x="4640" y="118"/>
                  </a:cubicBezTo>
                  <a:cubicBezTo>
                    <a:pt x="4477" y="35"/>
                    <a:pt x="4301" y="0"/>
                    <a:pt x="4120"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72" name="Google Shape;3842;p45"/>
            <p:cNvSpPr/>
            <p:nvPr/>
          </p:nvSpPr>
          <p:spPr>
            <a:xfrm>
              <a:off x="3509750" y="4156150"/>
              <a:ext cx="14025" cy="20475"/>
            </a:xfrm>
            <a:custGeom>
              <a:avLst/>
              <a:gdLst/>
              <a:ahLst/>
              <a:cxnLst/>
              <a:rect l="l" t="t" r="r" b="b"/>
              <a:pathLst>
                <a:path w="561" h="819" extrusionOk="0">
                  <a:moveTo>
                    <a:pt x="411" y="1"/>
                  </a:moveTo>
                  <a:cubicBezTo>
                    <a:pt x="387" y="1"/>
                    <a:pt x="361" y="3"/>
                    <a:pt x="332" y="8"/>
                  </a:cubicBezTo>
                  <a:cubicBezTo>
                    <a:pt x="249" y="27"/>
                    <a:pt x="175" y="73"/>
                    <a:pt x="111" y="137"/>
                  </a:cubicBezTo>
                  <a:cubicBezTo>
                    <a:pt x="37" y="220"/>
                    <a:pt x="1" y="321"/>
                    <a:pt x="10" y="432"/>
                  </a:cubicBezTo>
                  <a:cubicBezTo>
                    <a:pt x="19" y="656"/>
                    <a:pt x="202" y="819"/>
                    <a:pt x="356" y="819"/>
                  </a:cubicBezTo>
                  <a:cubicBezTo>
                    <a:pt x="360" y="819"/>
                    <a:pt x="365" y="819"/>
                    <a:pt x="369" y="818"/>
                  </a:cubicBezTo>
                  <a:cubicBezTo>
                    <a:pt x="433" y="818"/>
                    <a:pt x="488" y="791"/>
                    <a:pt x="525" y="736"/>
                  </a:cubicBezTo>
                  <a:cubicBezTo>
                    <a:pt x="544" y="708"/>
                    <a:pt x="544" y="680"/>
                    <a:pt x="544" y="680"/>
                  </a:cubicBezTo>
                  <a:cubicBezTo>
                    <a:pt x="543" y="680"/>
                    <a:pt x="543" y="680"/>
                    <a:pt x="542" y="680"/>
                  </a:cubicBezTo>
                  <a:cubicBezTo>
                    <a:pt x="530" y="680"/>
                    <a:pt x="487" y="745"/>
                    <a:pt x="387" y="745"/>
                  </a:cubicBezTo>
                  <a:cubicBezTo>
                    <a:pt x="381" y="745"/>
                    <a:pt x="375" y="745"/>
                    <a:pt x="369" y="745"/>
                  </a:cubicBezTo>
                  <a:cubicBezTo>
                    <a:pt x="222" y="717"/>
                    <a:pt x="111" y="579"/>
                    <a:pt x="111" y="423"/>
                  </a:cubicBezTo>
                  <a:cubicBezTo>
                    <a:pt x="102" y="266"/>
                    <a:pt x="203" y="128"/>
                    <a:pt x="350" y="82"/>
                  </a:cubicBezTo>
                  <a:cubicBezTo>
                    <a:pt x="470" y="36"/>
                    <a:pt x="544" y="54"/>
                    <a:pt x="553" y="45"/>
                  </a:cubicBezTo>
                  <a:cubicBezTo>
                    <a:pt x="560" y="38"/>
                    <a:pt x="508" y="1"/>
                    <a:pt x="411" y="1"/>
                  </a:cubicBezTo>
                  <a:close/>
                </a:path>
              </a:pathLst>
            </a:custGeom>
            <a:solidFill>
              <a:srgbClr val="EB996E"/>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73" name="Google Shape;3843;p45"/>
            <p:cNvSpPr/>
            <p:nvPr/>
          </p:nvSpPr>
          <p:spPr>
            <a:xfrm>
              <a:off x="3349575" y="4104575"/>
              <a:ext cx="90450" cy="112300"/>
            </a:xfrm>
            <a:custGeom>
              <a:avLst/>
              <a:gdLst/>
              <a:ahLst/>
              <a:cxnLst/>
              <a:rect l="l" t="t" r="r" b="b"/>
              <a:pathLst>
                <a:path w="3618" h="4492" extrusionOk="0">
                  <a:moveTo>
                    <a:pt x="1473" y="1"/>
                  </a:moveTo>
                  <a:cubicBezTo>
                    <a:pt x="1043" y="1"/>
                    <a:pt x="631" y="192"/>
                    <a:pt x="350" y="534"/>
                  </a:cubicBezTo>
                  <a:cubicBezTo>
                    <a:pt x="28" y="957"/>
                    <a:pt x="0" y="1537"/>
                    <a:pt x="285" y="1988"/>
                  </a:cubicBezTo>
                  <a:cubicBezTo>
                    <a:pt x="617" y="2476"/>
                    <a:pt x="1261" y="2633"/>
                    <a:pt x="1851" y="2716"/>
                  </a:cubicBezTo>
                  <a:cubicBezTo>
                    <a:pt x="1418" y="3213"/>
                    <a:pt x="792" y="3507"/>
                    <a:pt x="129" y="3535"/>
                  </a:cubicBezTo>
                  <a:cubicBezTo>
                    <a:pt x="393" y="3708"/>
                    <a:pt x="696" y="3796"/>
                    <a:pt x="1000" y="3796"/>
                  </a:cubicBezTo>
                  <a:cubicBezTo>
                    <a:pt x="1247" y="3796"/>
                    <a:pt x="1495" y="3738"/>
                    <a:pt x="1722" y="3618"/>
                  </a:cubicBezTo>
                  <a:lnTo>
                    <a:pt x="1722" y="3618"/>
                  </a:lnTo>
                  <a:lnTo>
                    <a:pt x="764" y="4428"/>
                  </a:lnTo>
                  <a:cubicBezTo>
                    <a:pt x="936" y="4471"/>
                    <a:pt x="1109" y="4492"/>
                    <a:pt x="1280" y="4492"/>
                  </a:cubicBezTo>
                  <a:cubicBezTo>
                    <a:pt x="2097" y="4492"/>
                    <a:pt x="2864" y="4019"/>
                    <a:pt x="3222" y="3250"/>
                  </a:cubicBezTo>
                  <a:cubicBezTo>
                    <a:pt x="3618" y="2399"/>
                    <a:pt x="3405" y="1403"/>
                    <a:pt x="2733" y="781"/>
                  </a:cubicBezTo>
                  <a:lnTo>
                    <a:pt x="2733" y="781"/>
                  </a:lnTo>
                  <a:lnTo>
                    <a:pt x="2937" y="948"/>
                  </a:lnTo>
                  <a:cubicBezTo>
                    <a:pt x="2707" y="469"/>
                    <a:pt x="2265" y="138"/>
                    <a:pt x="1749" y="27"/>
                  </a:cubicBezTo>
                  <a:cubicBezTo>
                    <a:pt x="1657" y="10"/>
                    <a:pt x="1565" y="1"/>
                    <a:pt x="1473"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74" name="Google Shape;3844;p45"/>
            <p:cNvSpPr/>
            <p:nvPr/>
          </p:nvSpPr>
          <p:spPr>
            <a:xfrm>
              <a:off x="3400900" y="4112150"/>
              <a:ext cx="30400" cy="59925"/>
            </a:xfrm>
            <a:custGeom>
              <a:avLst/>
              <a:gdLst/>
              <a:ahLst/>
              <a:cxnLst/>
              <a:rect l="l" t="t" r="r" b="b"/>
              <a:pathLst>
                <a:path w="1216" h="2397" extrusionOk="0">
                  <a:moveTo>
                    <a:pt x="378" y="1"/>
                  </a:moveTo>
                  <a:cubicBezTo>
                    <a:pt x="516" y="93"/>
                    <a:pt x="635" y="194"/>
                    <a:pt x="755" y="304"/>
                  </a:cubicBezTo>
                  <a:cubicBezTo>
                    <a:pt x="1022" y="590"/>
                    <a:pt x="1142" y="977"/>
                    <a:pt x="1086" y="1363"/>
                  </a:cubicBezTo>
                  <a:cubicBezTo>
                    <a:pt x="1031" y="1750"/>
                    <a:pt x="801" y="2090"/>
                    <a:pt x="460" y="2265"/>
                  </a:cubicBezTo>
                  <a:cubicBezTo>
                    <a:pt x="331" y="2322"/>
                    <a:pt x="196" y="2350"/>
                    <a:pt x="59" y="2350"/>
                  </a:cubicBezTo>
                  <a:cubicBezTo>
                    <a:pt x="39" y="2350"/>
                    <a:pt x="20" y="2349"/>
                    <a:pt x="0" y="2348"/>
                  </a:cubicBezTo>
                  <a:lnTo>
                    <a:pt x="0" y="2348"/>
                  </a:lnTo>
                  <a:cubicBezTo>
                    <a:pt x="37" y="2376"/>
                    <a:pt x="83" y="2394"/>
                    <a:pt x="129" y="2394"/>
                  </a:cubicBezTo>
                  <a:cubicBezTo>
                    <a:pt x="149" y="2396"/>
                    <a:pt x="169" y="2397"/>
                    <a:pt x="189" y="2397"/>
                  </a:cubicBezTo>
                  <a:cubicBezTo>
                    <a:pt x="291" y="2397"/>
                    <a:pt x="396" y="2377"/>
                    <a:pt x="488" y="2339"/>
                  </a:cubicBezTo>
                  <a:cubicBezTo>
                    <a:pt x="783" y="2229"/>
                    <a:pt x="1114" y="1870"/>
                    <a:pt x="1178" y="1382"/>
                  </a:cubicBezTo>
                  <a:cubicBezTo>
                    <a:pt x="1215" y="1161"/>
                    <a:pt x="1188" y="930"/>
                    <a:pt x="1105" y="719"/>
                  </a:cubicBezTo>
                  <a:cubicBezTo>
                    <a:pt x="1040" y="544"/>
                    <a:pt x="939" y="387"/>
                    <a:pt x="801" y="258"/>
                  </a:cubicBezTo>
                  <a:cubicBezTo>
                    <a:pt x="718" y="176"/>
                    <a:pt x="617" y="102"/>
                    <a:pt x="506" y="47"/>
                  </a:cubicBezTo>
                  <a:cubicBezTo>
                    <a:pt x="470" y="19"/>
                    <a:pt x="424" y="1"/>
                    <a:pt x="378" y="1"/>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75" name="Google Shape;3845;p45"/>
            <p:cNvSpPr/>
            <p:nvPr/>
          </p:nvSpPr>
          <p:spPr>
            <a:xfrm>
              <a:off x="3350250" y="4124275"/>
              <a:ext cx="74825" cy="22675"/>
            </a:xfrm>
            <a:custGeom>
              <a:avLst/>
              <a:gdLst/>
              <a:ahLst/>
              <a:cxnLst/>
              <a:rect l="l" t="t" r="r" b="b"/>
              <a:pathLst>
                <a:path w="2993" h="907" extrusionOk="0">
                  <a:moveTo>
                    <a:pt x="1041" y="1"/>
                  </a:moveTo>
                  <a:cubicBezTo>
                    <a:pt x="783" y="1"/>
                    <a:pt x="552" y="45"/>
                    <a:pt x="378" y="123"/>
                  </a:cubicBezTo>
                  <a:cubicBezTo>
                    <a:pt x="84" y="261"/>
                    <a:pt x="1" y="455"/>
                    <a:pt x="10" y="455"/>
                  </a:cubicBezTo>
                  <a:cubicBezTo>
                    <a:pt x="120" y="344"/>
                    <a:pt x="258" y="252"/>
                    <a:pt x="406" y="188"/>
                  </a:cubicBezTo>
                  <a:cubicBezTo>
                    <a:pt x="557" y="125"/>
                    <a:pt x="759" y="92"/>
                    <a:pt x="988" y="92"/>
                  </a:cubicBezTo>
                  <a:cubicBezTo>
                    <a:pt x="1163" y="92"/>
                    <a:pt x="1352" y="111"/>
                    <a:pt x="1547" y="151"/>
                  </a:cubicBezTo>
                  <a:cubicBezTo>
                    <a:pt x="1925" y="234"/>
                    <a:pt x="2284" y="390"/>
                    <a:pt x="2606" y="611"/>
                  </a:cubicBezTo>
                  <a:cubicBezTo>
                    <a:pt x="2847" y="772"/>
                    <a:pt x="2975" y="906"/>
                    <a:pt x="2991" y="906"/>
                  </a:cubicBezTo>
                  <a:cubicBezTo>
                    <a:pt x="2992" y="906"/>
                    <a:pt x="2992" y="906"/>
                    <a:pt x="2993" y="906"/>
                  </a:cubicBezTo>
                  <a:cubicBezTo>
                    <a:pt x="2993" y="906"/>
                    <a:pt x="2965" y="869"/>
                    <a:pt x="2910" y="805"/>
                  </a:cubicBezTo>
                  <a:cubicBezTo>
                    <a:pt x="2827" y="712"/>
                    <a:pt x="2744" y="630"/>
                    <a:pt x="2643" y="556"/>
                  </a:cubicBezTo>
                  <a:cubicBezTo>
                    <a:pt x="2330" y="307"/>
                    <a:pt x="1952" y="142"/>
                    <a:pt x="1566" y="59"/>
                  </a:cubicBezTo>
                  <a:cubicBezTo>
                    <a:pt x="1385" y="19"/>
                    <a:pt x="1207" y="1"/>
                    <a:pt x="1041" y="1"/>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76" name="Google Shape;3846;p45"/>
            <p:cNvSpPr/>
            <p:nvPr/>
          </p:nvSpPr>
          <p:spPr>
            <a:xfrm>
              <a:off x="3361075" y="4136300"/>
              <a:ext cx="49275" cy="25300"/>
            </a:xfrm>
            <a:custGeom>
              <a:avLst/>
              <a:gdLst/>
              <a:ahLst/>
              <a:cxnLst/>
              <a:rect l="l" t="t" r="r" b="b"/>
              <a:pathLst>
                <a:path w="1971" h="1012" extrusionOk="0">
                  <a:moveTo>
                    <a:pt x="1968" y="1"/>
                  </a:moveTo>
                  <a:cubicBezTo>
                    <a:pt x="1948" y="1"/>
                    <a:pt x="1892" y="117"/>
                    <a:pt x="1759" y="268"/>
                  </a:cubicBezTo>
                  <a:cubicBezTo>
                    <a:pt x="1584" y="480"/>
                    <a:pt x="1372" y="655"/>
                    <a:pt x="1124" y="765"/>
                  </a:cubicBezTo>
                  <a:cubicBezTo>
                    <a:pt x="884" y="876"/>
                    <a:pt x="608" y="931"/>
                    <a:pt x="341" y="931"/>
                  </a:cubicBezTo>
                  <a:cubicBezTo>
                    <a:pt x="172" y="931"/>
                    <a:pt x="55" y="908"/>
                    <a:pt x="15" y="908"/>
                  </a:cubicBezTo>
                  <a:cubicBezTo>
                    <a:pt x="6" y="908"/>
                    <a:pt x="0" y="909"/>
                    <a:pt x="0" y="913"/>
                  </a:cubicBezTo>
                  <a:cubicBezTo>
                    <a:pt x="102" y="968"/>
                    <a:pt x="221" y="1005"/>
                    <a:pt x="341" y="1005"/>
                  </a:cubicBezTo>
                  <a:cubicBezTo>
                    <a:pt x="391" y="1010"/>
                    <a:pt x="442" y="1012"/>
                    <a:pt x="492" y="1012"/>
                  </a:cubicBezTo>
                  <a:cubicBezTo>
                    <a:pt x="1017" y="1012"/>
                    <a:pt x="1511" y="751"/>
                    <a:pt x="1814" y="314"/>
                  </a:cubicBezTo>
                  <a:cubicBezTo>
                    <a:pt x="1897" y="222"/>
                    <a:pt x="1943" y="112"/>
                    <a:pt x="1971" y="1"/>
                  </a:cubicBezTo>
                  <a:cubicBezTo>
                    <a:pt x="1970" y="1"/>
                    <a:pt x="1969" y="1"/>
                    <a:pt x="1968" y="1"/>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77" name="Google Shape;3847;p45"/>
            <p:cNvSpPr/>
            <p:nvPr/>
          </p:nvSpPr>
          <p:spPr>
            <a:xfrm>
              <a:off x="3413775" y="4142300"/>
              <a:ext cx="27175" cy="63775"/>
            </a:xfrm>
            <a:custGeom>
              <a:avLst/>
              <a:gdLst/>
              <a:ahLst/>
              <a:cxnLst/>
              <a:rect l="l" t="t" r="r" b="b"/>
              <a:pathLst>
                <a:path w="1087" h="2551" extrusionOk="0">
                  <a:moveTo>
                    <a:pt x="673" y="1"/>
                  </a:moveTo>
                  <a:cubicBezTo>
                    <a:pt x="654" y="10"/>
                    <a:pt x="737" y="157"/>
                    <a:pt x="802" y="406"/>
                  </a:cubicBezTo>
                  <a:cubicBezTo>
                    <a:pt x="976" y="1069"/>
                    <a:pt x="792" y="1768"/>
                    <a:pt x="314" y="2265"/>
                  </a:cubicBezTo>
                  <a:cubicBezTo>
                    <a:pt x="139" y="2449"/>
                    <a:pt x="1" y="2532"/>
                    <a:pt x="10" y="2551"/>
                  </a:cubicBezTo>
                  <a:cubicBezTo>
                    <a:pt x="139" y="2496"/>
                    <a:pt x="268" y="2422"/>
                    <a:pt x="369" y="2311"/>
                  </a:cubicBezTo>
                  <a:cubicBezTo>
                    <a:pt x="894" y="1823"/>
                    <a:pt x="1087" y="1069"/>
                    <a:pt x="866" y="387"/>
                  </a:cubicBezTo>
                  <a:cubicBezTo>
                    <a:pt x="829" y="249"/>
                    <a:pt x="765" y="111"/>
                    <a:pt x="673" y="1"/>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78" name="Google Shape;3848;p45"/>
            <p:cNvSpPr/>
            <p:nvPr/>
          </p:nvSpPr>
          <p:spPr>
            <a:xfrm>
              <a:off x="3429650" y="4060600"/>
              <a:ext cx="57800" cy="67000"/>
            </a:xfrm>
            <a:custGeom>
              <a:avLst/>
              <a:gdLst/>
              <a:ahLst/>
              <a:cxnLst/>
              <a:rect l="l" t="t" r="r" b="b"/>
              <a:pathLst>
                <a:path w="2312" h="2680" extrusionOk="0">
                  <a:moveTo>
                    <a:pt x="1628" y="1"/>
                  </a:moveTo>
                  <a:cubicBezTo>
                    <a:pt x="1449" y="1"/>
                    <a:pt x="1273" y="39"/>
                    <a:pt x="1115" y="111"/>
                  </a:cubicBezTo>
                  <a:cubicBezTo>
                    <a:pt x="857" y="231"/>
                    <a:pt x="636" y="424"/>
                    <a:pt x="480" y="663"/>
                  </a:cubicBezTo>
                  <a:cubicBezTo>
                    <a:pt x="148" y="1160"/>
                    <a:pt x="84" y="1704"/>
                    <a:pt x="47" y="2072"/>
                  </a:cubicBezTo>
                  <a:cubicBezTo>
                    <a:pt x="10" y="2274"/>
                    <a:pt x="1" y="2477"/>
                    <a:pt x="1" y="2679"/>
                  </a:cubicBezTo>
                  <a:cubicBezTo>
                    <a:pt x="56" y="2477"/>
                    <a:pt x="93" y="2284"/>
                    <a:pt x="121" y="2081"/>
                  </a:cubicBezTo>
                  <a:cubicBezTo>
                    <a:pt x="176" y="1713"/>
                    <a:pt x="259" y="1188"/>
                    <a:pt x="572" y="719"/>
                  </a:cubicBezTo>
                  <a:cubicBezTo>
                    <a:pt x="710" y="498"/>
                    <a:pt x="912" y="313"/>
                    <a:pt x="1142" y="194"/>
                  </a:cubicBezTo>
                  <a:cubicBezTo>
                    <a:pt x="1304" y="117"/>
                    <a:pt x="1477" y="79"/>
                    <a:pt x="1659" y="79"/>
                  </a:cubicBezTo>
                  <a:cubicBezTo>
                    <a:pt x="1695" y="79"/>
                    <a:pt x="1732" y="80"/>
                    <a:pt x="1768" y="83"/>
                  </a:cubicBezTo>
                  <a:cubicBezTo>
                    <a:pt x="1962" y="102"/>
                    <a:pt x="2146" y="175"/>
                    <a:pt x="2312" y="295"/>
                  </a:cubicBezTo>
                  <a:cubicBezTo>
                    <a:pt x="2284" y="249"/>
                    <a:pt x="2247" y="203"/>
                    <a:pt x="2201" y="175"/>
                  </a:cubicBezTo>
                  <a:cubicBezTo>
                    <a:pt x="2072" y="83"/>
                    <a:pt x="1934" y="28"/>
                    <a:pt x="1778" y="10"/>
                  </a:cubicBezTo>
                  <a:cubicBezTo>
                    <a:pt x="1728" y="4"/>
                    <a:pt x="1677" y="1"/>
                    <a:pt x="1628" y="1"/>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79" name="Google Shape;3849;p45"/>
            <p:cNvSpPr/>
            <p:nvPr/>
          </p:nvSpPr>
          <p:spPr>
            <a:xfrm>
              <a:off x="3500775" y="4053250"/>
              <a:ext cx="95550" cy="50650"/>
            </a:xfrm>
            <a:custGeom>
              <a:avLst/>
              <a:gdLst/>
              <a:ahLst/>
              <a:cxnLst/>
              <a:rect l="l" t="t" r="r" b="b"/>
              <a:pathLst>
                <a:path w="3822" h="2026" extrusionOk="0">
                  <a:moveTo>
                    <a:pt x="1035" y="0"/>
                  </a:moveTo>
                  <a:cubicBezTo>
                    <a:pt x="912" y="0"/>
                    <a:pt x="791" y="12"/>
                    <a:pt x="673" y="37"/>
                  </a:cubicBezTo>
                  <a:cubicBezTo>
                    <a:pt x="488" y="74"/>
                    <a:pt x="314" y="138"/>
                    <a:pt x="157" y="230"/>
                  </a:cubicBezTo>
                  <a:cubicBezTo>
                    <a:pt x="102" y="267"/>
                    <a:pt x="47" y="304"/>
                    <a:pt x="1" y="359"/>
                  </a:cubicBezTo>
                  <a:cubicBezTo>
                    <a:pt x="1" y="360"/>
                    <a:pt x="2" y="360"/>
                    <a:pt x="3" y="360"/>
                  </a:cubicBezTo>
                  <a:cubicBezTo>
                    <a:pt x="31" y="360"/>
                    <a:pt x="260" y="181"/>
                    <a:pt x="691" y="110"/>
                  </a:cubicBezTo>
                  <a:cubicBezTo>
                    <a:pt x="788" y="93"/>
                    <a:pt x="887" y="85"/>
                    <a:pt x="986" y="85"/>
                  </a:cubicBezTo>
                  <a:cubicBezTo>
                    <a:pt x="1149" y="85"/>
                    <a:pt x="1313" y="107"/>
                    <a:pt x="1474" y="147"/>
                  </a:cubicBezTo>
                  <a:cubicBezTo>
                    <a:pt x="1787" y="230"/>
                    <a:pt x="2063" y="396"/>
                    <a:pt x="2284" y="626"/>
                  </a:cubicBezTo>
                  <a:cubicBezTo>
                    <a:pt x="2394" y="764"/>
                    <a:pt x="2514" y="893"/>
                    <a:pt x="2643" y="1013"/>
                  </a:cubicBezTo>
                  <a:cubicBezTo>
                    <a:pt x="2707" y="1059"/>
                    <a:pt x="2790" y="1095"/>
                    <a:pt x="2882" y="1114"/>
                  </a:cubicBezTo>
                  <a:cubicBezTo>
                    <a:pt x="2956" y="1132"/>
                    <a:pt x="3039" y="1132"/>
                    <a:pt x="3121" y="1132"/>
                  </a:cubicBezTo>
                  <a:cubicBezTo>
                    <a:pt x="3155" y="1128"/>
                    <a:pt x="3188" y="1125"/>
                    <a:pt x="3222" y="1125"/>
                  </a:cubicBezTo>
                  <a:cubicBezTo>
                    <a:pt x="3325" y="1125"/>
                    <a:pt x="3427" y="1148"/>
                    <a:pt x="3517" y="1197"/>
                  </a:cubicBezTo>
                  <a:cubicBezTo>
                    <a:pt x="3619" y="1261"/>
                    <a:pt x="3692" y="1353"/>
                    <a:pt x="3720" y="1464"/>
                  </a:cubicBezTo>
                  <a:cubicBezTo>
                    <a:pt x="3757" y="1639"/>
                    <a:pt x="3692" y="1823"/>
                    <a:pt x="3554" y="1924"/>
                  </a:cubicBezTo>
                  <a:cubicBezTo>
                    <a:pt x="3508" y="1961"/>
                    <a:pt x="3444" y="1998"/>
                    <a:pt x="3388" y="2025"/>
                  </a:cubicBezTo>
                  <a:cubicBezTo>
                    <a:pt x="3388" y="2025"/>
                    <a:pt x="3407" y="2025"/>
                    <a:pt x="3453" y="2016"/>
                  </a:cubicBezTo>
                  <a:cubicBezTo>
                    <a:pt x="3499" y="2007"/>
                    <a:pt x="3545" y="1979"/>
                    <a:pt x="3591" y="1952"/>
                  </a:cubicBezTo>
                  <a:cubicBezTo>
                    <a:pt x="3655" y="1906"/>
                    <a:pt x="3711" y="1841"/>
                    <a:pt x="3747" y="1777"/>
                  </a:cubicBezTo>
                  <a:cubicBezTo>
                    <a:pt x="3803" y="1675"/>
                    <a:pt x="3821" y="1556"/>
                    <a:pt x="3793" y="1454"/>
                  </a:cubicBezTo>
                  <a:cubicBezTo>
                    <a:pt x="3766" y="1316"/>
                    <a:pt x="3683" y="1197"/>
                    <a:pt x="3563" y="1123"/>
                  </a:cubicBezTo>
                  <a:cubicBezTo>
                    <a:pt x="3453" y="1064"/>
                    <a:pt x="3336" y="1035"/>
                    <a:pt x="3214" y="1035"/>
                  </a:cubicBezTo>
                  <a:cubicBezTo>
                    <a:pt x="3184" y="1035"/>
                    <a:pt x="3153" y="1037"/>
                    <a:pt x="3121" y="1040"/>
                  </a:cubicBezTo>
                  <a:cubicBezTo>
                    <a:pt x="3100" y="1043"/>
                    <a:pt x="3078" y="1044"/>
                    <a:pt x="3056" y="1044"/>
                  </a:cubicBezTo>
                  <a:cubicBezTo>
                    <a:pt x="2931" y="1044"/>
                    <a:pt x="2808" y="1000"/>
                    <a:pt x="2698" y="930"/>
                  </a:cubicBezTo>
                  <a:cubicBezTo>
                    <a:pt x="2578" y="819"/>
                    <a:pt x="2459" y="690"/>
                    <a:pt x="2357" y="561"/>
                  </a:cubicBezTo>
                  <a:cubicBezTo>
                    <a:pt x="2127" y="313"/>
                    <a:pt x="1823" y="138"/>
                    <a:pt x="1492" y="55"/>
                  </a:cubicBezTo>
                  <a:cubicBezTo>
                    <a:pt x="1343" y="19"/>
                    <a:pt x="1189" y="0"/>
                    <a:pt x="1035" y="0"/>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80" name="Google Shape;3850;p45"/>
            <p:cNvSpPr/>
            <p:nvPr/>
          </p:nvSpPr>
          <p:spPr>
            <a:xfrm>
              <a:off x="3431725" y="4088450"/>
              <a:ext cx="82875" cy="62300"/>
            </a:xfrm>
            <a:custGeom>
              <a:avLst/>
              <a:gdLst/>
              <a:ahLst/>
              <a:cxnLst/>
              <a:rect l="l" t="t" r="r" b="b"/>
              <a:pathLst>
                <a:path w="3315" h="2492" extrusionOk="0">
                  <a:moveTo>
                    <a:pt x="3214" y="0"/>
                  </a:moveTo>
                  <a:cubicBezTo>
                    <a:pt x="3269" y="221"/>
                    <a:pt x="3260" y="442"/>
                    <a:pt x="3186" y="654"/>
                  </a:cubicBezTo>
                  <a:cubicBezTo>
                    <a:pt x="3066" y="1050"/>
                    <a:pt x="2698" y="1519"/>
                    <a:pt x="2183" y="1878"/>
                  </a:cubicBezTo>
                  <a:cubicBezTo>
                    <a:pt x="1731" y="2173"/>
                    <a:pt x="1207" y="2366"/>
                    <a:pt x="673" y="2422"/>
                  </a:cubicBezTo>
                  <a:cubicBezTo>
                    <a:pt x="546" y="2433"/>
                    <a:pt x="435" y="2436"/>
                    <a:pt x="340" y="2436"/>
                  </a:cubicBezTo>
                  <a:cubicBezTo>
                    <a:pt x="181" y="2436"/>
                    <a:pt x="71" y="2426"/>
                    <a:pt x="25" y="2426"/>
                  </a:cubicBezTo>
                  <a:cubicBezTo>
                    <a:pt x="9" y="2426"/>
                    <a:pt x="1" y="2428"/>
                    <a:pt x="1" y="2431"/>
                  </a:cubicBezTo>
                  <a:cubicBezTo>
                    <a:pt x="56" y="2449"/>
                    <a:pt x="111" y="2468"/>
                    <a:pt x="176" y="2468"/>
                  </a:cubicBezTo>
                  <a:cubicBezTo>
                    <a:pt x="281" y="2485"/>
                    <a:pt x="386" y="2492"/>
                    <a:pt x="491" y="2492"/>
                  </a:cubicBezTo>
                  <a:cubicBezTo>
                    <a:pt x="551" y="2492"/>
                    <a:pt x="612" y="2489"/>
                    <a:pt x="673" y="2486"/>
                  </a:cubicBezTo>
                  <a:cubicBezTo>
                    <a:pt x="1234" y="2449"/>
                    <a:pt x="1768" y="2274"/>
                    <a:pt x="2229" y="1961"/>
                  </a:cubicBezTo>
                  <a:cubicBezTo>
                    <a:pt x="2772" y="1602"/>
                    <a:pt x="3140" y="1096"/>
                    <a:pt x="3260" y="682"/>
                  </a:cubicBezTo>
                  <a:cubicBezTo>
                    <a:pt x="3306" y="516"/>
                    <a:pt x="3315" y="341"/>
                    <a:pt x="3278" y="175"/>
                  </a:cubicBezTo>
                  <a:cubicBezTo>
                    <a:pt x="3269" y="111"/>
                    <a:pt x="3250" y="56"/>
                    <a:pt x="3214" y="0"/>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81" name="Google Shape;3851;p45"/>
            <p:cNvSpPr/>
            <p:nvPr/>
          </p:nvSpPr>
          <p:spPr>
            <a:xfrm>
              <a:off x="3355100" y="4268400"/>
              <a:ext cx="327300" cy="401925"/>
            </a:xfrm>
            <a:custGeom>
              <a:avLst/>
              <a:gdLst/>
              <a:ahLst/>
              <a:cxnLst/>
              <a:rect l="l" t="t" r="r" b="b"/>
              <a:pathLst>
                <a:path w="13092" h="16077" extrusionOk="0">
                  <a:moveTo>
                    <a:pt x="3746" y="1"/>
                  </a:moveTo>
                  <a:cubicBezTo>
                    <a:pt x="3688" y="1"/>
                    <a:pt x="3630" y="1"/>
                    <a:pt x="3572" y="2"/>
                  </a:cubicBezTo>
                  <a:cubicBezTo>
                    <a:pt x="3572" y="2"/>
                    <a:pt x="1077" y="296"/>
                    <a:pt x="801" y="977"/>
                  </a:cubicBezTo>
                  <a:cubicBezTo>
                    <a:pt x="543" y="1631"/>
                    <a:pt x="1537" y="9005"/>
                    <a:pt x="1326" y="9033"/>
                  </a:cubicBezTo>
                  <a:lnTo>
                    <a:pt x="0" y="13102"/>
                  </a:lnTo>
                  <a:cubicBezTo>
                    <a:pt x="0" y="13102"/>
                    <a:pt x="101" y="15928"/>
                    <a:pt x="3342" y="16066"/>
                  </a:cubicBezTo>
                  <a:cubicBezTo>
                    <a:pt x="3489" y="16073"/>
                    <a:pt x="3633" y="16076"/>
                    <a:pt x="3776" y="16076"/>
                  </a:cubicBezTo>
                  <a:cubicBezTo>
                    <a:pt x="7028" y="16076"/>
                    <a:pt x="9138" y="14418"/>
                    <a:pt x="9464" y="13562"/>
                  </a:cubicBezTo>
                  <a:cubicBezTo>
                    <a:pt x="9464" y="13562"/>
                    <a:pt x="8221" y="10515"/>
                    <a:pt x="8221" y="10368"/>
                  </a:cubicBezTo>
                  <a:cubicBezTo>
                    <a:pt x="8221" y="10230"/>
                    <a:pt x="7991" y="7790"/>
                    <a:pt x="7991" y="7790"/>
                  </a:cubicBezTo>
                  <a:lnTo>
                    <a:pt x="8120" y="6888"/>
                  </a:lnTo>
                  <a:cubicBezTo>
                    <a:pt x="9031" y="8747"/>
                    <a:pt x="10136" y="10745"/>
                    <a:pt x="10670" y="10745"/>
                  </a:cubicBezTo>
                  <a:cubicBezTo>
                    <a:pt x="11646" y="10745"/>
                    <a:pt x="13008" y="10469"/>
                    <a:pt x="13054" y="9364"/>
                  </a:cubicBezTo>
                  <a:cubicBezTo>
                    <a:pt x="13091" y="8563"/>
                    <a:pt x="10974" y="4292"/>
                    <a:pt x="9814" y="2009"/>
                  </a:cubicBezTo>
                  <a:cubicBezTo>
                    <a:pt x="9335" y="1060"/>
                    <a:pt x="8424" y="416"/>
                    <a:pt x="7374" y="269"/>
                  </a:cubicBezTo>
                  <a:cubicBezTo>
                    <a:pt x="6170" y="93"/>
                    <a:pt x="4958" y="1"/>
                    <a:pt x="3746" y="1"/>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82" name="Google Shape;3852;p45"/>
            <p:cNvSpPr/>
            <p:nvPr/>
          </p:nvSpPr>
          <p:spPr>
            <a:xfrm>
              <a:off x="3287200" y="4292825"/>
              <a:ext cx="122000" cy="224150"/>
            </a:xfrm>
            <a:custGeom>
              <a:avLst/>
              <a:gdLst/>
              <a:ahLst/>
              <a:cxnLst/>
              <a:rect l="l" t="t" r="r" b="b"/>
              <a:pathLst>
                <a:path w="4880" h="8966" extrusionOk="0">
                  <a:moveTo>
                    <a:pt x="3517" y="0"/>
                  </a:moveTo>
                  <a:cubicBezTo>
                    <a:pt x="3093" y="194"/>
                    <a:pt x="0" y="7329"/>
                    <a:pt x="562" y="7982"/>
                  </a:cubicBezTo>
                  <a:cubicBezTo>
                    <a:pt x="922" y="8400"/>
                    <a:pt x="1333" y="8965"/>
                    <a:pt x="2021" y="8965"/>
                  </a:cubicBezTo>
                  <a:cubicBezTo>
                    <a:pt x="2211" y="8965"/>
                    <a:pt x="2423" y="8922"/>
                    <a:pt x="2661" y="8820"/>
                  </a:cubicBezTo>
                  <a:cubicBezTo>
                    <a:pt x="3140" y="8608"/>
                    <a:pt x="3535" y="8249"/>
                    <a:pt x="3793" y="7798"/>
                  </a:cubicBezTo>
                  <a:lnTo>
                    <a:pt x="4879" y="5920"/>
                  </a:lnTo>
                  <a:lnTo>
                    <a:pt x="3517" y="0"/>
                  </a:ln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83" name="Google Shape;3853;p45"/>
            <p:cNvSpPr/>
            <p:nvPr/>
          </p:nvSpPr>
          <p:spPr>
            <a:xfrm>
              <a:off x="3631725" y="4397500"/>
              <a:ext cx="49750" cy="109400"/>
            </a:xfrm>
            <a:custGeom>
              <a:avLst/>
              <a:gdLst/>
              <a:ahLst/>
              <a:cxnLst/>
              <a:rect l="l" t="t" r="r" b="b"/>
              <a:pathLst>
                <a:path w="1990" h="4376" extrusionOk="0">
                  <a:moveTo>
                    <a:pt x="101" y="0"/>
                  </a:moveTo>
                  <a:cubicBezTo>
                    <a:pt x="68" y="0"/>
                    <a:pt x="34" y="1"/>
                    <a:pt x="1" y="2"/>
                  </a:cubicBezTo>
                  <a:lnTo>
                    <a:pt x="1989" y="4375"/>
                  </a:lnTo>
                  <a:cubicBezTo>
                    <a:pt x="1989" y="4200"/>
                    <a:pt x="1805" y="647"/>
                    <a:pt x="1244" y="297"/>
                  </a:cubicBezTo>
                  <a:cubicBezTo>
                    <a:pt x="895" y="101"/>
                    <a:pt x="500" y="0"/>
                    <a:pt x="101"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84" name="Google Shape;3854;p45"/>
            <p:cNvSpPr/>
            <p:nvPr/>
          </p:nvSpPr>
          <p:spPr>
            <a:xfrm>
              <a:off x="3635175" y="4388575"/>
              <a:ext cx="34100" cy="75500"/>
            </a:xfrm>
            <a:custGeom>
              <a:avLst/>
              <a:gdLst/>
              <a:ahLst/>
              <a:cxnLst/>
              <a:rect l="l" t="t" r="r" b="b"/>
              <a:pathLst>
                <a:path w="1364" h="3020" extrusionOk="0">
                  <a:moveTo>
                    <a:pt x="1" y="0"/>
                  </a:moveTo>
                  <a:cubicBezTo>
                    <a:pt x="10" y="37"/>
                    <a:pt x="19" y="83"/>
                    <a:pt x="38" y="120"/>
                  </a:cubicBezTo>
                  <a:cubicBezTo>
                    <a:pt x="65" y="203"/>
                    <a:pt x="111" y="313"/>
                    <a:pt x="176" y="451"/>
                  </a:cubicBezTo>
                  <a:cubicBezTo>
                    <a:pt x="286" y="727"/>
                    <a:pt x="461" y="1114"/>
                    <a:pt x="655" y="1519"/>
                  </a:cubicBezTo>
                  <a:cubicBezTo>
                    <a:pt x="839" y="1924"/>
                    <a:pt x="1014" y="2293"/>
                    <a:pt x="1152" y="2578"/>
                  </a:cubicBezTo>
                  <a:lnTo>
                    <a:pt x="1299" y="2900"/>
                  </a:lnTo>
                  <a:cubicBezTo>
                    <a:pt x="1317" y="2946"/>
                    <a:pt x="1336" y="2983"/>
                    <a:pt x="1363" y="3020"/>
                  </a:cubicBezTo>
                  <a:cubicBezTo>
                    <a:pt x="1354" y="2974"/>
                    <a:pt x="1336" y="2928"/>
                    <a:pt x="1317" y="2891"/>
                  </a:cubicBezTo>
                  <a:cubicBezTo>
                    <a:pt x="1290" y="2817"/>
                    <a:pt x="1244" y="2698"/>
                    <a:pt x="1189" y="2560"/>
                  </a:cubicBezTo>
                  <a:cubicBezTo>
                    <a:pt x="1069" y="2283"/>
                    <a:pt x="894" y="1906"/>
                    <a:pt x="710" y="1492"/>
                  </a:cubicBezTo>
                  <a:cubicBezTo>
                    <a:pt x="516" y="1087"/>
                    <a:pt x="342" y="718"/>
                    <a:pt x="213" y="433"/>
                  </a:cubicBezTo>
                  <a:lnTo>
                    <a:pt x="56" y="111"/>
                  </a:lnTo>
                  <a:cubicBezTo>
                    <a:pt x="47" y="74"/>
                    <a:pt x="19" y="37"/>
                    <a:pt x="1"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85" name="Google Shape;3855;p45"/>
            <p:cNvSpPr/>
            <p:nvPr/>
          </p:nvSpPr>
          <p:spPr>
            <a:xfrm>
              <a:off x="3468100" y="4091675"/>
              <a:ext cx="56175" cy="108875"/>
            </a:xfrm>
            <a:custGeom>
              <a:avLst/>
              <a:gdLst/>
              <a:ahLst/>
              <a:cxnLst/>
              <a:rect l="l" t="t" r="r" b="b"/>
              <a:pathLst>
                <a:path w="2247" h="4355" extrusionOk="0">
                  <a:moveTo>
                    <a:pt x="2090" y="0"/>
                  </a:moveTo>
                  <a:cubicBezTo>
                    <a:pt x="2072" y="0"/>
                    <a:pt x="2219" y="295"/>
                    <a:pt x="2145" y="783"/>
                  </a:cubicBezTo>
                  <a:cubicBezTo>
                    <a:pt x="2108" y="1068"/>
                    <a:pt x="1989" y="1335"/>
                    <a:pt x="1814" y="1565"/>
                  </a:cubicBezTo>
                  <a:cubicBezTo>
                    <a:pt x="1713" y="1694"/>
                    <a:pt x="1593" y="1805"/>
                    <a:pt x="1446" y="1897"/>
                  </a:cubicBezTo>
                  <a:cubicBezTo>
                    <a:pt x="1308" y="1998"/>
                    <a:pt x="1142" y="2081"/>
                    <a:pt x="976" y="2182"/>
                  </a:cubicBezTo>
                  <a:cubicBezTo>
                    <a:pt x="801" y="2265"/>
                    <a:pt x="654" y="2385"/>
                    <a:pt x="516" y="2514"/>
                  </a:cubicBezTo>
                  <a:cubicBezTo>
                    <a:pt x="0" y="3038"/>
                    <a:pt x="120" y="3904"/>
                    <a:pt x="746" y="4281"/>
                  </a:cubicBezTo>
                  <a:cubicBezTo>
                    <a:pt x="810" y="4318"/>
                    <a:pt x="884" y="4346"/>
                    <a:pt x="958" y="4355"/>
                  </a:cubicBezTo>
                  <a:cubicBezTo>
                    <a:pt x="958" y="4346"/>
                    <a:pt x="884" y="4318"/>
                    <a:pt x="774" y="4244"/>
                  </a:cubicBezTo>
                  <a:cubicBezTo>
                    <a:pt x="617" y="4134"/>
                    <a:pt x="479" y="3987"/>
                    <a:pt x="396" y="3821"/>
                  </a:cubicBezTo>
                  <a:cubicBezTo>
                    <a:pt x="267" y="3563"/>
                    <a:pt x="240" y="3268"/>
                    <a:pt x="332" y="3002"/>
                  </a:cubicBezTo>
                  <a:cubicBezTo>
                    <a:pt x="378" y="2845"/>
                    <a:pt x="470" y="2698"/>
                    <a:pt x="589" y="2587"/>
                  </a:cubicBezTo>
                  <a:cubicBezTo>
                    <a:pt x="718" y="2458"/>
                    <a:pt x="866" y="2348"/>
                    <a:pt x="1022" y="2265"/>
                  </a:cubicBezTo>
                  <a:cubicBezTo>
                    <a:pt x="1188" y="2173"/>
                    <a:pt x="1354" y="2081"/>
                    <a:pt x="1501" y="1980"/>
                  </a:cubicBezTo>
                  <a:cubicBezTo>
                    <a:pt x="1648" y="1878"/>
                    <a:pt x="1786" y="1759"/>
                    <a:pt x="1888" y="1621"/>
                  </a:cubicBezTo>
                  <a:cubicBezTo>
                    <a:pt x="2072" y="1381"/>
                    <a:pt x="2182" y="1096"/>
                    <a:pt x="2219" y="792"/>
                  </a:cubicBezTo>
                  <a:cubicBezTo>
                    <a:pt x="2247" y="599"/>
                    <a:pt x="2228" y="396"/>
                    <a:pt x="2173" y="203"/>
                  </a:cubicBezTo>
                  <a:cubicBezTo>
                    <a:pt x="2164" y="148"/>
                    <a:pt x="2145" y="92"/>
                    <a:pt x="2118" y="46"/>
                  </a:cubicBezTo>
                  <a:cubicBezTo>
                    <a:pt x="2108" y="10"/>
                    <a:pt x="2090" y="0"/>
                    <a:pt x="2090" y="0"/>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86" name="Google Shape;3856;p45"/>
            <p:cNvSpPr/>
            <p:nvPr/>
          </p:nvSpPr>
          <p:spPr>
            <a:xfrm>
              <a:off x="3520800" y="4366025"/>
              <a:ext cx="39600" cy="160575"/>
            </a:xfrm>
            <a:custGeom>
              <a:avLst/>
              <a:gdLst/>
              <a:ahLst/>
              <a:cxnLst/>
              <a:rect l="l" t="t" r="r" b="b"/>
              <a:pathLst>
                <a:path w="1584" h="6423" extrusionOk="0">
                  <a:moveTo>
                    <a:pt x="166" y="0"/>
                  </a:moveTo>
                  <a:lnTo>
                    <a:pt x="166" y="0"/>
                  </a:lnTo>
                  <a:cubicBezTo>
                    <a:pt x="74" y="1924"/>
                    <a:pt x="0" y="3922"/>
                    <a:pt x="765" y="5689"/>
                  </a:cubicBezTo>
                  <a:cubicBezTo>
                    <a:pt x="893" y="5984"/>
                    <a:pt x="1068" y="6288"/>
                    <a:pt x="1363" y="6407"/>
                  </a:cubicBezTo>
                  <a:cubicBezTo>
                    <a:pt x="1384" y="6416"/>
                    <a:pt x="1410" y="6423"/>
                    <a:pt x="1434" y="6423"/>
                  </a:cubicBezTo>
                  <a:cubicBezTo>
                    <a:pt x="1463" y="6423"/>
                    <a:pt x="1491" y="6414"/>
                    <a:pt x="1510" y="6389"/>
                  </a:cubicBezTo>
                  <a:cubicBezTo>
                    <a:pt x="1547" y="6352"/>
                    <a:pt x="1584" y="6343"/>
                    <a:pt x="1575" y="6306"/>
                  </a:cubicBezTo>
                  <a:cubicBezTo>
                    <a:pt x="1566" y="6002"/>
                    <a:pt x="1501" y="5671"/>
                    <a:pt x="1483" y="5367"/>
                  </a:cubicBezTo>
                  <a:cubicBezTo>
                    <a:pt x="1465" y="4853"/>
                    <a:pt x="1358" y="3922"/>
                    <a:pt x="1354" y="3886"/>
                  </a:cubicBezTo>
                  <a:lnTo>
                    <a:pt x="1354" y="3886"/>
                  </a:lnTo>
                  <a:cubicBezTo>
                    <a:pt x="1354" y="3886"/>
                    <a:pt x="1354" y="3886"/>
                    <a:pt x="1354" y="3886"/>
                  </a:cubicBezTo>
                  <a:cubicBezTo>
                    <a:pt x="1359" y="3886"/>
                    <a:pt x="1483" y="3020"/>
                    <a:pt x="1483" y="3020"/>
                  </a:cubicBezTo>
                  <a:cubicBezTo>
                    <a:pt x="1216" y="2127"/>
                    <a:pt x="166" y="110"/>
                    <a:pt x="166" y="110"/>
                  </a:cubicBezTo>
                  <a:lnTo>
                    <a:pt x="166" y="0"/>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87" name="Google Shape;3857;p45"/>
            <p:cNvSpPr/>
            <p:nvPr/>
          </p:nvSpPr>
          <p:spPr>
            <a:xfrm>
              <a:off x="3289275" y="4562075"/>
              <a:ext cx="64000" cy="33900"/>
            </a:xfrm>
            <a:custGeom>
              <a:avLst/>
              <a:gdLst/>
              <a:ahLst/>
              <a:cxnLst/>
              <a:rect l="l" t="t" r="r" b="b"/>
              <a:pathLst>
                <a:path w="2560" h="1356" extrusionOk="0">
                  <a:moveTo>
                    <a:pt x="2" y="1"/>
                  </a:moveTo>
                  <a:cubicBezTo>
                    <a:pt x="1" y="1"/>
                    <a:pt x="0" y="1"/>
                    <a:pt x="0" y="2"/>
                  </a:cubicBezTo>
                  <a:cubicBezTo>
                    <a:pt x="0" y="20"/>
                    <a:pt x="562" y="333"/>
                    <a:pt x="1261" y="701"/>
                  </a:cubicBezTo>
                  <a:cubicBezTo>
                    <a:pt x="1950" y="1073"/>
                    <a:pt x="2523" y="1355"/>
                    <a:pt x="2549" y="1355"/>
                  </a:cubicBezTo>
                  <a:cubicBezTo>
                    <a:pt x="2550" y="1355"/>
                    <a:pt x="2550" y="1355"/>
                    <a:pt x="2550" y="1355"/>
                  </a:cubicBezTo>
                  <a:cubicBezTo>
                    <a:pt x="2559" y="1346"/>
                    <a:pt x="1989" y="1023"/>
                    <a:pt x="1289" y="655"/>
                  </a:cubicBezTo>
                  <a:cubicBezTo>
                    <a:pt x="610" y="289"/>
                    <a:pt x="44" y="1"/>
                    <a:pt x="2" y="1"/>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88" name="Google Shape;3858;p45"/>
            <p:cNvSpPr/>
            <p:nvPr/>
          </p:nvSpPr>
          <p:spPr>
            <a:xfrm>
              <a:off x="3311125" y="4566250"/>
              <a:ext cx="13600" cy="13150"/>
            </a:xfrm>
            <a:custGeom>
              <a:avLst/>
              <a:gdLst/>
              <a:ahLst/>
              <a:cxnLst/>
              <a:rect l="l" t="t" r="r" b="b"/>
              <a:pathLst>
                <a:path w="544" h="526" extrusionOk="0">
                  <a:moveTo>
                    <a:pt x="1" y="0"/>
                  </a:moveTo>
                  <a:lnTo>
                    <a:pt x="1" y="0"/>
                  </a:lnTo>
                  <a:cubicBezTo>
                    <a:pt x="65" y="111"/>
                    <a:pt x="148" y="203"/>
                    <a:pt x="249" y="286"/>
                  </a:cubicBezTo>
                  <a:cubicBezTo>
                    <a:pt x="341" y="378"/>
                    <a:pt x="433" y="461"/>
                    <a:pt x="544" y="525"/>
                  </a:cubicBezTo>
                  <a:cubicBezTo>
                    <a:pt x="479" y="424"/>
                    <a:pt x="387" y="323"/>
                    <a:pt x="295" y="240"/>
                  </a:cubicBezTo>
                  <a:cubicBezTo>
                    <a:pt x="203" y="148"/>
                    <a:pt x="111" y="65"/>
                    <a:pt x="1" y="0"/>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89" name="Google Shape;3859;p45"/>
            <p:cNvSpPr/>
            <p:nvPr/>
          </p:nvSpPr>
          <p:spPr>
            <a:xfrm>
              <a:off x="3733000" y="4543600"/>
              <a:ext cx="44675" cy="14625"/>
            </a:xfrm>
            <a:custGeom>
              <a:avLst/>
              <a:gdLst/>
              <a:ahLst/>
              <a:cxnLst/>
              <a:rect l="l" t="t" r="r" b="b"/>
              <a:pathLst>
                <a:path w="1787" h="585" extrusionOk="0">
                  <a:moveTo>
                    <a:pt x="1584" y="1"/>
                  </a:moveTo>
                  <a:cubicBezTo>
                    <a:pt x="1560" y="1"/>
                    <a:pt x="1535" y="2"/>
                    <a:pt x="1510" y="4"/>
                  </a:cubicBezTo>
                  <a:cubicBezTo>
                    <a:pt x="1050" y="4"/>
                    <a:pt x="599" y="151"/>
                    <a:pt x="212" y="400"/>
                  </a:cubicBezTo>
                  <a:cubicBezTo>
                    <a:pt x="139" y="455"/>
                    <a:pt x="65" y="510"/>
                    <a:pt x="1" y="584"/>
                  </a:cubicBezTo>
                  <a:cubicBezTo>
                    <a:pt x="525" y="216"/>
                    <a:pt x="1151" y="23"/>
                    <a:pt x="1787" y="23"/>
                  </a:cubicBezTo>
                  <a:cubicBezTo>
                    <a:pt x="1719" y="9"/>
                    <a:pt x="1652" y="1"/>
                    <a:pt x="1584" y="1"/>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90" name="Google Shape;3860;p45"/>
            <p:cNvSpPr/>
            <p:nvPr/>
          </p:nvSpPr>
          <p:spPr>
            <a:xfrm>
              <a:off x="3727250" y="4547075"/>
              <a:ext cx="7850" cy="13200"/>
            </a:xfrm>
            <a:custGeom>
              <a:avLst/>
              <a:gdLst/>
              <a:ahLst/>
              <a:cxnLst/>
              <a:rect l="l" t="t" r="r" b="b"/>
              <a:pathLst>
                <a:path w="314" h="528" extrusionOk="0">
                  <a:moveTo>
                    <a:pt x="298" y="0"/>
                  </a:moveTo>
                  <a:cubicBezTo>
                    <a:pt x="268" y="0"/>
                    <a:pt x="149" y="74"/>
                    <a:pt x="74" y="215"/>
                  </a:cubicBezTo>
                  <a:cubicBezTo>
                    <a:pt x="19" y="307"/>
                    <a:pt x="0" y="417"/>
                    <a:pt x="28" y="528"/>
                  </a:cubicBezTo>
                  <a:cubicBezTo>
                    <a:pt x="46" y="528"/>
                    <a:pt x="56" y="390"/>
                    <a:pt x="129" y="243"/>
                  </a:cubicBezTo>
                  <a:cubicBezTo>
                    <a:pt x="203" y="104"/>
                    <a:pt x="313" y="12"/>
                    <a:pt x="304" y="3"/>
                  </a:cubicBezTo>
                  <a:cubicBezTo>
                    <a:pt x="303" y="1"/>
                    <a:pt x="301" y="0"/>
                    <a:pt x="298" y="0"/>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91" name="Google Shape;3861;p45"/>
            <p:cNvSpPr/>
            <p:nvPr/>
          </p:nvSpPr>
          <p:spPr>
            <a:xfrm>
              <a:off x="3371800" y="4543225"/>
              <a:ext cx="132450" cy="52400"/>
            </a:xfrm>
            <a:custGeom>
              <a:avLst/>
              <a:gdLst/>
              <a:ahLst/>
              <a:cxnLst/>
              <a:rect l="l" t="t" r="r" b="b"/>
              <a:pathLst>
                <a:path w="5298" h="2096" extrusionOk="0">
                  <a:moveTo>
                    <a:pt x="5288" y="1"/>
                  </a:moveTo>
                  <a:lnTo>
                    <a:pt x="5288" y="1"/>
                  </a:lnTo>
                  <a:cubicBezTo>
                    <a:pt x="4754" y="479"/>
                    <a:pt x="4055" y="654"/>
                    <a:pt x="3410" y="967"/>
                  </a:cubicBezTo>
                  <a:cubicBezTo>
                    <a:pt x="2992" y="1179"/>
                    <a:pt x="2518" y="1312"/>
                    <a:pt x="2051" y="1312"/>
                  </a:cubicBezTo>
                  <a:cubicBezTo>
                    <a:pt x="1809" y="1312"/>
                    <a:pt x="1569" y="1276"/>
                    <a:pt x="1339" y="1198"/>
                  </a:cubicBezTo>
                  <a:cubicBezTo>
                    <a:pt x="1127" y="1105"/>
                    <a:pt x="915" y="1032"/>
                    <a:pt x="695" y="977"/>
                  </a:cubicBezTo>
                  <a:cubicBezTo>
                    <a:pt x="656" y="970"/>
                    <a:pt x="616" y="967"/>
                    <a:pt x="575" y="967"/>
                  </a:cubicBezTo>
                  <a:cubicBezTo>
                    <a:pt x="387" y="967"/>
                    <a:pt x="196" y="1040"/>
                    <a:pt x="105" y="1207"/>
                  </a:cubicBezTo>
                  <a:cubicBezTo>
                    <a:pt x="1" y="1389"/>
                    <a:pt x="127" y="1679"/>
                    <a:pt x="335" y="1679"/>
                  </a:cubicBezTo>
                  <a:cubicBezTo>
                    <a:pt x="347" y="1679"/>
                    <a:pt x="360" y="1678"/>
                    <a:pt x="372" y="1676"/>
                  </a:cubicBezTo>
                  <a:lnTo>
                    <a:pt x="510" y="1741"/>
                  </a:lnTo>
                  <a:cubicBezTo>
                    <a:pt x="1073" y="1979"/>
                    <a:pt x="1620" y="2096"/>
                    <a:pt x="2146" y="2096"/>
                  </a:cubicBezTo>
                  <a:cubicBezTo>
                    <a:pt x="2877" y="2096"/>
                    <a:pt x="3566" y="1871"/>
                    <a:pt x="4193" y="1437"/>
                  </a:cubicBezTo>
                  <a:cubicBezTo>
                    <a:pt x="4607" y="1142"/>
                    <a:pt x="5298" y="56"/>
                    <a:pt x="5288" y="1"/>
                  </a:cubicBez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92" name="Google Shape;3862;p45"/>
            <p:cNvSpPr/>
            <p:nvPr/>
          </p:nvSpPr>
          <p:spPr>
            <a:xfrm>
              <a:off x="3460725" y="4490300"/>
              <a:ext cx="53650" cy="98975"/>
            </a:xfrm>
            <a:custGeom>
              <a:avLst/>
              <a:gdLst/>
              <a:ahLst/>
              <a:cxnLst/>
              <a:rect l="l" t="t" r="r" b="b"/>
              <a:pathLst>
                <a:path w="2146" h="3959" extrusionOk="0">
                  <a:moveTo>
                    <a:pt x="2090" y="0"/>
                  </a:moveTo>
                  <a:cubicBezTo>
                    <a:pt x="2090" y="65"/>
                    <a:pt x="2090" y="120"/>
                    <a:pt x="2090" y="184"/>
                  </a:cubicBezTo>
                  <a:cubicBezTo>
                    <a:pt x="2100" y="350"/>
                    <a:pt x="2100" y="525"/>
                    <a:pt x="2090" y="691"/>
                  </a:cubicBezTo>
                  <a:cubicBezTo>
                    <a:pt x="2026" y="1823"/>
                    <a:pt x="1474" y="2873"/>
                    <a:pt x="571" y="3572"/>
                  </a:cubicBezTo>
                  <a:cubicBezTo>
                    <a:pt x="443" y="3674"/>
                    <a:pt x="304" y="3775"/>
                    <a:pt x="157" y="3858"/>
                  </a:cubicBezTo>
                  <a:cubicBezTo>
                    <a:pt x="102" y="3885"/>
                    <a:pt x="47" y="3922"/>
                    <a:pt x="1" y="3959"/>
                  </a:cubicBezTo>
                  <a:cubicBezTo>
                    <a:pt x="10" y="3959"/>
                    <a:pt x="28" y="3950"/>
                    <a:pt x="37" y="3941"/>
                  </a:cubicBezTo>
                  <a:cubicBezTo>
                    <a:pt x="74" y="3931"/>
                    <a:pt x="111" y="3913"/>
                    <a:pt x="166" y="3876"/>
                  </a:cubicBezTo>
                  <a:cubicBezTo>
                    <a:pt x="314" y="3802"/>
                    <a:pt x="461" y="3710"/>
                    <a:pt x="599" y="3600"/>
                  </a:cubicBezTo>
                  <a:cubicBezTo>
                    <a:pt x="1529" y="2919"/>
                    <a:pt x="2090" y="1851"/>
                    <a:pt x="2136" y="700"/>
                  </a:cubicBezTo>
                  <a:cubicBezTo>
                    <a:pt x="2146" y="525"/>
                    <a:pt x="2136" y="350"/>
                    <a:pt x="2118" y="184"/>
                  </a:cubicBezTo>
                  <a:cubicBezTo>
                    <a:pt x="2118" y="120"/>
                    <a:pt x="2109" y="74"/>
                    <a:pt x="2100" y="46"/>
                  </a:cubicBezTo>
                  <a:cubicBezTo>
                    <a:pt x="2090" y="10"/>
                    <a:pt x="2090" y="0"/>
                    <a:pt x="2090"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93" name="Google Shape;3863;p45"/>
            <p:cNvSpPr/>
            <p:nvPr/>
          </p:nvSpPr>
          <p:spPr>
            <a:xfrm>
              <a:off x="3354175" y="4333150"/>
              <a:ext cx="251350" cy="2050"/>
            </a:xfrm>
            <a:custGeom>
              <a:avLst/>
              <a:gdLst/>
              <a:ahLst/>
              <a:cxnLst/>
              <a:rect l="l" t="t" r="r" b="b"/>
              <a:pathLst>
                <a:path w="10054" h="82" extrusionOk="0">
                  <a:moveTo>
                    <a:pt x="55" y="1"/>
                  </a:moveTo>
                  <a:cubicBezTo>
                    <a:pt x="37" y="1"/>
                    <a:pt x="19" y="3"/>
                    <a:pt x="0" y="8"/>
                  </a:cubicBezTo>
                  <a:lnTo>
                    <a:pt x="111" y="8"/>
                  </a:lnTo>
                  <a:cubicBezTo>
                    <a:pt x="92" y="3"/>
                    <a:pt x="74" y="1"/>
                    <a:pt x="55" y="1"/>
                  </a:cubicBezTo>
                  <a:close/>
                  <a:moveTo>
                    <a:pt x="111" y="8"/>
                  </a:moveTo>
                  <a:lnTo>
                    <a:pt x="396" y="17"/>
                  </a:lnTo>
                  <a:lnTo>
                    <a:pt x="1473" y="35"/>
                  </a:lnTo>
                  <a:lnTo>
                    <a:pt x="5027" y="72"/>
                  </a:lnTo>
                  <a:cubicBezTo>
                    <a:pt x="6417" y="81"/>
                    <a:pt x="7678" y="81"/>
                    <a:pt x="8580" y="81"/>
                  </a:cubicBezTo>
                  <a:lnTo>
                    <a:pt x="9657" y="72"/>
                  </a:lnTo>
                  <a:cubicBezTo>
                    <a:pt x="9692" y="75"/>
                    <a:pt x="9727" y="76"/>
                    <a:pt x="9763" y="76"/>
                  </a:cubicBezTo>
                  <a:cubicBezTo>
                    <a:pt x="9860" y="76"/>
                    <a:pt x="9959" y="67"/>
                    <a:pt x="10053" y="54"/>
                  </a:cubicBezTo>
                  <a:lnTo>
                    <a:pt x="8590" y="54"/>
                  </a:lnTo>
                  <a:lnTo>
                    <a:pt x="5036" y="17"/>
                  </a:lnTo>
                  <a:lnTo>
                    <a:pt x="1482" y="8"/>
                  </a:lnTo>
                  <a:close/>
                </a:path>
              </a:pathLst>
            </a:custGeom>
            <a:solidFill>
              <a:srgbClr val="FAFA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94" name="Google Shape;3864;p45"/>
            <p:cNvSpPr/>
            <p:nvPr/>
          </p:nvSpPr>
          <p:spPr>
            <a:xfrm>
              <a:off x="3348875" y="4348750"/>
              <a:ext cx="267225" cy="1875"/>
            </a:xfrm>
            <a:custGeom>
              <a:avLst/>
              <a:gdLst/>
              <a:ahLst/>
              <a:cxnLst/>
              <a:rect l="l" t="t" r="r" b="b"/>
              <a:pathLst>
                <a:path w="10689" h="75" extrusionOk="0">
                  <a:moveTo>
                    <a:pt x="0" y="1"/>
                  </a:moveTo>
                  <a:lnTo>
                    <a:pt x="313" y="10"/>
                  </a:lnTo>
                  <a:lnTo>
                    <a:pt x="1473" y="28"/>
                  </a:lnTo>
                  <a:lnTo>
                    <a:pt x="5294" y="65"/>
                  </a:lnTo>
                  <a:cubicBezTo>
                    <a:pt x="6785" y="74"/>
                    <a:pt x="8139" y="74"/>
                    <a:pt x="9115" y="74"/>
                  </a:cubicBezTo>
                  <a:lnTo>
                    <a:pt x="10275" y="65"/>
                  </a:lnTo>
                  <a:cubicBezTo>
                    <a:pt x="10312" y="67"/>
                    <a:pt x="10349" y="69"/>
                    <a:pt x="10386" y="69"/>
                  </a:cubicBezTo>
                  <a:cubicBezTo>
                    <a:pt x="10487" y="69"/>
                    <a:pt x="10588" y="60"/>
                    <a:pt x="10689" y="47"/>
                  </a:cubicBezTo>
                  <a:lnTo>
                    <a:pt x="9115" y="47"/>
                  </a:lnTo>
                  <a:lnTo>
                    <a:pt x="5294" y="19"/>
                  </a:lnTo>
                  <a:lnTo>
                    <a:pt x="1473" y="1"/>
                  </a:lnTo>
                  <a:close/>
                </a:path>
              </a:pathLst>
            </a:custGeom>
            <a:solidFill>
              <a:srgbClr val="FAFA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95" name="Google Shape;3865;p45"/>
            <p:cNvSpPr/>
            <p:nvPr/>
          </p:nvSpPr>
          <p:spPr>
            <a:xfrm>
              <a:off x="3342200" y="4363250"/>
              <a:ext cx="280575" cy="1175"/>
            </a:xfrm>
            <a:custGeom>
              <a:avLst/>
              <a:gdLst/>
              <a:ahLst/>
              <a:cxnLst/>
              <a:rect l="l" t="t" r="r" b="b"/>
              <a:pathLst>
                <a:path w="11223" h="47" extrusionOk="0">
                  <a:moveTo>
                    <a:pt x="11223" y="28"/>
                  </a:moveTo>
                  <a:lnTo>
                    <a:pt x="11112" y="37"/>
                  </a:lnTo>
                  <a:cubicBezTo>
                    <a:pt x="11149" y="37"/>
                    <a:pt x="11186" y="37"/>
                    <a:pt x="11223" y="28"/>
                  </a:cubicBezTo>
                  <a:close/>
                  <a:moveTo>
                    <a:pt x="0" y="1"/>
                  </a:moveTo>
                  <a:lnTo>
                    <a:pt x="332" y="10"/>
                  </a:lnTo>
                  <a:lnTo>
                    <a:pt x="1547" y="19"/>
                  </a:lnTo>
                  <a:lnTo>
                    <a:pt x="5552" y="47"/>
                  </a:lnTo>
                  <a:lnTo>
                    <a:pt x="9566" y="47"/>
                  </a:lnTo>
                  <a:lnTo>
                    <a:pt x="10781" y="37"/>
                  </a:lnTo>
                  <a:lnTo>
                    <a:pt x="9566" y="28"/>
                  </a:lnTo>
                  <a:lnTo>
                    <a:pt x="5552" y="10"/>
                  </a:lnTo>
                  <a:lnTo>
                    <a:pt x="1547" y="1"/>
                  </a:lnTo>
                  <a:close/>
                </a:path>
              </a:pathLst>
            </a:custGeom>
            <a:solidFill>
              <a:srgbClr val="FAFA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96" name="Google Shape;3866;p45"/>
            <p:cNvSpPr/>
            <p:nvPr/>
          </p:nvSpPr>
          <p:spPr>
            <a:xfrm>
              <a:off x="3513900" y="4285700"/>
              <a:ext cx="64000" cy="199550"/>
            </a:xfrm>
            <a:custGeom>
              <a:avLst/>
              <a:gdLst/>
              <a:ahLst/>
              <a:cxnLst/>
              <a:rect l="l" t="t" r="r" b="b"/>
              <a:pathLst>
                <a:path w="2560" h="7982" extrusionOk="0">
                  <a:moveTo>
                    <a:pt x="921" y="0"/>
                  </a:moveTo>
                  <a:cubicBezTo>
                    <a:pt x="893" y="9"/>
                    <a:pt x="866" y="28"/>
                    <a:pt x="847" y="46"/>
                  </a:cubicBezTo>
                  <a:cubicBezTo>
                    <a:pt x="774" y="92"/>
                    <a:pt x="700" y="138"/>
                    <a:pt x="636" y="193"/>
                  </a:cubicBezTo>
                  <a:cubicBezTo>
                    <a:pt x="396" y="405"/>
                    <a:pt x="221" y="681"/>
                    <a:pt x="129" y="985"/>
                  </a:cubicBezTo>
                  <a:cubicBezTo>
                    <a:pt x="9" y="1445"/>
                    <a:pt x="0" y="1924"/>
                    <a:pt x="111" y="2384"/>
                  </a:cubicBezTo>
                  <a:cubicBezTo>
                    <a:pt x="157" y="2661"/>
                    <a:pt x="240" y="2928"/>
                    <a:pt x="341" y="3185"/>
                  </a:cubicBezTo>
                  <a:cubicBezTo>
                    <a:pt x="387" y="3314"/>
                    <a:pt x="451" y="3452"/>
                    <a:pt x="516" y="3590"/>
                  </a:cubicBezTo>
                  <a:lnTo>
                    <a:pt x="700" y="3996"/>
                  </a:lnTo>
                  <a:lnTo>
                    <a:pt x="2007" y="6822"/>
                  </a:lnTo>
                  <a:lnTo>
                    <a:pt x="2403" y="7669"/>
                  </a:lnTo>
                  <a:lnTo>
                    <a:pt x="2523" y="7899"/>
                  </a:lnTo>
                  <a:cubicBezTo>
                    <a:pt x="2532" y="7927"/>
                    <a:pt x="2550" y="7954"/>
                    <a:pt x="2560" y="7982"/>
                  </a:cubicBezTo>
                  <a:cubicBezTo>
                    <a:pt x="2560" y="7954"/>
                    <a:pt x="2541" y="7927"/>
                    <a:pt x="2532" y="7899"/>
                  </a:cubicBezTo>
                  <a:lnTo>
                    <a:pt x="2431" y="7669"/>
                  </a:lnTo>
                  <a:cubicBezTo>
                    <a:pt x="2339" y="7457"/>
                    <a:pt x="2201" y="7162"/>
                    <a:pt x="2044" y="6803"/>
                  </a:cubicBezTo>
                  <a:cubicBezTo>
                    <a:pt x="1713" y="6076"/>
                    <a:pt x="1252" y="5073"/>
                    <a:pt x="755" y="3977"/>
                  </a:cubicBezTo>
                  <a:lnTo>
                    <a:pt x="562" y="3563"/>
                  </a:lnTo>
                  <a:cubicBezTo>
                    <a:pt x="507" y="3434"/>
                    <a:pt x="442" y="3296"/>
                    <a:pt x="387" y="3167"/>
                  </a:cubicBezTo>
                  <a:cubicBezTo>
                    <a:pt x="286" y="2909"/>
                    <a:pt x="212" y="2651"/>
                    <a:pt x="157" y="2375"/>
                  </a:cubicBezTo>
                  <a:cubicBezTo>
                    <a:pt x="46" y="1924"/>
                    <a:pt x="56" y="1455"/>
                    <a:pt x="166" y="1004"/>
                  </a:cubicBezTo>
                  <a:cubicBezTo>
                    <a:pt x="258" y="709"/>
                    <a:pt x="424" y="433"/>
                    <a:pt x="654" y="221"/>
                  </a:cubicBezTo>
                  <a:cubicBezTo>
                    <a:pt x="718" y="157"/>
                    <a:pt x="783" y="111"/>
                    <a:pt x="847" y="55"/>
                  </a:cubicBezTo>
                  <a:cubicBezTo>
                    <a:pt x="875" y="37"/>
                    <a:pt x="902" y="18"/>
                    <a:pt x="921"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97" name="Google Shape;3867;p45"/>
            <p:cNvSpPr/>
            <p:nvPr/>
          </p:nvSpPr>
          <p:spPr>
            <a:xfrm>
              <a:off x="3367525" y="4292825"/>
              <a:ext cx="21425" cy="201400"/>
            </a:xfrm>
            <a:custGeom>
              <a:avLst/>
              <a:gdLst/>
              <a:ahLst/>
              <a:cxnLst/>
              <a:rect l="l" t="t" r="r" b="b"/>
              <a:pathLst>
                <a:path w="857" h="8056" extrusionOk="0">
                  <a:moveTo>
                    <a:pt x="304" y="0"/>
                  </a:moveTo>
                  <a:lnTo>
                    <a:pt x="304" y="0"/>
                  </a:lnTo>
                  <a:cubicBezTo>
                    <a:pt x="295" y="28"/>
                    <a:pt x="286" y="56"/>
                    <a:pt x="276" y="83"/>
                  </a:cubicBezTo>
                  <a:cubicBezTo>
                    <a:pt x="258" y="139"/>
                    <a:pt x="240" y="212"/>
                    <a:pt x="221" y="313"/>
                  </a:cubicBezTo>
                  <a:lnTo>
                    <a:pt x="184" y="479"/>
                  </a:lnTo>
                  <a:cubicBezTo>
                    <a:pt x="166" y="544"/>
                    <a:pt x="157" y="608"/>
                    <a:pt x="147" y="682"/>
                  </a:cubicBezTo>
                  <a:cubicBezTo>
                    <a:pt x="129" y="829"/>
                    <a:pt x="101" y="986"/>
                    <a:pt x="74" y="1170"/>
                  </a:cubicBezTo>
                  <a:cubicBezTo>
                    <a:pt x="0" y="2127"/>
                    <a:pt x="55" y="3094"/>
                    <a:pt x="249" y="4042"/>
                  </a:cubicBezTo>
                  <a:cubicBezTo>
                    <a:pt x="442" y="5147"/>
                    <a:pt x="691" y="6132"/>
                    <a:pt x="764" y="6868"/>
                  </a:cubicBezTo>
                  <a:cubicBezTo>
                    <a:pt x="792" y="7043"/>
                    <a:pt x="801" y="7218"/>
                    <a:pt x="810" y="7356"/>
                  </a:cubicBezTo>
                  <a:cubicBezTo>
                    <a:pt x="829" y="7503"/>
                    <a:pt x="829" y="7632"/>
                    <a:pt x="829" y="7734"/>
                  </a:cubicBezTo>
                  <a:lnTo>
                    <a:pt x="829" y="7973"/>
                  </a:lnTo>
                  <a:cubicBezTo>
                    <a:pt x="820" y="7991"/>
                    <a:pt x="820" y="8028"/>
                    <a:pt x="829" y="8056"/>
                  </a:cubicBezTo>
                  <a:cubicBezTo>
                    <a:pt x="829" y="8028"/>
                    <a:pt x="829" y="8001"/>
                    <a:pt x="838" y="7973"/>
                  </a:cubicBezTo>
                  <a:lnTo>
                    <a:pt x="847" y="7734"/>
                  </a:lnTo>
                  <a:cubicBezTo>
                    <a:pt x="856" y="7605"/>
                    <a:pt x="856" y="7485"/>
                    <a:pt x="847" y="7356"/>
                  </a:cubicBezTo>
                  <a:cubicBezTo>
                    <a:pt x="847" y="7209"/>
                    <a:pt x="829" y="7043"/>
                    <a:pt x="820" y="6859"/>
                  </a:cubicBezTo>
                  <a:cubicBezTo>
                    <a:pt x="746" y="6123"/>
                    <a:pt x="507" y="5137"/>
                    <a:pt x="304" y="4033"/>
                  </a:cubicBezTo>
                  <a:cubicBezTo>
                    <a:pt x="120" y="3094"/>
                    <a:pt x="55" y="2136"/>
                    <a:pt x="120" y="1179"/>
                  </a:cubicBezTo>
                  <a:cubicBezTo>
                    <a:pt x="147" y="995"/>
                    <a:pt x="166" y="829"/>
                    <a:pt x="184" y="682"/>
                  </a:cubicBezTo>
                  <a:cubicBezTo>
                    <a:pt x="193" y="617"/>
                    <a:pt x="203" y="553"/>
                    <a:pt x="212" y="488"/>
                  </a:cubicBezTo>
                  <a:cubicBezTo>
                    <a:pt x="230" y="424"/>
                    <a:pt x="240" y="369"/>
                    <a:pt x="249" y="313"/>
                  </a:cubicBezTo>
                  <a:cubicBezTo>
                    <a:pt x="267" y="221"/>
                    <a:pt x="286" y="148"/>
                    <a:pt x="295" y="83"/>
                  </a:cubicBezTo>
                  <a:cubicBezTo>
                    <a:pt x="295" y="56"/>
                    <a:pt x="304" y="28"/>
                    <a:pt x="304"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98" name="Google Shape;3868;p45"/>
            <p:cNvSpPr/>
            <p:nvPr/>
          </p:nvSpPr>
          <p:spPr>
            <a:xfrm>
              <a:off x="3359225" y="4588575"/>
              <a:ext cx="227425" cy="70025"/>
            </a:xfrm>
            <a:custGeom>
              <a:avLst/>
              <a:gdLst/>
              <a:ahLst/>
              <a:cxnLst/>
              <a:rect l="l" t="t" r="r" b="b"/>
              <a:pathLst>
                <a:path w="9097" h="2801" extrusionOk="0">
                  <a:moveTo>
                    <a:pt x="1" y="0"/>
                  </a:moveTo>
                  <a:cubicBezTo>
                    <a:pt x="1" y="10"/>
                    <a:pt x="1" y="19"/>
                    <a:pt x="1" y="28"/>
                  </a:cubicBezTo>
                  <a:cubicBezTo>
                    <a:pt x="10" y="56"/>
                    <a:pt x="10" y="83"/>
                    <a:pt x="10" y="120"/>
                  </a:cubicBezTo>
                  <a:cubicBezTo>
                    <a:pt x="28" y="221"/>
                    <a:pt x="47" y="332"/>
                    <a:pt x="84" y="442"/>
                  </a:cubicBezTo>
                  <a:cubicBezTo>
                    <a:pt x="130" y="608"/>
                    <a:pt x="185" y="764"/>
                    <a:pt x="268" y="921"/>
                  </a:cubicBezTo>
                  <a:cubicBezTo>
                    <a:pt x="369" y="1133"/>
                    <a:pt x="498" y="1326"/>
                    <a:pt x="654" y="1501"/>
                  </a:cubicBezTo>
                  <a:cubicBezTo>
                    <a:pt x="1041" y="1961"/>
                    <a:pt x="1547" y="2311"/>
                    <a:pt x="2118" y="2514"/>
                  </a:cubicBezTo>
                  <a:cubicBezTo>
                    <a:pt x="2666" y="2703"/>
                    <a:pt x="3242" y="2801"/>
                    <a:pt x="3824" y="2801"/>
                  </a:cubicBezTo>
                  <a:cubicBezTo>
                    <a:pt x="3976" y="2801"/>
                    <a:pt x="4129" y="2794"/>
                    <a:pt x="4282" y="2781"/>
                  </a:cubicBezTo>
                  <a:cubicBezTo>
                    <a:pt x="4659" y="2753"/>
                    <a:pt x="5037" y="2698"/>
                    <a:pt x="5405" y="2615"/>
                  </a:cubicBezTo>
                  <a:cubicBezTo>
                    <a:pt x="5755" y="2541"/>
                    <a:pt x="6095" y="2440"/>
                    <a:pt x="6417" y="2311"/>
                  </a:cubicBezTo>
                  <a:cubicBezTo>
                    <a:pt x="6988" y="2109"/>
                    <a:pt x="7513" y="1823"/>
                    <a:pt x="7992" y="1455"/>
                  </a:cubicBezTo>
                  <a:cubicBezTo>
                    <a:pt x="8314" y="1216"/>
                    <a:pt x="8599" y="930"/>
                    <a:pt x="8848" y="608"/>
                  </a:cubicBezTo>
                  <a:cubicBezTo>
                    <a:pt x="8922" y="525"/>
                    <a:pt x="8977" y="433"/>
                    <a:pt x="9041" y="341"/>
                  </a:cubicBezTo>
                  <a:lnTo>
                    <a:pt x="9087" y="267"/>
                  </a:lnTo>
                  <a:lnTo>
                    <a:pt x="9096" y="249"/>
                  </a:lnTo>
                  <a:lnTo>
                    <a:pt x="9096" y="249"/>
                  </a:lnTo>
                  <a:cubicBezTo>
                    <a:pt x="9096" y="249"/>
                    <a:pt x="9087" y="249"/>
                    <a:pt x="9078" y="267"/>
                  </a:cubicBezTo>
                  <a:lnTo>
                    <a:pt x="9032" y="332"/>
                  </a:lnTo>
                  <a:cubicBezTo>
                    <a:pt x="8986" y="396"/>
                    <a:pt x="8922" y="488"/>
                    <a:pt x="8829" y="590"/>
                  </a:cubicBezTo>
                  <a:cubicBezTo>
                    <a:pt x="8581" y="903"/>
                    <a:pt x="8286" y="1179"/>
                    <a:pt x="7964" y="1418"/>
                  </a:cubicBezTo>
                  <a:cubicBezTo>
                    <a:pt x="7485" y="1777"/>
                    <a:pt x="6961" y="2062"/>
                    <a:pt x="6408" y="2256"/>
                  </a:cubicBezTo>
                  <a:cubicBezTo>
                    <a:pt x="6077" y="2385"/>
                    <a:pt x="5736" y="2486"/>
                    <a:pt x="5396" y="2550"/>
                  </a:cubicBezTo>
                  <a:cubicBezTo>
                    <a:pt x="5027" y="2633"/>
                    <a:pt x="4659" y="2689"/>
                    <a:pt x="4282" y="2716"/>
                  </a:cubicBezTo>
                  <a:cubicBezTo>
                    <a:pt x="4124" y="2730"/>
                    <a:pt x="3966" y="2737"/>
                    <a:pt x="3808" y="2737"/>
                  </a:cubicBezTo>
                  <a:cubicBezTo>
                    <a:pt x="3240" y="2737"/>
                    <a:pt x="2677" y="2646"/>
                    <a:pt x="2137" y="2458"/>
                  </a:cubicBezTo>
                  <a:cubicBezTo>
                    <a:pt x="1575" y="2256"/>
                    <a:pt x="1078" y="1915"/>
                    <a:pt x="682" y="1473"/>
                  </a:cubicBezTo>
                  <a:cubicBezTo>
                    <a:pt x="535" y="1298"/>
                    <a:pt x="406" y="1105"/>
                    <a:pt x="295" y="912"/>
                  </a:cubicBezTo>
                  <a:cubicBezTo>
                    <a:pt x="222" y="755"/>
                    <a:pt x="148" y="599"/>
                    <a:pt x="102" y="433"/>
                  </a:cubicBezTo>
                  <a:cubicBezTo>
                    <a:pt x="74" y="332"/>
                    <a:pt x="47" y="221"/>
                    <a:pt x="28" y="120"/>
                  </a:cubicBezTo>
                  <a:cubicBezTo>
                    <a:pt x="19" y="83"/>
                    <a:pt x="10" y="56"/>
                    <a:pt x="10" y="28"/>
                  </a:cubicBezTo>
                  <a:cubicBezTo>
                    <a:pt x="10" y="19"/>
                    <a:pt x="10" y="10"/>
                    <a:pt x="1" y="0"/>
                  </a:cubicBezTo>
                  <a:close/>
                </a:path>
              </a:pathLst>
            </a:custGeom>
            <a:solidFill>
              <a:srgbClr val="FAFA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99" name="Google Shape;3869;p45"/>
            <p:cNvSpPr/>
            <p:nvPr/>
          </p:nvSpPr>
          <p:spPr>
            <a:xfrm>
              <a:off x="3365225" y="4574075"/>
              <a:ext cx="216125" cy="72750"/>
            </a:xfrm>
            <a:custGeom>
              <a:avLst/>
              <a:gdLst/>
              <a:ahLst/>
              <a:cxnLst/>
              <a:rect l="l" t="t" r="r" b="b"/>
              <a:pathLst>
                <a:path w="8645" h="2910" extrusionOk="0">
                  <a:moveTo>
                    <a:pt x="0" y="0"/>
                  </a:moveTo>
                  <a:cubicBezTo>
                    <a:pt x="0" y="10"/>
                    <a:pt x="2" y="21"/>
                    <a:pt x="5" y="35"/>
                  </a:cubicBezTo>
                  <a:cubicBezTo>
                    <a:pt x="5" y="21"/>
                    <a:pt x="5" y="10"/>
                    <a:pt x="0" y="0"/>
                  </a:cubicBezTo>
                  <a:close/>
                  <a:moveTo>
                    <a:pt x="5" y="35"/>
                  </a:moveTo>
                  <a:cubicBezTo>
                    <a:pt x="5" y="49"/>
                    <a:pt x="5" y="65"/>
                    <a:pt x="9" y="83"/>
                  </a:cubicBezTo>
                  <a:cubicBezTo>
                    <a:pt x="9" y="65"/>
                    <a:pt x="7" y="49"/>
                    <a:pt x="5" y="35"/>
                  </a:cubicBezTo>
                  <a:close/>
                  <a:moveTo>
                    <a:pt x="9" y="83"/>
                  </a:moveTo>
                  <a:cubicBezTo>
                    <a:pt x="9" y="120"/>
                    <a:pt x="9" y="157"/>
                    <a:pt x="19" y="212"/>
                  </a:cubicBezTo>
                  <a:cubicBezTo>
                    <a:pt x="28" y="267"/>
                    <a:pt x="46" y="323"/>
                    <a:pt x="55" y="387"/>
                  </a:cubicBezTo>
                  <a:cubicBezTo>
                    <a:pt x="147" y="764"/>
                    <a:pt x="313" y="1123"/>
                    <a:pt x="534" y="1436"/>
                  </a:cubicBezTo>
                  <a:cubicBezTo>
                    <a:pt x="875" y="1897"/>
                    <a:pt x="1326" y="2274"/>
                    <a:pt x="1851" y="2523"/>
                  </a:cubicBezTo>
                  <a:cubicBezTo>
                    <a:pt x="2402" y="2779"/>
                    <a:pt x="3009" y="2909"/>
                    <a:pt x="3617" y="2909"/>
                  </a:cubicBezTo>
                  <a:cubicBezTo>
                    <a:pt x="3709" y="2909"/>
                    <a:pt x="3802" y="2906"/>
                    <a:pt x="3894" y="2900"/>
                  </a:cubicBezTo>
                  <a:cubicBezTo>
                    <a:pt x="4594" y="2854"/>
                    <a:pt x="5284" y="2679"/>
                    <a:pt x="5920" y="2394"/>
                  </a:cubicBezTo>
                  <a:cubicBezTo>
                    <a:pt x="6444" y="2155"/>
                    <a:pt x="6942" y="1878"/>
                    <a:pt x="7411" y="1547"/>
                  </a:cubicBezTo>
                  <a:cubicBezTo>
                    <a:pt x="7807" y="1271"/>
                    <a:pt x="8120" y="1022"/>
                    <a:pt x="8332" y="847"/>
                  </a:cubicBezTo>
                  <a:cubicBezTo>
                    <a:pt x="8433" y="764"/>
                    <a:pt x="8516" y="691"/>
                    <a:pt x="8562" y="645"/>
                  </a:cubicBezTo>
                  <a:lnTo>
                    <a:pt x="8626" y="590"/>
                  </a:lnTo>
                  <a:cubicBezTo>
                    <a:pt x="8635" y="590"/>
                    <a:pt x="8645" y="580"/>
                    <a:pt x="8645" y="571"/>
                  </a:cubicBezTo>
                  <a:lnTo>
                    <a:pt x="8645" y="571"/>
                  </a:lnTo>
                  <a:cubicBezTo>
                    <a:pt x="8645" y="571"/>
                    <a:pt x="8635" y="580"/>
                    <a:pt x="8608" y="590"/>
                  </a:cubicBezTo>
                  <a:lnTo>
                    <a:pt x="8543" y="636"/>
                  </a:lnTo>
                  <a:lnTo>
                    <a:pt x="8295" y="829"/>
                  </a:lnTo>
                  <a:cubicBezTo>
                    <a:pt x="8092" y="995"/>
                    <a:pt x="7779" y="1243"/>
                    <a:pt x="7374" y="1510"/>
                  </a:cubicBezTo>
                  <a:cubicBezTo>
                    <a:pt x="6905" y="1832"/>
                    <a:pt x="6417" y="2109"/>
                    <a:pt x="5892" y="2339"/>
                  </a:cubicBezTo>
                  <a:cubicBezTo>
                    <a:pt x="5257" y="2624"/>
                    <a:pt x="4576" y="2790"/>
                    <a:pt x="3885" y="2836"/>
                  </a:cubicBezTo>
                  <a:cubicBezTo>
                    <a:pt x="3789" y="2842"/>
                    <a:pt x="3693" y="2845"/>
                    <a:pt x="3597" y="2845"/>
                  </a:cubicBezTo>
                  <a:cubicBezTo>
                    <a:pt x="3002" y="2845"/>
                    <a:pt x="2407" y="2723"/>
                    <a:pt x="1860" y="2477"/>
                  </a:cubicBezTo>
                  <a:cubicBezTo>
                    <a:pt x="1353" y="2228"/>
                    <a:pt x="902" y="1860"/>
                    <a:pt x="562" y="1409"/>
                  </a:cubicBezTo>
                  <a:cubicBezTo>
                    <a:pt x="341" y="1105"/>
                    <a:pt x="166" y="755"/>
                    <a:pt x="74" y="387"/>
                  </a:cubicBezTo>
                  <a:cubicBezTo>
                    <a:pt x="55" y="323"/>
                    <a:pt x="46" y="258"/>
                    <a:pt x="37" y="212"/>
                  </a:cubicBezTo>
                  <a:cubicBezTo>
                    <a:pt x="19" y="157"/>
                    <a:pt x="19" y="111"/>
                    <a:pt x="9" y="83"/>
                  </a:cubicBezTo>
                  <a:close/>
                </a:path>
              </a:pathLst>
            </a:custGeom>
            <a:solidFill>
              <a:srgbClr val="FAFA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00" name="Google Shape;3870;p45"/>
            <p:cNvSpPr/>
            <p:nvPr/>
          </p:nvSpPr>
          <p:spPr>
            <a:xfrm>
              <a:off x="4550050" y="4459450"/>
              <a:ext cx="255275" cy="35250"/>
            </a:xfrm>
            <a:custGeom>
              <a:avLst/>
              <a:gdLst/>
              <a:ahLst/>
              <a:cxnLst/>
              <a:rect l="l" t="t" r="r" b="b"/>
              <a:pathLst>
                <a:path w="10211" h="1410" extrusionOk="0">
                  <a:moveTo>
                    <a:pt x="0" y="1"/>
                  </a:moveTo>
                  <a:lnTo>
                    <a:pt x="0" y="1409"/>
                  </a:lnTo>
                  <a:lnTo>
                    <a:pt x="10210" y="1409"/>
                  </a:lnTo>
                  <a:lnTo>
                    <a:pt x="10210" y="1"/>
                  </a:ln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01" name="Google Shape;3871;p45"/>
            <p:cNvSpPr/>
            <p:nvPr/>
          </p:nvSpPr>
          <p:spPr>
            <a:xfrm>
              <a:off x="4549825" y="4459225"/>
              <a:ext cx="255950" cy="35925"/>
            </a:xfrm>
            <a:custGeom>
              <a:avLst/>
              <a:gdLst/>
              <a:ahLst/>
              <a:cxnLst/>
              <a:rect l="l" t="t" r="r" b="b"/>
              <a:pathLst>
                <a:path w="10238" h="1437" extrusionOk="0">
                  <a:moveTo>
                    <a:pt x="10201" y="28"/>
                  </a:moveTo>
                  <a:lnTo>
                    <a:pt x="10201" y="1400"/>
                  </a:lnTo>
                  <a:lnTo>
                    <a:pt x="28" y="1400"/>
                  </a:lnTo>
                  <a:lnTo>
                    <a:pt x="28" y="28"/>
                  </a:lnTo>
                  <a:close/>
                  <a:moveTo>
                    <a:pt x="0" y="0"/>
                  </a:moveTo>
                  <a:lnTo>
                    <a:pt x="0" y="1437"/>
                  </a:lnTo>
                  <a:lnTo>
                    <a:pt x="10237" y="1437"/>
                  </a:lnTo>
                  <a:lnTo>
                    <a:pt x="10237" y="0"/>
                  </a:ln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02" name="Google Shape;3872;p45"/>
            <p:cNvSpPr/>
            <p:nvPr/>
          </p:nvSpPr>
          <p:spPr>
            <a:xfrm>
              <a:off x="4573750" y="4482925"/>
              <a:ext cx="208325" cy="181400"/>
            </a:xfrm>
            <a:custGeom>
              <a:avLst/>
              <a:gdLst/>
              <a:ahLst/>
              <a:cxnLst/>
              <a:rect l="l" t="t" r="r" b="b"/>
              <a:pathLst>
                <a:path w="8333" h="7256" extrusionOk="0">
                  <a:moveTo>
                    <a:pt x="1" y="1"/>
                  </a:moveTo>
                  <a:lnTo>
                    <a:pt x="1464" y="7255"/>
                  </a:lnTo>
                  <a:lnTo>
                    <a:pt x="6905" y="7255"/>
                  </a:lnTo>
                  <a:lnTo>
                    <a:pt x="8332" y="470"/>
                  </a:lnTo>
                  <a:lnTo>
                    <a:pt x="1" y="1"/>
                  </a:ln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03" name="Google Shape;3873;p45"/>
            <p:cNvSpPr/>
            <p:nvPr/>
          </p:nvSpPr>
          <p:spPr>
            <a:xfrm>
              <a:off x="4573750" y="4647250"/>
              <a:ext cx="208325" cy="26950"/>
            </a:xfrm>
            <a:custGeom>
              <a:avLst/>
              <a:gdLst/>
              <a:ahLst/>
              <a:cxnLst/>
              <a:rect l="l" t="t" r="r" b="b"/>
              <a:pathLst>
                <a:path w="8333" h="1078" extrusionOk="0">
                  <a:moveTo>
                    <a:pt x="1" y="1"/>
                  </a:moveTo>
                  <a:lnTo>
                    <a:pt x="783" y="1078"/>
                  </a:lnTo>
                  <a:lnTo>
                    <a:pt x="7393" y="1078"/>
                  </a:lnTo>
                  <a:lnTo>
                    <a:pt x="8332" y="1"/>
                  </a:ln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04" name="Google Shape;3874;p45"/>
            <p:cNvSpPr/>
            <p:nvPr/>
          </p:nvSpPr>
          <p:spPr>
            <a:xfrm>
              <a:off x="4666275" y="4113075"/>
              <a:ext cx="2550" cy="375175"/>
            </a:xfrm>
            <a:custGeom>
              <a:avLst/>
              <a:gdLst/>
              <a:ahLst/>
              <a:cxnLst/>
              <a:rect l="l" t="t" r="r" b="b"/>
              <a:pathLst>
                <a:path w="102" h="15007" extrusionOk="0">
                  <a:moveTo>
                    <a:pt x="28" y="0"/>
                  </a:moveTo>
                  <a:cubicBezTo>
                    <a:pt x="19" y="0"/>
                    <a:pt x="1" y="3361"/>
                    <a:pt x="19" y="7503"/>
                  </a:cubicBezTo>
                  <a:cubicBezTo>
                    <a:pt x="28" y="11646"/>
                    <a:pt x="56" y="15006"/>
                    <a:pt x="74" y="15006"/>
                  </a:cubicBezTo>
                  <a:cubicBezTo>
                    <a:pt x="93" y="15006"/>
                    <a:pt x="102" y="11646"/>
                    <a:pt x="93" y="7503"/>
                  </a:cubicBezTo>
                  <a:cubicBezTo>
                    <a:pt x="74" y="3361"/>
                    <a:pt x="47" y="0"/>
                    <a:pt x="28"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05" name="Google Shape;3875;p45"/>
            <p:cNvSpPr/>
            <p:nvPr/>
          </p:nvSpPr>
          <p:spPr>
            <a:xfrm>
              <a:off x="4700800" y="4278100"/>
              <a:ext cx="24200" cy="198875"/>
            </a:xfrm>
            <a:custGeom>
              <a:avLst/>
              <a:gdLst/>
              <a:ahLst/>
              <a:cxnLst/>
              <a:rect l="l" t="t" r="r" b="b"/>
              <a:pathLst>
                <a:path w="968" h="7955" extrusionOk="0">
                  <a:moveTo>
                    <a:pt x="967" y="0"/>
                  </a:moveTo>
                  <a:lnTo>
                    <a:pt x="967" y="0"/>
                  </a:lnTo>
                  <a:cubicBezTo>
                    <a:pt x="949" y="19"/>
                    <a:pt x="939" y="46"/>
                    <a:pt x="921" y="65"/>
                  </a:cubicBezTo>
                  <a:lnTo>
                    <a:pt x="820" y="276"/>
                  </a:lnTo>
                  <a:cubicBezTo>
                    <a:pt x="801" y="322"/>
                    <a:pt x="774" y="378"/>
                    <a:pt x="746" y="433"/>
                  </a:cubicBezTo>
                  <a:lnTo>
                    <a:pt x="672" y="626"/>
                  </a:lnTo>
                  <a:cubicBezTo>
                    <a:pt x="645" y="691"/>
                    <a:pt x="617" y="764"/>
                    <a:pt x="590" y="838"/>
                  </a:cubicBezTo>
                  <a:cubicBezTo>
                    <a:pt x="562" y="921"/>
                    <a:pt x="534" y="1004"/>
                    <a:pt x="507" y="1087"/>
                  </a:cubicBezTo>
                  <a:cubicBezTo>
                    <a:pt x="378" y="1501"/>
                    <a:pt x="277" y="1924"/>
                    <a:pt x="203" y="2348"/>
                  </a:cubicBezTo>
                  <a:cubicBezTo>
                    <a:pt x="120" y="2863"/>
                    <a:pt x="65" y="3388"/>
                    <a:pt x="37" y="3922"/>
                  </a:cubicBezTo>
                  <a:cubicBezTo>
                    <a:pt x="0" y="4870"/>
                    <a:pt x="37" y="5828"/>
                    <a:pt x="148" y="6785"/>
                  </a:cubicBezTo>
                  <a:cubicBezTo>
                    <a:pt x="185" y="7144"/>
                    <a:pt x="231" y="7439"/>
                    <a:pt x="258" y="7641"/>
                  </a:cubicBezTo>
                  <a:cubicBezTo>
                    <a:pt x="277" y="7733"/>
                    <a:pt x="286" y="7816"/>
                    <a:pt x="295" y="7871"/>
                  </a:cubicBezTo>
                  <a:cubicBezTo>
                    <a:pt x="249" y="7881"/>
                    <a:pt x="258" y="7954"/>
                    <a:pt x="304" y="7954"/>
                  </a:cubicBezTo>
                  <a:cubicBezTo>
                    <a:pt x="359" y="7954"/>
                    <a:pt x="359" y="7881"/>
                    <a:pt x="313" y="7871"/>
                  </a:cubicBezTo>
                  <a:cubicBezTo>
                    <a:pt x="304" y="7816"/>
                    <a:pt x="295" y="7743"/>
                    <a:pt x="286" y="7641"/>
                  </a:cubicBezTo>
                  <a:cubicBezTo>
                    <a:pt x="258" y="7439"/>
                    <a:pt x="231" y="7144"/>
                    <a:pt x="194" y="6785"/>
                  </a:cubicBezTo>
                  <a:cubicBezTo>
                    <a:pt x="102" y="5828"/>
                    <a:pt x="74" y="4880"/>
                    <a:pt x="111" y="3922"/>
                  </a:cubicBezTo>
                  <a:cubicBezTo>
                    <a:pt x="139" y="3397"/>
                    <a:pt x="194" y="2882"/>
                    <a:pt x="277" y="2357"/>
                  </a:cubicBezTo>
                  <a:cubicBezTo>
                    <a:pt x="341" y="1934"/>
                    <a:pt x="442" y="1519"/>
                    <a:pt x="562" y="1114"/>
                  </a:cubicBezTo>
                  <a:cubicBezTo>
                    <a:pt x="590" y="1022"/>
                    <a:pt x="608" y="939"/>
                    <a:pt x="636" y="866"/>
                  </a:cubicBezTo>
                  <a:lnTo>
                    <a:pt x="719" y="645"/>
                  </a:lnTo>
                  <a:lnTo>
                    <a:pt x="783" y="451"/>
                  </a:lnTo>
                  <a:cubicBezTo>
                    <a:pt x="811" y="396"/>
                    <a:pt x="829" y="341"/>
                    <a:pt x="847" y="295"/>
                  </a:cubicBezTo>
                  <a:cubicBezTo>
                    <a:pt x="884" y="203"/>
                    <a:pt x="912" y="138"/>
                    <a:pt x="939" y="74"/>
                  </a:cubicBezTo>
                  <a:cubicBezTo>
                    <a:pt x="949" y="56"/>
                    <a:pt x="958" y="28"/>
                    <a:pt x="967"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06" name="Google Shape;3876;p45"/>
            <p:cNvSpPr/>
            <p:nvPr/>
          </p:nvSpPr>
          <p:spPr>
            <a:xfrm>
              <a:off x="4685150" y="4210200"/>
              <a:ext cx="33400" cy="279650"/>
            </a:xfrm>
            <a:custGeom>
              <a:avLst/>
              <a:gdLst/>
              <a:ahLst/>
              <a:cxnLst/>
              <a:rect l="l" t="t" r="r" b="b"/>
              <a:pathLst>
                <a:path w="1336" h="11186" extrusionOk="0">
                  <a:moveTo>
                    <a:pt x="1335" y="0"/>
                  </a:moveTo>
                  <a:cubicBezTo>
                    <a:pt x="1308" y="37"/>
                    <a:pt x="1289" y="74"/>
                    <a:pt x="1280" y="111"/>
                  </a:cubicBezTo>
                  <a:cubicBezTo>
                    <a:pt x="1252" y="194"/>
                    <a:pt x="1216" y="295"/>
                    <a:pt x="1160" y="424"/>
                  </a:cubicBezTo>
                  <a:cubicBezTo>
                    <a:pt x="1133" y="488"/>
                    <a:pt x="1105" y="562"/>
                    <a:pt x="1078" y="645"/>
                  </a:cubicBezTo>
                  <a:cubicBezTo>
                    <a:pt x="1050" y="728"/>
                    <a:pt x="1022" y="820"/>
                    <a:pt x="995" y="921"/>
                  </a:cubicBezTo>
                  <a:cubicBezTo>
                    <a:pt x="930" y="1114"/>
                    <a:pt x="857" y="1335"/>
                    <a:pt x="792" y="1584"/>
                  </a:cubicBezTo>
                  <a:cubicBezTo>
                    <a:pt x="755" y="1704"/>
                    <a:pt x="719" y="1832"/>
                    <a:pt x="682" y="1971"/>
                  </a:cubicBezTo>
                  <a:lnTo>
                    <a:pt x="580" y="2394"/>
                  </a:lnTo>
                  <a:cubicBezTo>
                    <a:pt x="507" y="2689"/>
                    <a:pt x="452" y="3002"/>
                    <a:pt x="387" y="3333"/>
                  </a:cubicBezTo>
                  <a:cubicBezTo>
                    <a:pt x="267" y="4005"/>
                    <a:pt x="166" y="4742"/>
                    <a:pt x="102" y="5524"/>
                  </a:cubicBezTo>
                  <a:cubicBezTo>
                    <a:pt x="37" y="6307"/>
                    <a:pt x="0" y="7052"/>
                    <a:pt x="0" y="7724"/>
                  </a:cubicBezTo>
                  <a:cubicBezTo>
                    <a:pt x="0" y="8406"/>
                    <a:pt x="19" y="9022"/>
                    <a:pt x="56" y="9529"/>
                  </a:cubicBezTo>
                  <a:cubicBezTo>
                    <a:pt x="65" y="9787"/>
                    <a:pt x="83" y="10017"/>
                    <a:pt x="102" y="10219"/>
                  </a:cubicBezTo>
                  <a:cubicBezTo>
                    <a:pt x="120" y="10422"/>
                    <a:pt x="139" y="10597"/>
                    <a:pt x="148" y="10744"/>
                  </a:cubicBezTo>
                  <a:cubicBezTo>
                    <a:pt x="166" y="10882"/>
                    <a:pt x="185" y="10983"/>
                    <a:pt x="194" y="11066"/>
                  </a:cubicBezTo>
                  <a:cubicBezTo>
                    <a:pt x="194" y="11112"/>
                    <a:pt x="203" y="11149"/>
                    <a:pt x="212" y="11186"/>
                  </a:cubicBezTo>
                  <a:cubicBezTo>
                    <a:pt x="212" y="11149"/>
                    <a:pt x="212" y="11112"/>
                    <a:pt x="212" y="11066"/>
                  </a:cubicBezTo>
                  <a:cubicBezTo>
                    <a:pt x="203" y="10993"/>
                    <a:pt x="194" y="10882"/>
                    <a:pt x="185" y="10744"/>
                  </a:cubicBezTo>
                  <a:cubicBezTo>
                    <a:pt x="166" y="10597"/>
                    <a:pt x="157" y="10422"/>
                    <a:pt x="148" y="10219"/>
                  </a:cubicBezTo>
                  <a:cubicBezTo>
                    <a:pt x="129" y="10017"/>
                    <a:pt x="120" y="9787"/>
                    <a:pt x="111" y="9529"/>
                  </a:cubicBezTo>
                  <a:cubicBezTo>
                    <a:pt x="83" y="9013"/>
                    <a:pt x="65" y="8406"/>
                    <a:pt x="74" y="7734"/>
                  </a:cubicBezTo>
                  <a:cubicBezTo>
                    <a:pt x="83" y="7052"/>
                    <a:pt x="102" y="6307"/>
                    <a:pt x="175" y="5533"/>
                  </a:cubicBezTo>
                  <a:cubicBezTo>
                    <a:pt x="240" y="4751"/>
                    <a:pt x="341" y="4014"/>
                    <a:pt x="452" y="3342"/>
                  </a:cubicBezTo>
                  <a:cubicBezTo>
                    <a:pt x="525" y="3011"/>
                    <a:pt x="571" y="2689"/>
                    <a:pt x="645" y="2403"/>
                  </a:cubicBezTo>
                  <a:cubicBezTo>
                    <a:pt x="672" y="2256"/>
                    <a:pt x="700" y="2109"/>
                    <a:pt x="737" y="1980"/>
                  </a:cubicBezTo>
                  <a:cubicBezTo>
                    <a:pt x="774" y="1842"/>
                    <a:pt x="811" y="1713"/>
                    <a:pt x="838" y="1584"/>
                  </a:cubicBezTo>
                  <a:cubicBezTo>
                    <a:pt x="903" y="1335"/>
                    <a:pt x="976" y="1124"/>
                    <a:pt x="1032" y="921"/>
                  </a:cubicBezTo>
                  <a:lnTo>
                    <a:pt x="1114" y="654"/>
                  </a:lnTo>
                  <a:cubicBezTo>
                    <a:pt x="1142" y="571"/>
                    <a:pt x="1170" y="488"/>
                    <a:pt x="1197" y="424"/>
                  </a:cubicBezTo>
                  <a:cubicBezTo>
                    <a:pt x="1234" y="295"/>
                    <a:pt x="1271" y="185"/>
                    <a:pt x="1298" y="111"/>
                  </a:cubicBezTo>
                  <a:cubicBezTo>
                    <a:pt x="1317" y="74"/>
                    <a:pt x="1326" y="37"/>
                    <a:pt x="1335"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07" name="Google Shape;3877;p45"/>
            <p:cNvSpPr/>
            <p:nvPr/>
          </p:nvSpPr>
          <p:spPr>
            <a:xfrm>
              <a:off x="4603450" y="4124350"/>
              <a:ext cx="48575" cy="377950"/>
            </a:xfrm>
            <a:custGeom>
              <a:avLst/>
              <a:gdLst/>
              <a:ahLst/>
              <a:cxnLst/>
              <a:rect l="l" t="t" r="r" b="b"/>
              <a:pathLst>
                <a:path w="1943" h="15118" extrusionOk="0">
                  <a:moveTo>
                    <a:pt x="9" y="1"/>
                  </a:moveTo>
                  <a:cubicBezTo>
                    <a:pt x="0" y="10"/>
                    <a:pt x="0" y="28"/>
                    <a:pt x="9" y="37"/>
                  </a:cubicBezTo>
                  <a:cubicBezTo>
                    <a:pt x="9" y="65"/>
                    <a:pt x="19" y="102"/>
                    <a:pt x="28" y="157"/>
                  </a:cubicBezTo>
                  <a:lnTo>
                    <a:pt x="138" y="590"/>
                  </a:lnTo>
                  <a:cubicBezTo>
                    <a:pt x="184" y="774"/>
                    <a:pt x="240" y="1004"/>
                    <a:pt x="304" y="1280"/>
                  </a:cubicBezTo>
                  <a:cubicBezTo>
                    <a:pt x="359" y="1547"/>
                    <a:pt x="433" y="1851"/>
                    <a:pt x="507" y="2192"/>
                  </a:cubicBezTo>
                  <a:cubicBezTo>
                    <a:pt x="580" y="2523"/>
                    <a:pt x="645" y="2901"/>
                    <a:pt x="728" y="3296"/>
                  </a:cubicBezTo>
                  <a:cubicBezTo>
                    <a:pt x="801" y="3701"/>
                    <a:pt x="875" y="4125"/>
                    <a:pt x="948" y="4576"/>
                  </a:cubicBezTo>
                  <a:cubicBezTo>
                    <a:pt x="1096" y="5478"/>
                    <a:pt x="1234" y="6482"/>
                    <a:pt x="1354" y="7531"/>
                  </a:cubicBezTo>
                  <a:cubicBezTo>
                    <a:pt x="1584" y="9630"/>
                    <a:pt x="1713" y="11536"/>
                    <a:pt x="1795" y="12917"/>
                  </a:cubicBezTo>
                  <a:cubicBezTo>
                    <a:pt x="1841" y="13607"/>
                    <a:pt x="1878" y="14160"/>
                    <a:pt x="1897" y="14555"/>
                  </a:cubicBezTo>
                  <a:cubicBezTo>
                    <a:pt x="1915" y="14740"/>
                    <a:pt x="1924" y="14887"/>
                    <a:pt x="1934" y="14997"/>
                  </a:cubicBezTo>
                  <a:cubicBezTo>
                    <a:pt x="1934" y="15043"/>
                    <a:pt x="1943" y="15080"/>
                    <a:pt x="1943" y="15117"/>
                  </a:cubicBezTo>
                  <a:cubicBezTo>
                    <a:pt x="1943" y="15114"/>
                    <a:pt x="1943" y="15111"/>
                    <a:pt x="1943" y="15108"/>
                  </a:cubicBezTo>
                  <a:lnTo>
                    <a:pt x="1943" y="14997"/>
                  </a:lnTo>
                  <a:cubicBezTo>
                    <a:pt x="1943" y="14887"/>
                    <a:pt x="1934" y="14740"/>
                    <a:pt x="1934" y="14546"/>
                  </a:cubicBezTo>
                  <a:cubicBezTo>
                    <a:pt x="1915" y="14160"/>
                    <a:pt x="1888" y="13607"/>
                    <a:pt x="1851" y="12917"/>
                  </a:cubicBezTo>
                  <a:cubicBezTo>
                    <a:pt x="1777" y="11527"/>
                    <a:pt x="1648" y="9621"/>
                    <a:pt x="1418" y="7522"/>
                  </a:cubicBezTo>
                  <a:cubicBezTo>
                    <a:pt x="1298" y="6463"/>
                    <a:pt x="1160" y="5469"/>
                    <a:pt x="1013" y="4567"/>
                  </a:cubicBezTo>
                  <a:cubicBezTo>
                    <a:pt x="939" y="4116"/>
                    <a:pt x="856" y="3683"/>
                    <a:pt x="783" y="3287"/>
                  </a:cubicBezTo>
                  <a:cubicBezTo>
                    <a:pt x="709" y="2882"/>
                    <a:pt x="626" y="2514"/>
                    <a:pt x="553" y="2173"/>
                  </a:cubicBezTo>
                  <a:cubicBezTo>
                    <a:pt x="488" y="1842"/>
                    <a:pt x="405" y="1538"/>
                    <a:pt x="341" y="1262"/>
                  </a:cubicBezTo>
                  <a:cubicBezTo>
                    <a:pt x="286" y="995"/>
                    <a:pt x="221" y="765"/>
                    <a:pt x="166" y="581"/>
                  </a:cubicBezTo>
                  <a:lnTo>
                    <a:pt x="55" y="148"/>
                  </a:lnTo>
                  <a:cubicBezTo>
                    <a:pt x="37" y="102"/>
                    <a:pt x="28" y="65"/>
                    <a:pt x="19" y="37"/>
                  </a:cubicBezTo>
                  <a:cubicBezTo>
                    <a:pt x="19" y="19"/>
                    <a:pt x="9" y="10"/>
                    <a:pt x="9"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08" name="Google Shape;3878;p45"/>
            <p:cNvSpPr/>
            <p:nvPr/>
          </p:nvSpPr>
          <p:spPr>
            <a:xfrm>
              <a:off x="4583425" y="4132400"/>
              <a:ext cx="122450" cy="219300"/>
            </a:xfrm>
            <a:custGeom>
              <a:avLst/>
              <a:gdLst/>
              <a:ahLst/>
              <a:cxnLst/>
              <a:rect l="l" t="t" r="r" b="b"/>
              <a:pathLst>
                <a:path w="4898" h="8772" extrusionOk="0">
                  <a:moveTo>
                    <a:pt x="2302" y="1"/>
                  </a:moveTo>
                  <a:cubicBezTo>
                    <a:pt x="1823" y="1"/>
                    <a:pt x="1381" y="286"/>
                    <a:pt x="1087" y="664"/>
                  </a:cubicBezTo>
                  <a:cubicBezTo>
                    <a:pt x="792" y="1041"/>
                    <a:pt x="636" y="1501"/>
                    <a:pt x="497" y="1962"/>
                  </a:cubicBezTo>
                  <a:cubicBezTo>
                    <a:pt x="175" y="3085"/>
                    <a:pt x="0" y="4263"/>
                    <a:pt x="138" y="5414"/>
                  </a:cubicBezTo>
                  <a:cubicBezTo>
                    <a:pt x="276" y="6565"/>
                    <a:pt x="746" y="7716"/>
                    <a:pt x="1575" y="8535"/>
                  </a:cubicBezTo>
                  <a:cubicBezTo>
                    <a:pt x="1697" y="8649"/>
                    <a:pt x="1849" y="8771"/>
                    <a:pt x="2010" y="8771"/>
                  </a:cubicBezTo>
                  <a:cubicBezTo>
                    <a:pt x="2031" y="8771"/>
                    <a:pt x="2051" y="8769"/>
                    <a:pt x="2072" y="8765"/>
                  </a:cubicBezTo>
                  <a:cubicBezTo>
                    <a:pt x="2173" y="8728"/>
                    <a:pt x="2265" y="8673"/>
                    <a:pt x="2339" y="8599"/>
                  </a:cubicBezTo>
                  <a:cubicBezTo>
                    <a:pt x="3987" y="7090"/>
                    <a:pt x="4898" y="4944"/>
                    <a:pt x="4843" y="2717"/>
                  </a:cubicBezTo>
                  <a:cubicBezTo>
                    <a:pt x="4834" y="2275"/>
                    <a:pt x="4778" y="1814"/>
                    <a:pt x="4530" y="1446"/>
                  </a:cubicBezTo>
                  <a:cubicBezTo>
                    <a:pt x="4326" y="1133"/>
                    <a:pt x="3883" y="806"/>
                    <a:pt x="3500" y="806"/>
                  </a:cubicBezTo>
                  <a:cubicBezTo>
                    <a:pt x="3433" y="806"/>
                    <a:pt x="3367" y="817"/>
                    <a:pt x="3305" y="839"/>
                  </a:cubicBezTo>
                  <a:cubicBezTo>
                    <a:pt x="3259" y="369"/>
                    <a:pt x="2781" y="10"/>
                    <a:pt x="2302" y="1"/>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09" name="Google Shape;3879;p45"/>
            <p:cNvSpPr/>
            <p:nvPr/>
          </p:nvSpPr>
          <p:spPr>
            <a:xfrm>
              <a:off x="4511600" y="4014575"/>
              <a:ext cx="65175" cy="75750"/>
            </a:xfrm>
            <a:custGeom>
              <a:avLst/>
              <a:gdLst/>
              <a:ahLst/>
              <a:cxnLst/>
              <a:rect l="l" t="t" r="r" b="b"/>
              <a:pathLst>
                <a:path w="2607" h="3030" extrusionOk="0">
                  <a:moveTo>
                    <a:pt x="415" y="0"/>
                  </a:moveTo>
                  <a:lnTo>
                    <a:pt x="1" y="230"/>
                  </a:lnTo>
                  <a:lnTo>
                    <a:pt x="1787" y="2965"/>
                  </a:lnTo>
                  <a:cubicBezTo>
                    <a:pt x="1805" y="2992"/>
                    <a:pt x="1833" y="3029"/>
                    <a:pt x="1870" y="3029"/>
                  </a:cubicBezTo>
                  <a:cubicBezTo>
                    <a:pt x="1897" y="3020"/>
                    <a:pt x="1916" y="2992"/>
                    <a:pt x="1934" y="2965"/>
                  </a:cubicBezTo>
                  <a:lnTo>
                    <a:pt x="2606" y="1740"/>
                  </a:lnTo>
                  <a:lnTo>
                    <a:pt x="415" y="0"/>
                  </a:ln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10" name="Google Shape;3880;p45"/>
            <p:cNvSpPr/>
            <p:nvPr/>
          </p:nvSpPr>
          <p:spPr>
            <a:xfrm>
              <a:off x="4511600" y="4014575"/>
              <a:ext cx="65175" cy="75750"/>
            </a:xfrm>
            <a:custGeom>
              <a:avLst/>
              <a:gdLst/>
              <a:ahLst/>
              <a:cxnLst/>
              <a:rect l="l" t="t" r="r" b="b"/>
              <a:pathLst>
                <a:path w="2607" h="3030" extrusionOk="0">
                  <a:moveTo>
                    <a:pt x="415" y="0"/>
                  </a:moveTo>
                  <a:lnTo>
                    <a:pt x="1" y="230"/>
                  </a:lnTo>
                  <a:lnTo>
                    <a:pt x="1787" y="2965"/>
                  </a:lnTo>
                  <a:cubicBezTo>
                    <a:pt x="1805" y="2992"/>
                    <a:pt x="1833" y="3029"/>
                    <a:pt x="1870" y="3029"/>
                  </a:cubicBezTo>
                  <a:cubicBezTo>
                    <a:pt x="1897" y="3020"/>
                    <a:pt x="1916" y="2992"/>
                    <a:pt x="1934" y="2965"/>
                  </a:cubicBezTo>
                  <a:lnTo>
                    <a:pt x="2606" y="1740"/>
                  </a:lnTo>
                  <a:lnTo>
                    <a:pt x="415" y="0"/>
                  </a:lnTo>
                  <a:close/>
                </a:path>
              </a:pathLst>
            </a:custGeom>
            <a:solidFill>
              <a:srgbClr val="00000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11" name="Google Shape;3881;p45"/>
            <p:cNvSpPr/>
            <p:nvPr/>
          </p:nvSpPr>
          <p:spPr>
            <a:xfrm>
              <a:off x="4510925" y="3981700"/>
              <a:ext cx="172875" cy="131400"/>
            </a:xfrm>
            <a:custGeom>
              <a:avLst/>
              <a:gdLst/>
              <a:ahLst/>
              <a:cxnLst/>
              <a:rect l="l" t="t" r="r" b="b"/>
              <a:pathLst>
                <a:path w="6915" h="5256" extrusionOk="0">
                  <a:moveTo>
                    <a:pt x="3130" y="0"/>
                  </a:moveTo>
                  <a:cubicBezTo>
                    <a:pt x="2003" y="0"/>
                    <a:pt x="918" y="464"/>
                    <a:pt x="129" y="1278"/>
                  </a:cubicBezTo>
                  <a:cubicBezTo>
                    <a:pt x="65" y="1343"/>
                    <a:pt x="0" y="1435"/>
                    <a:pt x="28" y="1518"/>
                  </a:cubicBezTo>
                  <a:cubicBezTo>
                    <a:pt x="56" y="1591"/>
                    <a:pt x="111" y="1647"/>
                    <a:pt x="175" y="1674"/>
                  </a:cubicBezTo>
                  <a:lnTo>
                    <a:pt x="6242" y="5255"/>
                  </a:lnTo>
                  <a:cubicBezTo>
                    <a:pt x="6914" y="4261"/>
                    <a:pt x="6896" y="2871"/>
                    <a:pt x="6316" y="1831"/>
                  </a:cubicBezTo>
                  <a:cubicBezTo>
                    <a:pt x="5727" y="781"/>
                    <a:pt x="4576" y="91"/>
                    <a:pt x="3379" y="8"/>
                  </a:cubicBezTo>
                  <a:cubicBezTo>
                    <a:pt x="3296" y="3"/>
                    <a:pt x="3213" y="0"/>
                    <a:pt x="3130"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12" name="Google Shape;3882;p45"/>
            <p:cNvSpPr/>
            <p:nvPr/>
          </p:nvSpPr>
          <p:spPr>
            <a:xfrm>
              <a:off x="4537150" y="3994325"/>
              <a:ext cx="131225" cy="119225"/>
            </a:xfrm>
            <a:custGeom>
              <a:avLst/>
              <a:gdLst/>
              <a:ahLst/>
              <a:cxnLst/>
              <a:rect l="l" t="t" r="r" b="b"/>
              <a:pathLst>
                <a:path w="5249" h="4769" extrusionOk="0">
                  <a:moveTo>
                    <a:pt x="305" y="0"/>
                  </a:moveTo>
                  <a:cubicBezTo>
                    <a:pt x="213" y="0"/>
                    <a:pt x="130" y="9"/>
                    <a:pt x="75" y="9"/>
                  </a:cubicBezTo>
                  <a:cubicBezTo>
                    <a:pt x="47" y="9"/>
                    <a:pt x="28" y="19"/>
                    <a:pt x="1" y="28"/>
                  </a:cubicBezTo>
                  <a:lnTo>
                    <a:pt x="314" y="28"/>
                  </a:lnTo>
                  <a:cubicBezTo>
                    <a:pt x="590" y="37"/>
                    <a:pt x="866" y="65"/>
                    <a:pt x="1142" y="120"/>
                  </a:cubicBezTo>
                  <a:cubicBezTo>
                    <a:pt x="3002" y="460"/>
                    <a:pt x="4512" y="1823"/>
                    <a:pt x="5037" y="3637"/>
                  </a:cubicBezTo>
                  <a:cubicBezTo>
                    <a:pt x="5110" y="3913"/>
                    <a:pt x="5166" y="4180"/>
                    <a:pt x="5202" y="4465"/>
                  </a:cubicBezTo>
                  <a:cubicBezTo>
                    <a:pt x="5230" y="4649"/>
                    <a:pt x="5239" y="4769"/>
                    <a:pt x="5239" y="4769"/>
                  </a:cubicBezTo>
                  <a:cubicBezTo>
                    <a:pt x="5248" y="4741"/>
                    <a:pt x="5248" y="4714"/>
                    <a:pt x="5239" y="4686"/>
                  </a:cubicBezTo>
                  <a:cubicBezTo>
                    <a:pt x="5239" y="4631"/>
                    <a:pt x="5239" y="4557"/>
                    <a:pt x="5230" y="4456"/>
                  </a:cubicBezTo>
                  <a:cubicBezTo>
                    <a:pt x="5212" y="4180"/>
                    <a:pt x="5156" y="3894"/>
                    <a:pt x="5083" y="3627"/>
                  </a:cubicBezTo>
                  <a:cubicBezTo>
                    <a:pt x="4576" y="1777"/>
                    <a:pt x="3039" y="387"/>
                    <a:pt x="1152" y="74"/>
                  </a:cubicBezTo>
                  <a:cubicBezTo>
                    <a:pt x="875" y="19"/>
                    <a:pt x="590" y="0"/>
                    <a:pt x="305"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13" name="Google Shape;3883;p45"/>
            <p:cNvSpPr/>
            <p:nvPr/>
          </p:nvSpPr>
          <p:spPr>
            <a:xfrm>
              <a:off x="4591925" y="4051175"/>
              <a:ext cx="54575" cy="17500"/>
            </a:xfrm>
            <a:custGeom>
              <a:avLst/>
              <a:gdLst/>
              <a:ahLst/>
              <a:cxnLst/>
              <a:rect l="l" t="t" r="r" b="b"/>
              <a:pathLst>
                <a:path w="2183" h="700" extrusionOk="0">
                  <a:moveTo>
                    <a:pt x="2183" y="0"/>
                  </a:moveTo>
                  <a:lnTo>
                    <a:pt x="2183" y="0"/>
                  </a:lnTo>
                  <a:cubicBezTo>
                    <a:pt x="2072" y="18"/>
                    <a:pt x="1962" y="55"/>
                    <a:pt x="1861" y="92"/>
                  </a:cubicBezTo>
                  <a:lnTo>
                    <a:pt x="1087" y="341"/>
                  </a:lnTo>
                  <a:lnTo>
                    <a:pt x="314" y="580"/>
                  </a:lnTo>
                  <a:cubicBezTo>
                    <a:pt x="203" y="608"/>
                    <a:pt x="102" y="644"/>
                    <a:pt x="1" y="700"/>
                  </a:cubicBezTo>
                  <a:cubicBezTo>
                    <a:pt x="111" y="690"/>
                    <a:pt x="222" y="672"/>
                    <a:pt x="323" y="635"/>
                  </a:cubicBezTo>
                  <a:cubicBezTo>
                    <a:pt x="535" y="580"/>
                    <a:pt x="802" y="506"/>
                    <a:pt x="1106" y="414"/>
                  </a:cubicBezTo>
                  <a:cubicBezTo>
                    <a:pt x="1419" y="313"/>
                    <a:pt x="1686" y="221"/>
                    <a:pt x="1879" y="147"/>
                  </a:cubicBezTo>
                  <a:cubicBezTo>
                    <a:pt x="1980" y="111"/>
                    <a:pt x="2091" y="64"/>
                    <a:pt x="2183"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14" name="Google Shape;3884;p45"/>
            <p:cNvSpPr/>
            <p:nvPr/>
          </p:nvSpPr>
          <p:spPr>
            <a:xfrm>
              <a:off x="4622075" y="3986950"/>
              <a:ext cx="2575" cy="34100"/>
            </a:xfrm>
            <a:custGeom>
              <a:avLst/>
              <a:gdLst/>
              <a:ahLst/>
              <a:cxnLst/>
              <a:rect l="l" t="t" r="r" b="b"/>
              <a:pathLst>
                <a:path w="103" h="1364" extrusionOk="0">
                  <a:moveTo>
                    <a:pt x="19" y="1"/>
                  </a:moveTo>
                  <a:cubicBezTo>
                    <a:pt x="1" y="10"/>
                    <a:pt x="10" y="314"/>
                    <a:pt x="19" y="682"/>
                  </a:cubicBezTo>
                  <a:cubicBezTo>
                    <a:pt x="29" y="1059"/>
                    <a:pt x="38" y="1363"/>
                    <a:pt x="56" y="1363"/>
                  </a:cubicBezTo>
                  <a:cubicBezTo>
                    <a:pt x="75" y="1363"/>
                    <a:pt x="102" y="1059"/>
                    <a:pt x="93" y="682"/>
                  </a:cubicBezTo>
                  <a:cubicBezTo>
                    <a:pt x="84" y="304"/>
                    <a:pt x="38" y="1"/>
                    <a:pt x="19"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15" name="Google Shape;3885;p45"/>
            <p:cNvSpPr/>
            <p:nvPr/>
          </p:nvSpPr>
          <p:spPr>
            <a:xfrm>
              <a:off x="4513925" y="4003300"/>
              <a:ext cx="77350" cy="18425"/>
            </a:xfrm>
            <a:custGeom>
              <a:avLst/>
              <a:gdLst/>
              <a:ahLst/>
              <a:cxnLst/>
              <a:rect l="l" t="t" r="r" b="b"/>
              <a:pathLst>
                <a:path w="3094" h="737" extrusionOk="0">
                  <a:moveTo>
                    <a:pt x="3093" y="0"/>
                  </a:moveTo>
                  <a:cubicBezTo>
                    <a:pt x="2937" y="0"/>
                    <a:pt x="2780" y="28"/>
                    <a:pt x="2633" y="55"/>
                  </a:cubicBezTo>
                  <a:cubicBezTo>
                    <a:pt x="2348" y="111"/>
                    <a:pt x="1961" y="184"/>
                    <a:pt x="1528" y="286"/>
                  </a:cubicBezTo>
                  <a:cubicBezTo>
                    <a:pt x="1105" y="396"/>
                    <a:pt x="718" y="497"/>
                    <a:pt x="442" y="589"/>
                  </a:cubicBezTo>
                  <a:cubicBezTo>
                    <a:pt x="285" y="626"/>
                    <a:pt x="138" y="672"/>
                    <a:pt x="0" y="737"/>
                  </a:cubicBezTo>
                  <a:cubicBezTo>
                    <a:pt x="157" y="718"/>
                    <a:pt x="304" y="681"/>
                    <a:pt x="451" y="635"/>
                  </a:cubicBezTo>
                  <a:cubicBezTo>
                    <a:pt x="727" y="562"/>
                    <a:pt x="1114" y="470"/>
                    <a:pt x="1547" y="359"/>
                  </a:cubicBezTo>
                  <a:cubicBezTo>
                    <a:pt x="1970" y="258"/>
                    <a:pt x="2357" y="175"/>
                    <a:pt x="2642" y="111"/>
                  </a:cubicBezTo>
                  <a:cubicBezTo>
                    <a:pt x="2790" y="83"/>
                    <a:pt x="2946" y="46"/>
                    <a:pt x="3093"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16" name="Google Shape;3886;p45"/>
            <p:cNvSpPr/>
            <p:nvPr/>
          </p:nvSpPr>
          <p:spPr>
            <a:xfrm>
              <a:off x="4420925" y="4113925"/>
              <a:ext cx="183700" cy="150075"/>
            </a:xfrm>
            <a:custGeom>
              <a:avLst/>
              <a:gdLst/>
              <a:ahLst/>
              <a:cxnLst/>
              <a:rect l="l" t="t" r="r" b="b"/>
              <a:pathLst>
                <a:path w="7348" h="6003" extrusionOk="0">
                  <a:moveTo>
                    <a:pt x="5496" y="1"/>
                  </a:moveTo>
                  <a:cubicBezTo>
                    <a:pt x="5439" y="1"/>
                    <a:pt x="5381" y="2"/>
                    <a:pt x="5322" y="3"/>
                  </a:cubicBezTo>
                  <a:cubicBezTo>
                    <a:pt x="4659" y="49"/>
                    <a:pt x="4024" y="215"/>
                    <a:pt x="3425" y="491"/>
                  </a:cubicBezTo>
                  <a:cubicBezTo>
                    <a:pt x="2404" y="942"/>
                    <a:pt x="1437" y="1605"/>
                    <a:pt x="829" y="2535"/>
                  </a:cubicBezTo>
                  <a:cubicBezTo>
                    <a:pt x="213" y="3474"/>
                    <a:pt x="1" y="4717"/>
                    <a:pt x="461" y="5730"/>
                  </a:cubicBezTo>
                  <a:cubicBezTo>
                    <a:pt x="498" y="5840"/>
                    <a:pt x="572" y="5932"/>
                    <a:pt x="673" y="5987"/>
                  </a:cubicBezTo>
                  <a:cubicBezTo>
                    <a:pt x="714" y="5998"/>
                    <a:pt x="757" y="6003"/>
                    <a:pt x="800" y="6003"/>
                  </a:cubicBezTo>
                  <a:cubicBezTo>
                    <a:pt x="872" y="6003"/>
                    <a:pt x="944" y="5988"/>
                    <a:pt x="1013" y="5960"/>
                  </a:cubicBezTo>
                  <a:cubicBezTo>
                    <a:pt x="2183" y="5582"/>
                    <a:pt x="3352" y="5196"/>
                    <a:pt x="4420" y="4597"/>
                  </a:cubicBezTo>
                  <a:cubicBezTo>
                    <a:pt x="5488" y="4008"/>
                    <a:pt x="6463" y="3179"/>
                    <a:pt x="7043" y="2093"/>
                  </a:cubicBezTo>
                  <a:cubicBezTo>
                    <a:pt x="7191" y="1845"/>
                    <a:pt x="7283" y="1559"/>
                    <a:pt x="7320" y="1265"/>
                  </a:cubicBezTo>
                  <a:cubicBezTo>
                    <a:pt x="7347" y="970"/>
                    <a:pt x="7246" y="675"/>
                    <a:pt x="7053" y="464"/>
                  </a:cubicBezTo>
                  <a:lnTo>
                    <a:pt x="7043" y="454"/>
                  </a:lnTo>
                  <a:cubicBezTo>
                    <a:pt x="6574" y="94"/>
                    <a:pt x="6075" y="1"/>
                    <a:pt x="5496" y="1"/>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17" name="Google Shape;3887;p45"/>
            <p:cNvSpPr/>
            <p:nvPr/>
          </p:nvSpPr>
          <p:spPr>
            <a:xfrm>
              <a:off x="4436125" y="4122275"/>
              <a:ext cx="161125" cy="141575"/>
            </a:xfrm>
            <a:custGeom>
              <a:avLst/>
              <a:gdLst/>
              <a:ahLst/>
              <a:cxnLst/>
              <a:rect l="l" t="t" r="r" b="b"/>
              <a:pathLst>
                <a:path w="6445" h="5663" extrusionOk="0">
                  <a:moveTo>
                    <a:pt x="6445" y="1"/>
                  </a:moveTo>
                  <a:cubicBezTo>
                    <a:pt x="6417" y="1"/>
                    <a:pt x="6389" y="10"/>
                    <a:pt x="6362" y="19"/>
                  </a:cubicBezTo>
                  <a:lnTo>
                    <a:pt x="6113" y="84"/>
                  </a:lnTo>
                  <a:lnTo>
                    <a:pt x="5929" y="139"/>
                  </a:lnTo>
                  <a:cubicBezTo>
                    <a:pt x="5865" y="166"/>
                    <a:pt x="5800" y="185"/>
                    <a:pt x="5717" y="212"/>
                  </a:cubicBezTo>
                  <a:cubicBezTo>
                    <a:pt x="5570" y="277"/>
                    <a:pt x="5395" y="332"/>
                    <a:pt x="5220" y="415"/>
                  </a:cubicBezTo>
                  <a:lnTo>
                    <a:pt x="4926" y="544"/>
                  </a:lnTo>
                  <a:cubicBezTo>
                    <a:pt x="4824" y="581"/>
                    <a:pt x="4723" y="636"/>
                    <a:pt x="4622" y="691"/>
                  </a:cubicBezTo>
                  <a:cubicBezTo>
                    <a:pt x="4410" y="792"/>
                    <a:pt x="4189" y="921"/>
                    <a:pt x="3959" y="1059"/>
                  </a:cubicBezTo>
                  <a:cubicBezTo>
                    <a:pt x="2974" y="1658"/>
                    <a:pt x="2099" y="2431"/>
                    <a:pt x="1372" y="3333"/>
                  </a:cubicBezTo>
                  <a:cubicBezTo>
                    <a:pt x="1216" y="3545"/>
                    <a:pt x="1059" y="3748"/>
                    <a:pt x="930" y="3941"/>
                  </a:cubicBezTo>
                  <a:cubicBezTo>
                    <a:pt x="866" y="4042"/>
                    <a:pt x="792" y="4134"/>
                    <a:pt x="737" y="4226"/>
                  </a:cubicBezTo>
                  <a:lnTo>
                    <a:pt x="571" y="4493"/>
                  </a:lnTo>
                  <a:cubicBezTo>
                    <a:pt x="470" y="4668"/>
                    <a:pt x="387" y="4834"/>
                    <a:pt x="313" y="4972"/>
                  </a:cubicBezTo>
                  <a:cubicBezTo>
                    <a:pt x="277" y="5046"/>
                    <a:pt x="240" y="5110"/>
                    <a:pt x="212" y="5175"/>
                  </a:cubicBezTo>
                  <a:cubicBezTo>
                    <a:pt x="184" y="5230"/>
                    <a:pt x="157" y="5285"/>
                    <a:pt x="138" y="5340"/>
                  </a:cubicBezTo>
                  <a:cubicBezTo>
                    <a:pt x="92" y="5442"/>
                    <a:pt x="65" y="5515"/>
                    <a:pt x="37" y="5580"/>
                  </a:cubicBezTo>
                  <a:cubicBezTo>
                    <a:pt x="19" y="5607"/>
                    <a:pt x="10" y="5635"/>
                    <a:pt x="0" y="5662"/>
                  </a:cubicBezTo>
                  <a:cubicBezTo>
                    <a:pt x="19" y="5635"/>
                    <a:pt x="37" y="5616"/>
                    <a:pt x="46" y="5589"/>
                  </a:cubicBezTo>
                  <a:cubicBezTo>
                    <a:pt x="83" y="5524"/>
                    <a:pt x="120" y="5451"/>
                    <a:pt x="166" y="5359"/>
                  </a:cubicBezTo>
                  <a:lnTo>
                    <a:pt x="249" y="5184"/>
                  </a:lnTo>
                  <a:cubicBezTo>
                    <a:pt x="277" y="5129"/>
                    <a:pt x="313" y="5064"/>
                    <a:pt x="350" y="4990"/>
                  </a:cubicBezTo>
                  <a:cubicBezTo>
                    <a:pt x="433" y="4852"/>
                    <a:pt x="507" y="4696"/>
                    <a:pt x="617" y="4521"/>
                  </a:cubicBezTo>
                  <a:lnTo>
                    <a:pt x="783" y="4254"/>
                  </a:lnTo>
                  <a:cubicBezTo>
                    <a:pt x="847" y="4162"/>
                    <a:pt x="912" y="4079"/>
                    <a:pt x="976" y="3978"/>
                  </a:cubicBezTo>
                  <a:cubicBezTo>
                    <a:pt x="1105" y="3784"/>
                    <a:pt x="1262" y="3582"/>
                    <a:pt x="1427" y="3379"/>
                  </a:cubicBezTo>
                  <a:cubicBezTo>
                    <a:pt x="2155" y="2486"/>
                    <a:pt x="3020" y="1722"/>
                    <a:pt x="3996" y="1115"/>
                  </a:cubicBezTo>
                  <a:cubicBezTo>
                    <a:pt x="4226" y="986"/>
                    <a:pt x="4438" y="848"/>
                    <a:pt x="4649" y="746"/>
                  </a:cubicBezTo>
                  <a:cubicBezTo>
                    <a:pt x="4751" y="691"/>
                    <a:pt x="4852" y="636"/>
                    <a:pt x="4953" y="590"/>
                  </a:cubicBezTo>
                  <a:lnTo>
                    <a:pt x="5239" y="461"/>
                  </a:lnTo>
                  <a:cubicBezTo>
                    <a:pt x="5423" y="369"/>
                    <a:pt x="5589" y="314"/>
                    <a:pt x="5736" y="258"/>
                  </a:cubicBezTo>
                  <a:cubicBezTo>
                    <a:pt x="5809" y="231"/>
                    <a:pt x="5883" y="194"/>
                    <a:pt x="5948" y="176"/>
                  </a:cubicBezTo>
                  <a:lnTo>
                    <a:pt x="6122" y="120"/>
                  </a:lnTo>
                  <a:lnTo>
                    <a:pt x="6362" y="28"/>
                  </a:lnTo>
                  <a:cubicBezTo>
                    <a:pt x="6389" y="19"/>
                    <a:pt x="6417" y="10"/>
                    <a:pt x="6445"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18" name="Google Shape;3888;p45"/>
            <p:cNvSpPr/>
            <p:nvPr/>
          </p:nvSpPr>
          <p:spPr>
            <a:xfrm>
              <a:off x="4431300" y="4177475"/>
              <a:ext cx="64000" cy="18950"/>
            </a:xfrm>
            <a:custGeom>
              <a:avLst/>
              <a:gdLst/>
              <a:ahLst/>
              <a:cxnLst/>
              <a:rect l="l" t="t" r="r" b="b"/>
              <a:pathLst>
                <a:path w="2560" h="758" extrusionOk="0">
                  <a:moveTo>
                    <a:pt x="2554" y="1"/>
                  </a:moveTo>
                  <a:cubicBezTo>
                    <a:pt x="2496" y="1"/>
                    <a:pt x="1933" y="151"/>
                    <a:pt x="1270" y="343"/>
                  </a:cubicBezTo>
                  <a:cubicBezTo>
                    <a:pt x="571" y="555"/>
                    <a:pt x="0" y="739"/>
                    <a:pt x="0" y="757"/>
                  </a:cubicBezTo>
                  <a:cubicBezTo>
                    <a:pt x="0" y="757"/>
                    <a:pt x="1" y="758"/>
                    <a:pt x="2" y="758"/>
                  </a:cubicBezTo>
                  <a:cubicBezTo>
                    <a:pt x="44" y="758"/>
                    <a:pt x="610" y="613"/>
                    <a:pt x="1298" y="407"/>
                  </a:cubicBezTo>
                  <a:cubicBezTo>
                    <a:pt x="1998" y="205"/>
                    <a:pt x="2559" y="21"/>
                    <a:pt x="2559" y="2"/>
                  </a:cubicBezTo>
                  <a:cubicBezTo>
                    <a:pt x="2559" y="1"/>
                    <a:pt x="2558" y="1"/>
                    <a:pt x="2554"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19" name="Google Shape;3889;p45"/>
            <p:cNvSpPr/>
            <p:nvPr/>
          </p:nvSpPr>
          <p:spPr>
            <a:xfrm>
              <a:off x="4493200" y="4180050"/>
              <a:ext cx="3025" cy="67450"/>
            </a:xfrm>
            <a:custGeom>
              <a:avLst/>
              <a:gdLst/>
              <a:ahLst/>
              <a:cxnLst/>
              <a:rect l="l" t="t" r="r" b="b"/>
              <a:pathLst>
                <a:path w="121" h="2698" extrusionOk="0">
                  <a:moveTo>
                    <a:pt x="102" y="0"/>
                  </a:moveTo>
                  <a:cubicBezTo>
                    <a:pt x="74" y="129"/>
                    <a:pt x="56" y="258"/>
                    <a:pt x="56" y="387"/>
                  </a:cubicBezTo>
                  <a:cubicBezTo>
                    <a:pt x="37" y="636"/>
                    <a:pt x="10" y="976"/>
                    <a:pt x="0" y="1345"/>
                  </a:cubicBezTo>
                  <a:cubicBezTo>
                    <a:pt x="0" y="1722"/>
                    <a:pt x="0" y="2053"/>
                    <a:pt x="0" y="2302"/>
                  </a:cubicBezTo>
                  <a:cubicBezTo>
                    <a:pt x="0" y="2431"/>
                    <a:pt x="10" y="2569"/>
                    <a:pt x="37" y="2698"/>
                  </a:cubicBezTo>
                  <a:cubicBezTo>
                    <a:pt x="47" y="2569"/>
                    <a:pt x="56" y="2431"/>
                    <a:pt x="56" y="2302"/>
                  </a:cubicBezTo>
                  <a:cubicBezTo>
                    <a:pt x="56" y="2035"/>
                    <a:pt x="65" y="1704"/>
                    <a:pt x="74" y="1345"/>
                  </a:cubicBezTo>
                  <a:cubicBezTo>
                    <a:pt x="83" y="986"/>
                    <a:pt x="93" y="663"/>
                    <a:pt x="102" y="396"/>
                  </a:cubicBezTo>
                  <a:cubicBezTo>
                    <a:pt x="120" y="258"/>
                    <a:pt x="120" y="129"/>
                    <a:pt x="102"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20" name="Google Shape;3890;p45"/>
            <p:cNvSpPr/>
            <p:nvPr/>
          </p:nvSpPr>
          <p:spPr>
            <a:xfrm>
              <a:off x="4548200" y="4140000"/>
              <a:ext cx="6475" cy="76900"/>
            </a:xfrm>
            <a:custGeom>
              <a:avLst/>
              <a:gdLst/>
              <a:ahLst/>
              <a:cxnLst/>
              <a:rect l="l" t="t" r="r" b="b"/>
              <a:pathLst>
                <a:path w="259" h="3076" extrusionOk="0">
                  <a:moveTo>
                    <a:pt x="19" y="1"/>
                  </a:moveTo>
                  <a:cubicBezTo>
                    <a:pt x="1" y="1"/>
                    <a:pt x="28" y="700"/>
                    <a:pt x="93" y="1547"/>
                  </a:cubicBezTo>
                  <a:cubicBezTo>
                    <a:pt x="148" y="2385"/>
                    <a:pt x="213" y="3075"/>
                    <a:pt x="231" y="3075"/>
                  </a:cubicBezTo>
                  <a:cubicBezTo>
                    <a:pt x="259" y="3075"/>
                    <a:pt x="222" y="2385"/>
                    <a:pt x="166" y="1538"/>
                  </a:cubicBezTo>
                  <a:cubicBezTo>
                    <a:pt x="102" y="691"/>
                    <a:pt x="47" y="1"/>
                    <a:pt x="19"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21" name="Google Shape;3891;p45"/>
            <p:cNvSpPr/>
            <p:nvPr/>
          </p:nvSpPr>
          <p:spPr>
            <a:xfrm>
              <a:off x="4479400" y="4138000"/>
              <a:ext cx="69300" cy="3100"/>
            </a:xfrm>
            <a:custGeom>
              <a:avLst/>
              <a:gdLst/>
              <a:ahLst/>
              <a:cxnLst/>
              <a:rect l="l" t="t" r="r" b="b"/>
              <a:pathLst>
                <a:path w="2772" h="124" extrusionOk="0">
                  <a:moveTo>
                    <a:pt x="234" y="1"/>
                  </a:moveTo>
                  <a:cubicBezTo>
                    <a:pt x="154" y="1"/>
                    <a:pt x="76" y="5"/>
                    <a:pt x="0" y="16"/>
                  </a:cubicBezTo>
                  <a:cubicBezTo>
                    <a:pt x="129" y="44"/>
                    <a:pt x="267" y="53"/>
                    <a:pt x="405" y="53"/>
                  </a:cubicBezTo>
                  <a:cubicBezTo>
                    <a:pt x="654" y="71"/>
                    <a:pt x="994" y="81"/>
                    <a:pt x="1381" y="99"/>
                  </a:cubicBezTo>
                  <a:cubicBezTo>
                    <a:pt x="1768" y="108"/>
                    <a:pt x="2108" y="117"/>
                    <a:pt x="2366" y="117"/>
                  </a:cubicBezTo>
                  <a:cubicBezTo>
                    <a:pt x="2419" y="121"/>
                    <a:pt x="2474" y="123"/>
                    <a:pt x="2530" y="123"/>
                  </a:cubicBezTo>
                  <a:cubicBezTo>
                    <a:pt x="2609" y="123"/>
                    <a:pt x="2690" y="119"/>
                    <a:pt x="2771" y="108"/>
                  </a:cubicBezTo>
                  <a:cubicBezTo>
                    <a:pt x="2633" y="81"/>
                    <a:pt x="2504" y="71"/>
                    <a:pt x="2366" y="71"/>
                  </a:cubicBezTo>
                  <a:cubicBezTo>
                    <a:pt x="2118" y="53"/>
                    <a:pt x="1768" y="35"/>
                    <a:pt x="1381" y="25"/>
                  </a:cubicBezTo>
                  <a:cubicBezTo>
                    <a:pt x="1004" y="16"/>
                    <a:pt x="654" y="7"/>
                    <a:pt x="405" y="7"/>
                  </a:cubicBezTo>
                  <a:cubicBezTo>
                    <a:pt x="348" y="3"/>
                    <a:pt x="291" y="1"/>
                    <a:pt x="234"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22" name="Google Shape;3892;p45"/>
            <p:cNvSpPr/>
            <p:nvPr/>
          </p:nvSpPr>
          <p:spPr>
            <a:xfrm>
              <a:off x="4628525" y="4153800"/>
              <a:ext cx="36625" cy="200275"/>
            </a:xfrm>
            <a:custGeom>
              <a:avLst/>
              <a:gdLst/>
              <a:ahLst/>
              <a:cxnLst/>
              <a:rect l="l" t="t" r="r" b="b"/>
              <a:pathLst>
                <a:path w="1465" h="8011" extrusionOk="0">
                  <a:moveTo>
                    <a:pt x="1464" y="1"/>
                  </a:moveTo>
                  <a:lnTo>
                    <a:pt x="1464" y="1"/>
                  </a:lnTo>
                  <a:cubicBezTo>
                    <a:pt x="1446" y="19"/>
                    <a:pt x="1437" y="47"/>
                    <a:pt x="1428" y="75"/>
                  </a:cubicBezTo>
                  <a:lnTo>
                    <a:pt x="1336" y="296"/>
                  </a:lnTo>
                  <a:cubicBezTo>
                    <a:pt x="1262" y="489"/>
                    <a:pt x="1151" y="765"/>
                    <a:pt x="1032" y="1115"/>
                  </a:cubicBezTo>
                  <a:cubicBezTo>
                    <a:pt x="903" y="1465"/>
                    <a:pt x="774" y="1888"/>
                    <a:pt x="645" y="2367"/>
                  </a:cubicBezTo>
                  <a:cubicBezTo>
                    <a:pt x="525" y="2836"/>
                    <a:pt x="406" y="3361"/>
                    <a:pt x="305" y="3923"/>
                  </a:cubicBezTo>
                  <a:cubicBezTo>
                    <a:pt x="203" y="4484"/>
                    <a:pt x="130" y="5018"/>
                    <a:pt x="93" y="5506"/>
                  </a:cubicBezTo>
                  <a:cubicBezTo>
                    <a:pt x="47" y="5994"/>
                    <a:pt x="28" y="6436"/>
                    <a:pt x="19" y="6804"/>
                  </a:cubicBezTo>
                  <a:cubicBezTo>
                    <a:pt x="1" y="7173"/>
                    <a:pt x="10" y="7476"/>
                    <a:pt x="19" y="7688"/>
                  </a:cubicBezTo>
                  <a:cubicBezTo>
                    <a:pt x="28" y="7780"/>
                    <a:pt x="28" y="7863"/>
                    <a:pt x="28" y="7918"/>
                  </a:cubicBezTo>
                  <a:cubicBezTo>
                    <a:pt x="28" y="7946"/>
                    <a:pt x="28" y="7983"/>
                    <a:pt x="38" y="8010"/>
                  </a:cubicBezTo>
                  <a:cubicBezTo>
                    <a:pt x="38" y="7973"/>
                    <a:pt x="38" y="7946"/>
                    <a:pt x="38" y="7918"/>
                  </a:cubicBezTo>
                  <a:lnTo>
                    <a:pt x="38" y="7679"/>
                  </a:lnTo>
                  <a:cubicBezTo>
                    <a:pt x="38" y="7476"/>
                    <a:pt x="47" y="7173"/>
                    <a:pt x="56" y="6804"/>
                  </a:cubicBezTo>
                  <a:cubicBezTo>
                    <a:pt x="74" y="6436"/>
                    <a:pt x="102" y="5994"/>
                    <a:pt x="148" y="5515"/>
                  </a:cubicBezTo>
                  <a:cubicBezTo>
                    <a:pt x="203" y="5028"/>
                    <a:pt x="258" y="4494"/>
                    <a:pt x="369" y="3932"/>
                  </a:cubicBezTo>
                  <a:cubicBezTo>
                    <a:pt x="470" y="3380"/>
                    <a:pt x="590" y="2855"/>
                    <a:pt x="710" y="2385"/>
                  </a:cubicBezTo>
                  <a:cubicBezTo>
                    <a:pt x="838" y="1907"/>
                    <a:pt x="958" y="1483"/>
                    <a:pt x="1078" y="1133"/>
                  </a:cubicBezTo>
                  <a:cubicBezTo>
                    <a:pt x="1188" y="783"/>
                    <a:pt x="1290" y="498"/>
                    <a:pt x="1363" y="305"/>
                  </a:cubicBezTo>
                  <a:lnTo>
                    <a:pt x="1437" y="84"/>
                  </a:lnTo>
                  <a:cubicBezTo>
                    <a:pt x="1455" y="56"/>
                    <a:pt x="1455" y="29"/>
                    <a:pt x="1464"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23" name="Google Shape;3893;p45"/>
            <p:cNvSpPr/>
            <p:nvPr/>
          </p:nvSpPr>
          <p:spPr>
            <a:xfrm>
              <a:off x="4591475" y="4250475"/>
              <a:ext cx="45825" cy="40300"/>
            </a:xfrm>
            <a:custGeom>
              <a:avLst/>
              <a:gdLst/>
              <a:ahLst/>
              <a:cxnLst/>
              <a:rect l="l" t="t" r="r" b="b"/>
              <a:pathLst>
                <a:path w="1833" h="1612" extrusionOk="0">
                  <a:moveTo>
                    <a:pt x="1833" y="1"/>
                  </a:moveTo>
                  <a:cubicBezTo>
                    <a:pt x="1740" y="65"/>
                    <a:pt x="1648" y="139"/>
                    <a:pt x="1556" y="221"/>
                  </a:cubicBezTo>
                  <a:lnTo>
                    <a:pt x="912" y="801"/>
                  </a:lnTo>
                  <a:cubicBezTo>
                    <a:pt x="663" y="1013"/>
                    <a:pt x="442" y="1207"/>
                    <a:pt x="258" y="1363"/>
                  </a:cubicBezTo>
                  <a:cubicBezTo>
                    <a:pt x="166" y="1437"/>
                    <a:pt x="74" y="1520"/>
                    <a:pt x="1" y="1612"/>
                  </a:cubicBezTo>
                  <a:cubicBezTo>
                    <a:pt x="102" y="1556"/>
                    <a:pt x="203" y="1483"/>
                    <a:pt x="295" y="1409"/>
                  </a:cubicBezTo>
                  <a:cubicBezTo>
                    <a:pt x="470" y="1271"/>
                    <a:pt x="700" y="1078"/>
                    <a:pt x="958" y="857"/>
                  </a:cubicBezTo>
                  <a:cubicBezTo>
                    <a:pt x="1216" y="627"/>
                    <a:pt x="1437" y="415"/>
                    <a:pt x="1593" y="258"/>
                  </a:cubicBezTo>
                  <a:cubicBezTo>
                    <a:pt x="1685" y="185"/>
                    <a:pt x="1768" y="93"/>
                    <a:pt x="1833"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24" name="Google Shape;3894;p45"/>
            <p:cNvSpPr/>
            <p:nvPr/>
          </p:nvSpPr>
          <p:spPr>
            <a:xfrm>
              <a:off x="4642575" y="4227450"/>
              <a:ext cx="42825" cy="61725"/>
            </a:xfrm>
            <a:custGeom>
              <a:avLst/>
              <a:gdLst/>
              <a:ahLst/>
              <a:cxnLst/>
              <a:rect l="l" t="t" r="r" b="b"/>
              <a:pathLst>
                <a:path w="1713" h="2469" extrusionOk="0">
                  <a:moveTo>
                    <a:pt x="0" y="1"/>
                  </a:moveTo>
                  <a:lnTo>
                    <a:pt x="0" y="1"/>
                  </a:lnTo>
                  <a:cubicBezTo>
                    <a:pt x="74" y="130"/>
                    <a:pt x="157" y="249"/>
                    <a:pt x="249" y="369"/>
                  </a:cubicBezTo>
                  <a:lnTo>
                    <a:pt x="856" y="1235"/>
                  </a:lnTo>
                  <a:lnTo>
                    <a:pt x="1455" y="2109"/>
                  </a:lnTo>
                  <a:cubicBezTo>
                    <a:pt x="1529" y="2238"/>
                    <a:pt x="1621" y="2358"/>
                    <a:pt x="1713" y="2468"/>
                  </a:cubicBezTo>
                  <a:cubicBezTo>
                    <a:pt x="1657" y="2330"/>
                    <a:pt x="1584" y="2201"/>
                    <a:pt x="1501" y="2082"/>
                  </a:cubicBezTo>
                  <a:cubicBezTo>
                    <a:pt x="1354" y="1851"/>
                    <a:pt x="1151" y="1538"/>
                    <a:pt x="912" y="1198"/>
                  </a:cubicBezTo>
                  <a:cubicBezTo>
                    <a:pt x="682" y="857"/>
                    <a:pt x="451" y="553"/>
                    <a:pt x="286" y="342"/>
                  </a:cubicBezTo>
                  <a:cubicBezTo>
                    <a:pt x="203" y="213"/>
                    <a:pt x="102" y="102"/>
                    <a:pt x="0"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25" name="Google Shape;3895;p45"/>
            <p:cNvSpPr/>
            <p:nvPr/>
          </p:nvSpPr>
          <p:spPr>
            <a:xfrm>
              <a:off x="4587800" y="4167375"/>
              <a:ext cx="72750" cy="46550"/>
            </a:xfrm>
            <a:custGeom>
              <a:avLst/>
              <a:gdLst/>
              <a:ahLst/>
              <a:cxnLst/>
              <a:rect l="l" t="t" r="r" b="b"/>
              <a:pathLst>
                <a:path w="2910" h="1862" extrusionOk="0">
                  <a:moveTo>
                    <a:pt x="2899" y="1"/>
                  </a:moveTo>
                  <a:cubicBezTo>
                    <a:pt x="2862" y="1"/>
                    <a:pt x="2211" y="399"/>
                    <a:pt x="1436" y="903"/>
                  </a:cubicBezTo>
                  <a:cubicBezTo>
                    <a:pt x="635" y="1410"/>
                    <a:pt x="0" y="1842"/>
                    <a:pt x="9" y="1861"/>
                  </a:cubicBezTo>
                  <a:cubicBezTo>
                    <a:pt x="10" y="1861"/>
                    <a:pt x="10" y="1861"/>
                    <a:pt x="11" y="1861"/>
                  </a:cubicBezTo>
                  <a:cubicBezTo>
                    <a:pt x="47" y="1861"/>
                    <a:pt x="690" y="1463"/>
                    <a:pt x="1473" y="959"/>
                  </a:cubicBezTo>
                  <a:cubicBezTo>
                    <a:pt x="2274" y="452"/>
                    <a:pt x="2909" y="20"/>
                    <a:pt x="2900" y="1"/>
                  </a:cubicBezTo>
                  <a:cubicBezTo>
                    <a:pt x="2900" y="1"/>
                    <a:pt x="2899" y="1"/>
                    <a:pt x="2899"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26" name="Google Shape;3896;p45"/>
            <p:cNvSpPr/>
            <p:nvPr/>
          </p:nvSpPr>
          <p:spPr>
            <a:xfrm>
              <a:off x="4658000" y="4170125"/>
              <a:ext cx="47650" cy="45875"/>
            </a:xfrm>
            <a:custGeom>
              <a:avLst/>
              <a:gdLst/>
              <a:ahLst/>
              <a:cxnLst/>
              <a:rect l="l" t="t" r="r" b="b"/>
              <a:pathLst>
                <a:path w="1906" h="1835" extrusionOk="0">
                  <a:moveTo>
                    <a:pt x="11" y="1"/>
                  </a:moveTo>
                  <a:cubicBezTo>
                    <a:pt x="10" y="1"/>
                    <a:pt x="10" y="1"/>
                    <a:pt x="9" y="2"/>
                  </a:cubicBezTo>
                  <a:cubicBezTo>
                    <a:pt x="0" y="11"/>
                    <a:pt x="405" y="434"/>
                    <a:pt x="930" y="941"/>
                  </a:cubicBezTo>
                  <a:cubicBezTo>
                    <a:pt x="1434" y="1436"/>
                    <a:pt x="1859" y="1834"/>
                    <a:pt x="1886" y="1834"/>
                  </a:cubicBezTo>
                  <a:cubicBezTo>
                    <a:pt x="1887" y="1834"/>
                    <a:pt x="1887" y="1834"/>
                    <a:pt x="1887" y="1834"/>
                  </a:cubicBezTo>
                  <a:cubicBezTo>
                    <a:pt x="1906" y="1824"/>
                    <a:pt x="1492" y="1401"/>
                    <a:pt x="976" y="885"/>
                  </a:cubicBezTo>
                  <a:cubicBezTo>
                    <a:pt x="472" y="390"/>
                    <a:pt x="47" y="1"/>
                    <a:pt x="11"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27" name="Google Shape;3897;p45"/>
            <p:cNvSpPr/>
            <p:nvPr/>
          </p:nvSpPr>
          <p:spPr>
            <a:xfrm>
              <a:off x="4716450" y="4114775"/>
              <a:ext cx="201175" cy="100275"/>
            </a:xfrm>
            <a:custGeom>
              <a:avLst/>
              <a:gdLst/>
              <a:ahLst/>
              <a:cxnLst/>
              <a:rect l="l" t="t" r="r" b="b"/>
              <a:pathLst>
                <a:path w="8047" h="4011" extrusionOk="0">
                  <a:moveTo>
                    <a:pt x="3522" y="0"/>
                  </a:moveTo>
                  <a:cubicBezTo>
                    <a:pt x="2841" y="0"/>
                    <a:pt x="2169" y="161"/>
                    <a:pt x="1612" y="540"/>
                  </a:cubicBezTo>
                  <a:cubicBezTo>
                    <a:pt x="562" y="1258"/>
                    <a:pt x="185" y="2740"/>
                    <a:pt x="0" y="4002"/>
                  </a:cubicBezTo>
                  <a:lnTo>
                    <a:pt x="10" y="4011"/>
                  </a:lnTo>
                  <a:lnTo>
                    <a:pt x="553" y="3965"/>
                  </a:lnTo>
                  <a:cubicBezTo>
                    <a:pt x="939" y="3928"/>
                    <a:pt x="1317" y="3817"/>
                    <a:pt x="1658" y="3624"/>
                  </a:cubicBezTo>
                  <a:cubicBezTo>
                    <a:pt x="1823" y="3523"/>
                    <a:pt x="1998" y="3440"/>
                    <a:pt x="2173" y="3357"/>
                  </a:cubicBezTo>
                  <a:cubicBezTo>
                    <a:pt x="2854" y="3090"/>
                    <a:pt x="3609" y="3136"/>
                    <a:pt x="4337" y="3099"/>
                  </a:cubicBezTo>
                  <a:cubicBezTo>
                    <a:pt x="5533" y="3044"/>
                    <a:pt x="6703" y="2740"/>
                    <a:pt x="7780" y="2225"/>
                  </a:cubicBezTo>
                  <a:cubicBezTo>
                    <a:pt x="7844" y="2188"/>
                    <a:pt x="7899" y="2142"/>
                    <a:pt x="7927" y="2087"/>
                  </a:cubicBezTo>
                  <a:cubicBezTo>
                    <a:pt x="8047" y="1875"/>
                    <a:pt x="7835" y="1700"/>
                    <a:pt x="7651" y="1590"/>
                  </a:cubicBezTo>
                  <a:cubicBezTo>
                    <a:pt x="6730" y="1019"/>
                    <a:pt x="5791" y="439"/>
                    <a:pt x="4742" y="163"/>
                  </a:cubicBezTo>
                  <a:cubicBezTo>
                    <a:pt x="4347" y="59"/>
                    <a:pt x="3933" y="0"/>
                    <a:pt x="3522" y="0"/>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28" name="Google Shape;3898;p45"/>
            <p:cNvSpPr/>
            <p:nvPr/>
          </p:nvSpPr>
          <p:spPr>
            <a:xfrm>
              <a:off x="4716900" y="4127700"/>
              <a:ext cx="198200" cy="87825"/>
            </a:xfrm>
            <a:custGeom>
              <a:avLst/>
              <a:gdLst/>
              <a:ahLst/>
              <a:cxnLst/>
              <a:rect l="l" t="t" r="r" b="b"/>
              <a:pathLst>
                <a:path w="7928" h="3513" extrusionOk="0">
                  <a:moveTo>
                    <a:pt x="3759" y="1"/>
                  </a:moveTo>
                  <a:cubicBezTo>
                    <a:pt x="3570" y="1"/>
                    <a:pt x="3382" y="11"/>
                    <a:pt x="3195" y="32"/>
                  </a:cubicBezTo>
                  <a:cubicBezTo>
                    <a:pt x="2533" y="106"/>
                    <a:pt x="1916" y="382"/>
                    <a:pt x="1409" y="806"/>
                  </a:cubicBezTo>
                  <a:cubicBezTo>
                    <a:pt x="1014" y="1174"/>
                    <a:pt x="701" y="1625"/>
                    <a:pt x="489" y="2122"/>
                  </a:cubicBezTo>
                  <a:cubicBezTo>
                    <a:pt x="342" y="2454"/>
                    <a:pt x="213" y="2785"/>
                    <a:pt x="111" y="3135"/>
                  </a:cubicBezTo>
                  <a:cubicBezTo>
                    <a:pt x="75" y="3254"/>
                    <a:pt x="47" y="3346"/>
                    <a:pt x="28" y="3411"/>
                  </a:cubicBezTo>
                  <a:cubicBezTo>
                    <a:pt x="10" y="3448"/>
                    <a:pt x="1" y="3475"/>
                    <a:pt x="1" y="3512"/>
                  </a:cubicBezTo>
                  <a:cubicBezTo>
                    <a:pt x="19" y="3485"/>
                    <a:pt x="28" y="3448"/>
                    <a:pt x="38" y="3420"/>
                  </a:cubicBezTo>
                  <a:cubicBezTo>
                    <a:pt x="65" y="3346"/>
                    <a:pt x="93" y="3254"/>
                    <a:pt x="139" y="3144"/>
                  </a:cubicBezTo>
                  <a:cubicBezTo>
                    <a:pt x="249" y="2803"/>
                    <a:pt x="388" y="2472"/>
                    <a:pt x="535" y="2140"/>
                  </a:cubicBezTo>
                  <a:cubicBezTo>
                    <a:pt x="747" y="1653"/>
                    <a:pt x="1060" y="1220"/>
                    <a:pt x="1446" y="861"/>
                  </a:cubicBezTo>
                  <a:cubicBezTo>
                    <a:pt x="1943" y="437"/>
                    <a:pt x="2560" y="180"/>
                    <a:pt x="3205" y="106"/>
                  </a:cubicBezTo>
                  <a:cubicBezTo>
                    <a:pt x="3398" y="84"/>
                    <a:pt x="3593" y="72"/>
                    <a:pt x="3788" y="72"/>
                  </a:cubicBezTo>
                  <a:cubicBezTo>
                    <a:pt x="4240" y="72"/>
                    <a:pt x="4691" y="134"/>
                    <a:pt x="5129" y="262"/>
                  </a:cubicBezTo>
                  <a:cubicBezTo>
                    <a:pt x="5635" y="410"/>
                    <a:pt x="6132" y="603"/>
                    <a:pt x="6611" y="833"/>
                  </a:cubicBezTo>
                  <a:cubicBezTo>
                    <a:pt x="7025" y="1036"/>
                    <a:pt x="7338" y="1211"/>
                    <a:pt x="7568" y="1330"/>
                  </a:cubicBezTo>
                  <a:cubicBezTo>
                    <a:pt x="7679" y="1386"/>
                    <a:pt x="7762" y="1432"/>
                    <a:pt x="7835" y="1459"/>
                  </a:cubicBezTo>
                  <a:cubicBezTo>
                    <a:pt x="7863" y="1478"/>
                    <a:pt x="7891" y="1496"/>
                    <a:pt x="7927" y="1505"/>
                  </a:cubicBezTo>
                  <a:cubicBezTo>
                    <a:pt x="7900" y="1487"/>
                    <a:pt x="7881" y="1468"/>
                    <a:pt x="7854" y="1450"/>
                  </a:cubicBezTo>
                  <a:lnTo>
                    <a:pt x="7596" y="1303"/>
                  </a:lnTo>
                  <a:cubicBezTo>
                    <a:pt x="7375" y="1174"/>
                    <a:pt x="7062" y="990"/>
                    <a:pt x="6648" y="787"/>
                  </a:cubicBezTo>
                  <a:cubicBezTo>
                    <a:pt x="6169" y="548"/>
                    <a:pt x="5672" y="345"/>
                    <a:pt x="5156" y="198"/>
                  </a:cubicBezTo>
                  <a:cubicBezTo>
                    <a:pt x="4703" y="66"/>
                    <a:pt x="4230" y="1"/>
                    <a:pt x="3759"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29" name="Google Shape;3899;p45"/>
            <p:cNvSpPr/>
            <p:nvPr/>
          </p:nvSpPr>
          <p:spPr>
            <a:xfrm>
              <a:off x="4802750" y="4129650"/>
              <a:ext cx="79675" cy="53425"/>
            </a:xfrm>
            <a:custGeom>
              <a:avLst/>
              <a:gdLst/>
              <a:ahLst/>
              <a:cxnLst/>
              <a:rect l="l" t="t" r="r" b="b"/>
              <a:pathLst>
                <a:path w="3187" h="2137" extrusionOk="0">
                  <a:moveTo>
                    <a:pt x="10" y="0"/>
                  </a:moveTo>
                  <a:cubicBezTo>
                    <a:pt x="10" y="0"/>
                    <a:pt x="10" y="0"/>
                    <a:pt x="10" y="0"/>
                  </a:cubicBezTo>
                  <a:cubicBezTo>
                    <a:pt x="1" y="19"/>
                    <a:pt x="700" y="516"/>
                    <a:pt x="1575" y="1096"/>
                  </a:cubicBezTo>
                  <a:cubicBezTo>
                    <a:pt x="2433" y="1674"/>
                    <a:pt x="3140" y="2137"/>
                    <a:pt x="3176" y="2137"/>
                  </a:cubicBezTo>
                  <a:cubicBezTo>
                    <a:pt x="3176" y="2137"/>
                    <a:pt x="3177" y="2136"/>
                    <a:pt x="3177" y="2136"/>
                  </a:cubicBezTo>
                  <a:cubicBezTo>
                    <a:pt x="3186" y="2118"/>
                    <a:pt x="2486" y="1630"/>
                    <a:pt x="1612" y="1041"/>
                  </a:cubicBezTo>
                  <a:cubicBezTo>
                    <a:pt x="746" y="457"/>
                    <a:pt x="33" y="0"/>
                    <a:pt x="10"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30" name="Google Shape;3900;p45"/>
            <p:cNvSpPr/>
            <p:nvPr/>
          </p:nvSpPr>
          <p:spPr>
            <a:xfrm>
              <a:off x="4836600" y="4127900"/>
              <a:ext cx="28325" cy="3500"/>
            </a:xfrm>
            <a:custGeom>
              <a:avLst/>
              <a:gdLst/>
              <a:ahLst/>
              <a:cxnLst/>
              <a:rect l="l" t="t" r="r" b="b"/>
              <a:pathLst>
                <a:path w="1133" h="140" extrusionOk="0">
                  <a:moveTo>
                    <a:pt x="1107" y="1"/>
                  </a:moveTo>
                  <a:cubicBezTo>
                    <a:pt x="1034" y="1"/>
                    <a:pt x="816" y="29"/>
                    <a:pt x="562" y="52"/>
                  </a:cubicBezTo>
                  <a:cubicBezTo>
                    <a:pt x="249" y="80"/>
                    <a:pt x="0" y="98"/>
                    <a:pt x="0" y="116"/>
                  </a:cubicBezTo>
                  <a:cubicBezTo>
                    <a:pt x="0" y="128"/>
                    <a:pt x="103" y="140"/>
                    <a:pt x="258" y="140"/>
                  </a:cubicBezTo>
                  <a:cubicBezTo>
                    <a:pt x="348" y="140"/>
                    <a:pt x="456" y="136"/>
                    <a:pt x="571" y="126"/>
                  </a:cubicBezTo>
                  <a:cubicBezTo>
                    <a:pt x="764" y="116"/>
                    <a:pt x="948" y="70"/>
                    <a:pt x="1132" y="6"/>
                  </a:cubicBezTo>
                  <a:cubicBezTo>
                    <a:pt x="1132" y="2"/>
                    <a:pt x="1123" y="1"/>
                    <a:pt x="1107"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31" name="Google Shape;3901;p45"/>
            <p:cNvSpPr/>
            <p:nvPr/>
          </p:nvSpPr>
          <p:spPr>
            <a:xfrm>
              <a:off x="4771000" y="4113525"/>
              <a:ext cx="14050" cy="22825"/>
            </a:xfrm>
            <a:custGeom>
              <a:avLst/>
              <a:gdLst/>
              <a:ahLst/>
              <a:cxnLst/>
              <a:rect l="l" t="t" r="r" b="b"/>
              <a:pathLst>
                <a:path w="562" h="913" extrusionOk="0">
                  <a:moveTo>
                    <a:pt x="542" y="1"/>
                  </a:moveTo>
                  <a:cubicBezTo>
                    <a:pt x="519" y="1"/>
                    <a:pt x="384" y="191"/>
                    <a:pt x="240" y="443"/>
                  </a:cubicBezTo>
                  <a:cubicBezTo>
                    <a:pt x="102" y="691"/>
                    <a:pt x="0" y="894"/>
                    <a:pt x="10" y="912"/>
                  </a:cubicBezTo>
                  <a:cubicBezTo>
                    <a:pt x="10" y="913"/>
                    <a:pt x="10" y="913"/>
                    <a:pt x="11" y="913"/>
                  </a:cubicBezTo>
                  <a:cubicBezTo>
                    <a:pt x="34" y="913"/>
                    <a:pt x="169" y="722"/>
                    <a:pt x="313" y="480"/>
                  </a:cubicBezTo>
                  <a:cubicBezTo>
                    <a:pt x="451" y="222"/>
                    <a:pt x="562" y="19"/>
                    <a:pt x="543" y="1"/>
                  </a:cubicBezTo>
                  <a:cubicBezTo>
                    <a:pt x="543" y="1"/>
                    <a:pt x="543" y="1"/>
                    <a:pt x="542"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32" name="Google Shape;3902;p45"/>
            <p:cNvSpPr/>
            <p:nvPr/>
          </p:nvSpPr>
          <p:spPr>
            <a:xfrm>
              <a:off x="4746150" y="4154950"/>
              <a:ext cx="54550" cy="38700"/>
            </a:xfrm>
            <a:custGeom>
              <a:avLst/>
              <a:gdLst/>
              <a:ahLst/>
              <a:cxnLst/>
              <a:rect l="l" t="t" r="r" b="b"/>
              <a:pathLst>
                <a:path w="2182" h="1548" extrusionOk="0">
                  <a:moveTo>
                    <a:pt x="0" y="1"/>
                  </a:moveTo>
                  <a:lnTo>
                    <a:pt x="0" y="1"/>
                  </a:lnTo>
                  <a:cubicBezTo>
                    <a:pt x="83" y="93"/>
                    <a:pt x="184" y="185"/>
                    <a:pt x="295" y="259"/>
                  </a:cubicBezTo>
                  <a:cubicBezTo>
                    <a:pt x="488" y="406"/>
                    <a:pt x="746" y="618"/>
                    <a:pt x="1050" y="830"/>
                  </a:cubicBezTo>
                  <a:cubicBezTo>
                    <a:pt x="1344" y="1050"/>
                    <a:pt x="1630" y="1235"/>
                    <a:pt x="1832" y="1364"/>
                  </a:cubicBezTo>
                  <a:cubicBezTo>
                    <a:pt x="1943" y="1437"/>
                    <a:pt x="2053" y="1492"/>
                    <a:pt x="2182" y="1548"/>
                  </a:cubicBezTo>
                  <a:cubicBezTo>
                    <a:pt x="2081" y="1456"/>
                    <a:pt x="1970" y="1382"/>
                    <a:pt x="1860" y="1317"/>
                  </a:cubicBezTo>
                  <a:cubicBezTo>
                    <a:pt x="1666" y="1179"/>
                    <a:pt x="1390" y="986"/>
                    <a:pt x="1086" y="774"/>
                  </a:cubicBezTo>
                  <a:lnTo>
                    <a:pt x="322" y="213"/>
                  </a:lnTo>
                  <a:cubicBezTo>
                    <a:pt x="221" y="130"/>
                    <a:pt x="111" y="65"/>
                    <a:pt x="0"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33" name="Google Shape;3903;p45"/>
            <p:cNvSpPr/>
            <p:nvPr/>
          </p:nvSpPr>
          <p:spPr>
            <a:xfrm>
              <a:off x="4702875" y="4267225"/>
              <a:ext cx="148700" cy="168775"/>
            </a:xfrm>
            <a:custGeom>
              <a:avLst/>
              <a:gdLst/>
              <a:ahLst/>
              <a:cxnLst/>
              <a:rect l="l" t="t" r="r" b="b"/>
              <a:pathLst>
                <a:path w="5948" h="6751" extrusionOk="0">
                  <a:moveTo>
                    <a:pt x="1840" y="1"/>
                  </a:moveTo>
                  <a:cubicBezTo>
                    <a:pt x="1629" y="1"/>
                    <a:pt x="1441" y="49"/>
                    <a:pt x="1354" y="242"/>
                  </a:cubicBezTo>
                  <a:lnTo>
                    <a:pt x="1354" y="251"/>
                  </a:lnTo>
                  <a:cubicBezTo>
                    <a:pt x="1294" y="235"/>
                    <a:pt x="1233" y="228"/>
                    <a:pt x="1172" y="228"/>
                  </a:cubicBezTo>
                  <a:cubicBezTo>
                    <a:pt x="694" y="228"/>
                    <a:pt x="191" y="679"/>
                    <a:pt x="102" y="1144"/>
                  </a:cubicBezTo>
                  <a:cubicBezTo>
                    <a:pt x="0" y="1678"/>
                    <a:pt x="194" y="2221"/>
                    <a:pt x="424" y="2709"/>
                  </a:cubicBezTo>
                  <a:cubicBezTo>
                    <a:pt x="939" y="3786"/>
                    <a:pt x="1648" y="4790"/>
                    <a:pt x="2587" y="5535"/>
                  </a:cubicBezTo>
                  <a:cubicBezTo>
                    <a:pt x="3517" y="6274"/>
                    <a:pt x="4673" y="6751"/>
                    <a:pt x="5858" y="6751"/>
                  </a:cubicBezTo>
                  <a:cubicBezTo>
                    <a:pt x="5870" y="6751"/>
                    <a:pt x="5881" y="6751"/>
                    <a:pt x="5892" y="6751"/>
                  </a:cubicBezTo>
                  <a:cubicBezTo>
                    <a:pt x="5671" y="5729"/>
                    <a:pt x="5947" y="4652"/>
                    <a:pt x="5828" y="3611"/>
                  </a:cubicBezTo>
                  <a:cubicBezTo>
                    <a:pt x="5607" y="1715"/>
                    <a:pt x="4106" y="233"/>
                    <a:pt x="2210" y="30"/>
                  </a:cubicBezTo>
                  <a:cubicBezTo>
                    <a:pt x="2089" y="17"/>
                    <a:pt x="1961" y="1"/>
                    <a:pt x="1840" y="1"/>
                  </a:cubicBezTo>
                  <a:close/>
                </a:path>
              </a:pathLst>
            </a:custGeom>
            <a:solidFill>
              <a:srgbClr val="407B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34" name="Google Shape;3904;p45"/>
            <p:cNvSpPr/>
            <p:nvPr/>
          </p:nvSpPr>
          <p:spPr>
            <a:xfrm>
              <a:off x="4736700" y="4273250"/>
              <a:ext cx="113725" cy="162750"/>
            </a:xfrm>
            <a:custGeom>
              <a:avLst/>
              <a:gdLst/>
              <a:ahLst/>
              <a:cxnLst/>
              <a:rect l="l" t="t" r="r" b="b"/>
              <a:pathLst>
                <a:path w="4549" h="6510" extrusionOk="0">
                  <a:moveTo>
                    <a:pt x="1" y="1"/>
                  </a:moveTo>
                  <a:lnTo>
                    <a:pt x="1" y="1"/>
                  </a:lnTo>
                  <a:cubicBezTo>
                    <a:pt x="10" y="29"/>
                    <a:pt x="10" y="56"/>
                    <a:pt x="19" y="75"/>
                  </a:cubicBezTo>
                  <a:cubicBezTo>
                    <a:pt x="37" y="157"/>
                    <a:pt x="65" y="231"/>
                    <a:pt x="93" y="305"/>
                  </a:cubicBezTo>
                  <a:cubicBezTo>
                    <a:pt x="194" y="572"/>
                    <a:pt x="323" y="829"/>
                    <a:pt x="489" y="1069"/>
                  </a:cubicBezTo>
                  <a:cubicBezTo>
                    <a:pt x="737" y="1419"/>
                    <a:pt x="1004" y="1750"/>
                    <a:pt x="1308" y="2054"/>
                  </a:cubicBezTo>
                  <a:cubicBezTo>
                    <a:pt x="1639" y="2404"/>
                    <a:pt x="2026" y="2763"/>
                    <a:pt x="2385" y="3186"/>
                  </a:cubicBezTo>
                  <a:cubicBezTo>
                    <a:pt x="2560" y="3389"/>
                    <a:pt x="2716" y="3601"/>
                    <a:pt x="2855" y="3831"/>
                  </a:cubicBezTo>
                  <a:cubicBezTo>
                    <a:pt x="2993" y="4042"/>
                    <a:pt x="3103" y="4263"/>
                    <a:pt x="3204" y="4494"/>
                  </a:cubicBezTo>
                  <a:lnTo>
                    <a:pt x="3490" y="5120"/>
                  </a:lnTo>
                  <a:cubicBezTo>
                    <a:pt x="3573" y="5313"/>
                    <a:pt x="3674" y="5488"/>
                    <a:pt x="3757" y="5653"/>
                  </a:cubicBezTo>
                  <a:cubicBezTo>
                    <a:pt x="3876" y="5911"/>
                    <a:pt x="4051" y="6151"/>
                    <a:pt x="4272" y="6344"/>
                  </a:cubicBezTo>
                  <a:cubicBezTo>
                    <a:pt x="4328" y="6390"/>
                    <a:pt x="4401" y="6436"/>
                    <a:pt x="4466" y="6473"/>
                  </a:cubicBezTo>
                  <a:cubicBezTo>
                    <a:pt x="4493" y="6482"/>
                    <a:pt x="4512" y="6500"/>
                    <a:pt x="4539" y="6510"/>
                  </a:cubicBezTo>
                  <a:cubicBezTo>
                    <a:pt x="4548" y="6500"/>
                    <a:pt x="4438" y="6454"/>
                    <a:pt x="4291" y="6316"/>
                  </a:cubicBezTo>
                  <a:cubicBezTo>
                    <a:pt x="4079" y="6123"/>
                    <a:pt x="3913" y="5884"/>
                    <a:pt x="3803" y="5626"/>
                  </a:cubicBezTo>
                  <a:cubicBezTo>
                    <a:pt x="3720" y="5460"/>
                    <a:pt x="3628" y="5285"/>
                    <a:pt x="3545" y="5092"/>
                  </a:cubicBezTo>
                  <a:cubicBezTo>
                    <a:pt x="3453" y="4899"/>
                    <a:pt x="3361" y="4687"/>
                    <a:pt x="3269" y="4466"/>
                  </a:cubicBezTo>
                  <a:cubicBezTo>
                    <a:pt x="3168" y="4236"/>
                    <a:pt x="3048" y="4006"/>
                    <a:pt x="2919" y="3794"/>
                  </a:cubicBezTo>
                  <a:cubicBezTo>
                    <a:pt x="2781" y="3564"/>
                    <a:pt x="2615" y="3343"/>
                    <a:pt x="2440" y="3140"/>
                  </a:cubicBezTo>
                  <a:cubicBezTo>
                    <a:pt x="2081" y="2717"/>
                    <a:pt x="1695" y="2349"/>
                    <a:pt x="1363" y="2008"/>
                  </a:cubicBezTo>
                  <a:cubicBezTo>
                    <a:pt x="1059" y="1704"/>
                    <a:pt x="783" y="1382"/>
                    <a:pt x="535" y="1041"/>
                  </a:cubicBezTo>
                  <a:cubicBezTo>
                    <a:pt x="369" y="811"/>
                    <a:pt x="231" y="553"/>
                    <a:pt x="120" y="296"/>
                  </a:cubicBezTo>
                  <a:cubicBezTo>
                    <a:pt x="37" y="102"/>
                    <a:pt x="10" y="1"/>
                    <a:pt x="1"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35" name="Google Shape;3905;p45"/>
            <p:cNvSpPr/>
            <p:nvPr/>
          </p:nvSpPr>
          <p:spPr>
            <a:xfrm>
              <a:off x="4782500" y="4356350"/>
              <a:ext cx="16600" cy="58250"/>
            </a:xfrm>
            <a:custGeom>
              <a:avLst/>
              <a:gdLst/>
              <a:ahLst/>
              <a:cxnLst/>
              <a:rect l="l" t="t" r="r" b="b"/>
              <a:pathLst>
                <a:path w="664" h="2330" extrusionOk="0">
                  <a:moveTo>
                    <a:pt x="663" y="0"/>
                  </a:moveTo>
                  <a:cubicBezTo>
                    <a:pt x="599" y="111"/>
                    <a:pt x="553" y="212"/>
                    <a:pt x="516" y="332"/>
                  </a:cubicBezTo>
                  <a:cubicBezTo>
                    <a:pt x="443" y="534"/>
                    <a:pt x="341" y="820"/>
                    <a:pt x="249" y="1142"/>
                  </a:cubicBezTo>
                  <a:cubicBezTo>
                    <a:pt x="157" y="1464"/>
                    <a:pt x="93" y="1759"/>
                    <a:pt x="56" y="1980"/>
                  </a:cubicBezTo>
                  <a:cubicBezTo>
                    <a:pt x="19" y="2090"/>
                    <a:pt x="10" y="2210"/>
                    <a:pt x="1" y="2329"/>
                  </a:cubicBezTo>
                  <a:cubicBezTo>
                    <a:pt x="47" y="2219"/>
                    <a:pt x="83" y="2109"/>
                    <a:pt x="102" y="1989"/>
                  </a:cubicBezTo>
                  <a:cubicBezTo>
                    <a:pt x="157" y="1777"/>
                    <a:pt x="231" y="1483"/>
                    <a:pt x="323" y="1170"/>
                  </a:cubicBezTo>
                  <a:cubicBezTo>
                    <a:pt x="415" y="847"/>
                    <a:pt x="498" y="562"/>
                    <a:pt x="562" y="350"/>
                  </a:cubicBezTo>
                  <a:cubicBezTo>
                    <a:pt x="608" y="240"/>
                    <a:pt x="636" y="120"/>
                    <a:pt x="663"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36" name="Google Shape;3906;p45"/>
            <p:cNvSpPr/>
            <p:nvPr/>
          </p:nvSpPr>
          <p:spPr>
            <a:xfrm>
              <a:off x="4785025" y="4337375"/>
              <a:ext cx="62625" cy="14175"/>
            </a:xfrm>
            <a:custGeom>
              <a:avLst/>
              <a:gdLst/>
              <a:ahLst/>
              <a:cxnLst/>
              <a:rect l="l" t="t" r="r" b="b"/>
              <a:pathLst>
                <a:path w="2505" h="567" extrusionOk="0">
                  <a:moveTo>
                    <a:pt x="92" y="1"/>
                  </a:moveTo>
                  <a:cubicBezTo>
                    <a:pt x="61" y="1"/>
                    <a:pt x="31" y="2"/>
                    <a:pt x="1" y="4"/>
                  </a:cubicBezTo>
                  <a:cubicBezTo>
                    <a:pt x="121" y="41"/>
                    <a:pt x="240" y="69"/>
                    <a:pt x="369" y="87"/>
                  </a:cubicBezTo>
                  <a:cubicBezTo>
                    <a:pt x="599" y="124"/>
                    <a:pt x="912" y="189"/>
                    <a:pt x="1262" y="262"/>
                  </a:cubicBezTo>
                  <a:cubicBezTo>
                    <a:pt x="1603" y="345"/>
                    <a:pt x="1907" y="428"/>
                    <a:pt x="2137" y="483"/>
                  </a:cubicBezTo>
                  <a:cubicBezTo>
                    <a:pt x="2256" y="520"/>
                    <a:pt x="2385" y="548"/>
                    <a:pt x="2505" y="566"/>
                  </a:cubicBezTo>
                  <a:cubicBezTo>
                    <a:pt x="2395" y="511"/>
                    <a:pt x="2275" y="465"/>
                    <a:pt x="2155" y="437"/>
                  </a:cubicBezTo>
                  <a:cubicBezTo>
                    <a:pt x="1934" y="363"/>
                    <a:pt x="1621" y="271"/>
                    <a:pt x="1271" y="198"/>
                  </a:cubicBezTo>
                  <a:cubicBezTo>
                    <a:pt x="922" y="115"/>
                    <a:pt x="609" y="60"/>
                    <a:pt x="378" y="32"/>
                  </a:cubicBezTo>
                  <a:cubicBezTo>
                    <a:pt x="282" y="11"/>
                    <a:pt x="185" y="1"/>
                    <a:pt x="92"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37" name="Google Shape;3907;p45"/>
            <p:cNvSpPr/>
            <p:nvPr/>
          </p:nvSpPr>
          <p:spPr>
            <a:xfrm>
              <a:off x="4734175" y="4302250"/>
              <a:ext cx="17750" cy="67700"/>
            </a:xfrm>
            <a:custGeom>
              <a:avLst/>
              <a:gdLst/>
              <a:ahLst/>
              <a:cxnLst/>
              <a:rect l="l" t="t" r="r" b="b"/>
              <a:pathLst>
                <a:path w="710" h="2708" extrusionOk="0">
                  <a:moveTo>
                    <a:pt x="709" y="1"/>
                  </a:moveTo>
                  <a:lnTo>
                    <a:pt x="709" y="1"/>
                  </a:lnTo>
                  <a:cubicBezTo>
                    <a:pt x="645" y="121"/>
                    <a:pt x="590" y="249"/>
                    <a:pt x="553" y="378"/>
                  </a:cubicBezTo>
                  <a:cubicBezTo>
                    <a:pt x="470" y="618"/>
                    <a:pt x="369" y="958"/>
                    <a:pt x="267" y="1327"/>
                  </a:cubicBezTo>
                  <a:cubicBezTo>
                    <a:pt x="166" y="1704"/>
                    <a:pt x="102" y="2045"/>
                    <a:pt x="56" y="2293"/>
                  </a:cubicBezTo>
                  <a:cubicBezTo>
                    <a:pt x="19" y="2431"/>
                    <a:pt x="0" y="2569"/>
                    <a:pt x="0" y="2708"/>
                  </a:cubicBezTo>
                  <a:cubicBezTo>
                    <a:pt x="46" y="2579"/>
                    <a:pt x="83" y="2441"/>
                    <a:pt x="102" y="2312"/>
                  </a:cubicBezTo>
                  <a:cubicBezTo>
                    <a:pt x="166" y="2063"/>
                    <a:pt x="240" y="1732"/>
                    <a:pt x="341" y="1345"/>
                  </a:cubicBezTo>
                  <a:cubicBezTo>
                    <a:pt x="442" y="968"/>
                    <a:pt x="534" y="636"/>
                    <a:pt x="608" y="397"/>
                  </a:cubicBezTo>
                  <a:cubicBezTo>
                    <a:pt x="645" y="268"/>
                    <a:pt x="682" y="130"/>
                    <a:pt x="709" y="1"/>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38" name="Google Shape;3908;p45"/>
            <p:cNvSpPr/>
            <p:nvPr/>
          </p:nvSpPr>
          <p:spPr>
            <a:xfrm>
              <a:off x="4745000" y="4288825"/>
              <a:ext cx="72750" cy="8025"/>
            </a:xfrm>
            <a:custGeom>
              <a:avLst/>
              <a:gdLst/>
              <a:ahLst/>
              <a:cxnLst/>
              <a:rect l="l" t="t" r="r" b="b"/>
              <a:pathLst>
                <a:path w="2910" h="321" extrusionOk="0">
                  <a:moveTo>
                    <a:pt x="35" y="0"/>
                  </a:moveTo>
                  <a:cubicBezTo>
                    <a:pt x="13" y="0"/>
                    <a:pt x="1" y="2"/>
                    <a:pt x="0" y="4"/>
                  </a:cubicBezTo>
                  <a:cubicBezTo>
                    <a:pt x="0" y="32"/>
                    <a:pt x="654" y="114"/>
                    <a:pt x="1455" y="197"/>
                  </a:cubicBezTo>
                  <a:cubicBezTo>
                    <a:pt x="2151" y="269"/>
                    <a:pt x="2736" y="321"/>
                    <a:pt x="2877" y="321"/>
                  </a:cubicBezTo>
                  <a:cubicBezTo>
                    <a:pt x="2898" y="321"/>
                    <a:pt x="2909" y="319"/>
                    <a:pt x="2909" y="317"/>
                  </a:cubicBezTo>
                  <a:cubicBezTo>
                    <a:pt x="2909" y="289"/>
                    <a:pt x="2265" y="206"/>
                    <a:pt x="1464" y="124"/>
                  </a:cubicBezTo>
                  <a:cubicBezTo>
                    <a:pt x="759" y="52"/>
                    <a:pt x="180" y="0"/>
                    <a:pt x="35" y="0"/>
                  </a:cubicBezTo>
                  <a:close/>
                </a:path>
              </a:pathLst>
            </a:custGeom>
            <a:solidFill>
              <a:srgbClr val="0A1F4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39" name="Google Shape;3909;p45"/>
            <p:cNvSpPr/>
            <p:nvPr/>
          </p:nvSpPr>
          <p:spPr>
            <a:xfrm>
              <a:off x="4549600" y="4493525"/>
              <a:ext cx="256175" cy="1850"/>
            </a:xfrm>
            <a:custGeom>
              <a:avLst/>
              <a:gdLst/>
              <a:ahLst/>
              <a:cxnLst/>
              <a:rect l="l" t="t" r="r" b="b"/>
              <a:pathLst>
                <a:path w="10247" h="74" extrusionOk="0">
                  <a:moveTo>
                    <a:pt x="5128" y="0"/>
                  </a:moveTo>
                  <a:cubicBezTo>
                    <a:pt x="2292" y="0"/>
                    <a:pt x="0" y="19"/>
                    <a:pt x="0" y="37"/>
                  </a:cubicBezTo>
                  <a:cubicBezTo>
                    <a:pt x="0" y="55"/>
                    <a:pt x="2292" y="74"/>
                    <a:pt x="5128" y="74"/>
                  </a:cubicBezTo>
                  <a:cubicBezTo>
                    <a:pt x="7954" y="74"/>
                    <a:pt x="10246" y="65"/>
                    <a:pt x="10246" y="37"/>
                  </a:cubicBezTo>
                  <a:cubicBezTo>
                    <a:pt x="10246" y="19"/>
                    <a:pt x="7954" y="0"/>
                    <a:pt x="5128" y="0"/>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40" name="Google Shape;3910;p45"/>
            <p:cNvSpPr/>
            <p:nvPr/>
          </p:nvSpPr>
          <p:spPr>
            <a:xfrm>
              <a:off x="4593325" y="4567400"/>
              <a:ext cx="172625" cy="1850"/>
            </a:xfrm>
            <a:custGeom>
              <a:avLst/>
              <a:gdLst/>
              <a:ahLst/>
              <a:cxnLst/>
              <a:rect l="l" t="t" r="r" b="b"/>
              <a:pathLst>
                <a:path w="6905" h="74" extrusionOk="0">
                  <a:moveTo>
                    <a:pt x="3452" y="0"/>
                  </a:moveTo>
                  <a:cubicBezTo>
                    <a:pt x="1547" y="0"/>
                    <a:pt x="0" y="19"/>
                    <a:pt x="0" y="37"/>
                  </a:cubicBezTo>
                  <a:cubicBezTo>
                    <a:pt x="0" y="56"/>
                    <a:pt x="1547" y="74"/>
                    <a:pt x="3452" y="74"/>
                  </a:cubicBezTo>
                  <a:cubicBezTo>
                    <a:pt x="5358" y="74"/>
                    <a:pt x="6905" y="56"/>
                    <a:pt x="6905" y="37"/>
                  </a:cubicBezTo>
                  <a:cubicBezTo>
                    <a:pt x="6905" y="19"/>
                    <a:pt x="5358" y="0"/>
                    <a:pt x="3452" y="0"/>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41" name="Google Shape;3911;p45"/>
            <p:cNvSpPr/>
            <p:nvPr/>
          </p:nvSpPr>
          <p:spPr>
            <a:xfrm>
              <a:off x="4594700" y="4577975"/>
              <a:ext cx="172650" cy="1875"/>
            </a:xfrm>
            <a:custGeom>
              <a:avLst/>
              <a:gdLst/>
              <a:ahLst/>
              <a:cxnLst/>
              <a:rect l="l" t="t" r="r" b="b"/>
              <a:pathLst>
                <a:path w="6906" h="75" extrusionOk="0">
                  <a:moveTo>
                    <a:pt x="3453" y="1"/>
                  </a:moveTo>
                  <a:cubicBezTo>
                    <a:pt x="1547" y="1"/>
                    <a:pt x="0" y="19"/>
                    <a:pt x="0" y="38"/>
                  </a:cubicBezTo>
                  <a:cubicBezTo>
                    <a:pt x="0" y="56"/>
                    <a:pt x="1547" y="74"/>
                    <a:pt x="3453" y="74"/>
                  </a:cubicBezTo>
                  <a:cubicBezTo>
                    <a:pt x="5358" y="74"/>
                    <a:pt x="6905" y="56"/>
                    <a:pt x="6905" y="38"/>
                  </a:cubicBezTo>
                  <a:cubicBezTo>
                    <a:pt x="6905" y="19"/>
                    <a:pt x="5358" y="1"/>
                    <a:pt x="3453" y="1"/>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42" name="Google Shape;3912;p45"/>
            <p:cNvSpPr/>
            <p:nvPr/>
          </p:nvSpPr>
          <p:spPr>
            <a:xfrm>
              <a:off x="4588950" y="4558650"/>
              <a:ext cx="178400" cy="1875"/>
            </a:xfrm>
            <a:custGeom>
              <a:avLst/>
              <a:gdLst/>
              <a:ahLst/>
              <a:cxnLst/>
              <a:rect l="l" t="t" r="r" b="b"/>
              <a:pathLst>
                <a:path w="7136" h="75" extrusionOk="0">
                  <a:moveTo>
                    <a:pt x="3572" y="1"/>
                  </a:moveTo>
                  <a:cubicBezTo>
                    <a:pt x="1602" y="1"/>
                    <a:pt x="0" y="19"/>
                    <a:pt x="0" y="37"/>
                  </a:cubicBezTo>
                  <a:cubicBezTo>
                    <a:pt x="0" y="56"/>
                    <a:pt x="1602" y="74"/>
                    <a:pt x="3572" y="74"/>
                  </a:cubicBezTo>
                  <a:cubicBezTo>
                    <a:pt x="5542" y="74"/>
                    <a:pt x="7135" y="56"/>
                    <a:pt x="7135" y="37"/>
                  </a:cubicBezTo>
                  <a:cubicBezTo>
                    <a:pt x="7135" y="19"/>
                    <a:pt x="5542" y="1"/>
                    <a:pt x="3572" y="1"/>
                  </a:cubicBezTo>
                  <a:close/>
                </a:path>
              </a:pathLst>
            </a:custGeom>
            <a:solidFill>
              <a:srgbClr val="879AC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grpSp>
    </p:spTree>
    <p:extLst>
      <p:ext uri="{BB962C8B-B14F-4D97-AF65-F5344CB8AC3E}">
        <p14:creationId xmlns:p14="http://schemas.microsoft.com/office/powerpoint/2010/main" val="248025284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1027973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7" name="think-cell Slide" r:id="rId4" imgW="421" imgH="420" progId="TCLayout.ActiveDocument.1">
                  <p:embed/>
                </p:oleObj>
              </mc:Choice>
              <mc:Fallback>
                <p:oleObj name="think-cell Slide" r:id="rId4" imgW="421" imgH="420" progId="TCLayout.ActiveDocument.1">
                  <p:embed/>
                  <p:pic>
                    <p:nvPicPr>
                      <p:cNvPr id="15" name="Object 1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a:off x="9626488" y="648752"/>
            <a:ext cx="1649812" cy="646331"/>
          </a:xfrm>
          <a:prstGeom prst="rect">
            <a:avLst/>
          </a:prstGeom>
        </p:spPr>
        <p:txBody>
          <a:bodyPr wrap="none">
            <a:spAutoFit/>
          </a:bodyPr>
          <a:lstStyle/>
          <a:p>
            <a:pPr algn="r" rtl="1">
              <a:spcBef>
                <a:spcPts val="0"/>
              </a:spcBef>
              <a:spcAft>
                <a:spcPts val="0"/>
              </a:spcAft>
            </a:pPr>
            <a:r>
              <a:rPr lang="ar-SA" sz="3600" b="1" dirty="0" smtClean="0">
                <a:solidFill>
                  <a:schemeClr val="bg1"/>
                </a:solidFill>
                <a:latin typeface="Arial" panose="020B0604020202020204" pitchFamily="34" charset="0"/>
                <a:cs typeface="+mj-cs"/>
              </a:rPr>
              <a:t>احصائيات</a:t>
            </a:r>
            <a:endParaRPr lang="ar-SA" sz="3600" b="1" dirty="0" smtClean="0">
              <a:solidFill>
                <a:schemeClr val="bg1"/>
              </a:solidFill>
              <a:effectLst/>
              <a:cs typeface="+mj-cs"/>
            </a:endParaRPr>
          </a:p>
        </p:txBody>
      </p:sp>
      <p:sp>
        <p:nvSpPr>
          <p:cNvPr id="4" name="Rectangle 3"/>
          <p:cNvSpPr/>
          <p:nvPr/>
        </p:nvSpPr>
        <p:spPr>
          <a:xfrm>
            <a:off x="4970144" y="2369589"/>
            <a:ext cx="4544609" cy="3406061"/>
          </a:xfrm>
          <a:prstGeom prst="rect">
            <a:avLst/>
          </a:prstGeom>
        </p:spPr>
        <p:txBody>
          <a:bodyPr wrap="square">
            <a:spAutoFit/>
          </a:bodyPr>
          <a:lstStyle/>
          <a:p>
            <a:pPr algn="r" rtl="1">
              <a:spcBef>
                <a:spcPts val="0"/>
              </a:spcBef>
              <a:spcAft>
                <a:spcPts val="1600"/>
              </a:spcAft>
            </a:pPr>
            <a:r>
              <a:rPr lang="ar-SA" b="1" dirty="0" smtClean="0">
                <a:solidFill>
                  <a:schemeClr val="bg1"/>
                </a:solidFill>
                <a:latin typeface="Arial" panose="020B0604020202020204" pitchFamily="34" charset="0"/>
              </a:rPr>
              <a:t>بلغت تقديرات الزيادة في حجم سوق أجهزة وبرمجيات الواقع الافتراضي إلى 16 مليار دولار بحلول عام 2022.</a:t>
            </a:r>
          </a:p>
          <a:p>
            <a:pPr algn="r" rtl="1">
              <a:spcBef>
                <a:spcPts val="0"/>
              </a:spcBef>
              <a:spcAft>
                <a:spcPts val="1600"/>
              </a:spcAft>
            </a:pPr>
            <a:endParaRPr lang="ar-SA" b="1" dirty="0" smtClean="0">
              <a:solidFill>
                <a:schemeClr val="bg1"/>
              </a:solidFill>
              <a:latin typeface="Arial" panose="020B0604020202020204" pitchFamily="34" charset="0"/>
            </a:endParaRPr>
          </a:p>
          <a:p>
            <a:pPr algn="r" rtl="1">
              <a:spcBef>
                <a:spcPts val="0"/>
              </a:spcBef>
              <a:spcAft>
                <a:spcPts val="1600"/>
              </a:spcAft>
            </a:pPr>
            <a:endParaRPr lang="ar-SA" b="1" dirty="0">
              <a:solidFill>
                <a:schemeClr val="bg1"/>
              </a:solidFill>
              <a:latin typeface="Arial" panose="020B0604020202020204" pitchFamily="34" charset="0"/>
            </a:endParaRPr>
          </a:p>
          <a:p>
            <a:pPr algn="r" rtl="1">
              <a:spcBef>
                <a:spcPts val="0"/>
              </a:spcBef>
              <a:spcAft>
                <a:spcPts val="1600"/>
              </a:spcAft>
            </a:pPr>
            <a:endParaRPr lang="ar-SA" b="1" dirty="0" smtClean="0">
              <a:solidFill>
                <a:schemeClr val="bg1"/>
              </a:solidFill>
              <a:latin typeface="Arial" panose="020B0604020202020204" pitchFamily="34" charset="0"/>
            </a:endParaRPr>
          </a:p>
          <a:p>
            <a:pPr algn="r" rtl="1">
              <a:spcBef>
                <a:spcPts val="0"/>
              </a:spcBef>
              <a:spcAft>
                <a:spcPts val="1600"/>
              </a:spcAft>
            </a:pPr>
            <a:r>
              <a:rPr lang="ar-SA" b="1" dirty="0" smtClean="0">
                <a:solidFill>
                  <a:schemeClr val="bg1"/>
                </a:solidFill>
                <a:latin typeface="Arial" panose="020B0604020202020204" pitchFamily="34" charset="0"/>
              </a:rPr>
              <a:t>بلغ حجم السوق العالمي للواقع الافتراضي والواقع المعزز 11.35 مليار دولار في 2017، ومن المتوقع أن يزيد إلى 571.42 مليار دولار بحلول عام 2025، بمعدل نمو سنوي مركب 63.3% من 2018 إلى 2025.</a:t>
            </a:r>
          </a:p>
        </p:txBody>
      </p:sp>
      <p:grpSp>
        <p:nvGrpSpPr>
          <p:cNvPr id="443" name="Google Shape;958;p35"/>
          <p:cNvGrpSpPr/>
          <p:nvPr/>
        </p:nvGrpSpPr>
        <p:grpSpPr>
          <a:xfrm>
            <a:off x="9688048" y="1887311"/>
            <a:ext cx="1668379" cy="1668379"/>
            <a:chOff x="6132600" y="1964350"/>
            <a:chExt cx="2178610" cy="2178610"/>
          </a:xfrm>
        </p:grpSpPr>
        <p:sp>
          <p:nvSpPr>
            <p:cNvPr id="444" name="Google Shape;959;p35"/>
            <p:cNvSpPr/>
            <p:nvPr/>
          </p:nvSpPr>
          <p:spPr>
            <a:xfrm>
              <a:off x="7209140" y="2206329"/>
              <a:ext cx="25496" cy="68034"/>
            </a:xfrm>
            <a:custGeom>
              <a:avLst/>
              <a:gdLst/>
              <a:ahLst/>
              <a:cxnLst/>
              <a:rect l="l" t="t" r="r" b="b"/>
              <a:pathLst>
                <a:path w="564" h="1505" extrusionOk="0">
                  <a:moveTo>
                    <a:pt x="0" y="1"/>
                  </a:moveTo>
                  <a:lnTo>
                    <a:pt x="0" y="1504"/>
                  </a:lnTo>
                  <a:lnTo>
                    <a:pt x="563" y="1504"/>
                  </a:lnTo>
                  <a:lnTo>
                    <a:pt x="563"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960;p35"/>
            <p:cNvSpPr/>
            <p:nvPr/>
          </p:nvSpPr>
          <p:spPr>
            <a:xfrm>
              <a:off x="7135231" y="2207956"/>
              <a:ext cx="31417" cy="70384"/>
            </a:xfrm>
            <a:custGeom>
              <a:avLst/>
              <a:gdLst/>
              <a:ahLst/>
              <a:cxnLst/>
              <a:rect l="l" t="t" r="r" b="b"/>
              <a:pathLst>
                <a:path w="695" h="1557" extrusionOk="0">
                  <a:moveTo>
                    <a:pt x="563" y="0"/>
                  </a:moveTo>
                  <a:lnTo>
                    <a:pt x="0" y="53"/>
                  </a:lnTo>
                  <a:lnTo>
                    <a:pt x="132" y="1556"/>
                  </a:lnTo>
                  <a:lnTo>
                    <a:pt x="695" y="1503"/>
                  </a:lnTo>
                  <a:lnTo>
                    <a:pt x="563"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961;p35"/>
            <p:cNvSpPr/>
            <p:nvPr/>
          </p:nvSpPr>
          <p:spPr>
            <a:xfrm>
              <a:off x="7062090" y="2217494"/>
              <a:ext cx="37023" cy="71560"/>
            </a:xfrm>
            <a:custGeom>
              <a:avLst/>
              <a:gdLst/>
              <a:ahLst/>
              <a:cxnLst/>
              <a:rect l="l" t="t" r="r" b="b"/>
              <a:pathLst>
                <a:path w="819" h="1583" extrusionOk="0">
                  <a:moveTo>
                    <a:pt x="555" y="0"/>
                  </a:moveTo>
                  <a:lnTo>
                    <a:pt x="1" y="97"/>
                  </a:lnTo>
                  <a:lnTo>
                    <a:pt x="264" y="1582"/>
                  </a:lnTo>
                  <a:lnTo>
                    <a:pt x="818" y="1486"/>
                  </a:lnTo>
                  <a:lnTo>
                    <a:pt x="555"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962;p35"/>
            <p:cNvSpPr/>
            <p:nvPr/>
          </p:nvSpPr>
          <p:spPr>
            <a:xfrm>
              <a:off x="6990170" y="2231372"/>
              <a:ext cx="42176" cy="72373"/>
            </a:xfrm>
            <a:custGeom>
              <a:avLst/>
              <a:gdLst/>
              <a:ahLst/>
              <a:cxnLst/>
              <a:rect l="l" t="t" r="r" b="b"/>
              <a:pathLst>
                <a:path w="933" h="1601" extrusionOk="0">
                  <a:moveTo>
                    <a:pt x="546" y="1"/>
                  </a:moveTo>
                  <a:lnTo>
                    <a:pt x="0" y="150"/>
                  </a:lnTo>
                  <a:lnTo>
                    <a:pt x="396" y="1601"/>
                  </a:lnTo>
                  <a:lnTo>
                    <a:pt x="932" y="1460"/>
                  </a:lnTo>
                  <a:lnTo>
                    <a:pt x="546"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963;p35"/>
            <p:cNvSpPr/>
            <p:nvPr/>
          </p:nvSpPr>
          <p:spPr>
            <a:xfrm>
              <a:off x="7344255" y="2216680"/>
              <a:ext cx="37023" cy="71560"/>
            </a:xfrm>
            <a:custGeom>
              <a:avLst/>
              <a:gdLst/>
              <a:ahLst/>
              <a:cxnLst/>
              <a:rect l="l" t="t" r="r" b="b"/>
              <a:pathLst>
                <a:path w="819" h="1583" extrusionOk="0">
                  <a:moveTo>
                    <a:pt x="264" y="0"/>
                  </a:moveTo>
                  <a:lnTo>
                    <a:pt x="0" y="1486"/>
                  </a:lnTo>
                  <a:lnTo>
                    <a:pt x="554" y="1583"/>
                  </a:lnTo>
                  <a:lnTo>
                    <a:pt x="818" y="97"/>
                  </a:lnTo>
                  <a:lnTo>
                    <a:pt x="264"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964;p35"/>
            <p:cNvSpPr/>
            <p:nvPr/>
          </p:nvSpPr>
          <p:spPr>
            <a:xfrm>
              <a:off x="7277489" y="2208724"/>
              <a:ext cx="31463" cy="69977"/>
            </a:xfrm>
            <a:custGeom>
              <a:avLst/>
              <a:gdLst/>
              <a:ahLst/>
              <a:cxnLst/>
              <a:rect l="l" t="t" r="r" b="b"/>
              <a:pathLst>
                <a:path w="696" h="1548" extrusionOk="0">
                  <a:moveTo>
                    <a:pt x="132" y="1"/>
                  </a:moveTo>
                  <a:lnTo>
                    <a:pt x="1" y="1495"/>
                  </a:lnTo>
                  <a:lnTo>
                    <a:pt x="563" y="1548"/>
                  </a:lnTo>
                  <a:lnTo>
                    <a:pt x="695" y="45"/>
                  </a:lnTo>
                  <a:lnTo>
                    <a:pt x="132"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0" name="Google Shape;965;p35"/>
            <p:cNvGrpSpPr/>
            <p:nvPr/>
          </p:nvGrpSpPr>
          <p:grpSpPr>
            <a:xfrm>
              <a:off x="6132600" y="1964350"/>
              <a:ext cx="2178610" cy="2178610"/>
              <a:chOff x="6132600" y="1964350"/>
              <a:chExt cx="2178610" cy="2178610"/>
            </a:xfrm>
          </p:grpSpPr>
          <p:sp>
            <p:nvSpPr>
              <p:cNvPr id="451" name="Google Shape;966;p35"/>
              <p:cNvSpPr/>
              <p:nvPr/>
            </p:nvSpPr>
            <p:spPr>
              <a:xfrm>
                <a:off x="6132600" y="1964350"/>
                <a:ext cx="2178610" cy="2178610"/>
              </a:xfrm>
              <a:custGeom>
                <a:avLst/>
                <a:gdLst/>
                <a:ahLst/>
                <a:cxnLst/>
                <a:rect l="l" t="t" r="r" b="b"/>
                <a:pathLst>
                  <a:path w="48194" h="48194" extrusionOk="0">
                    <a:moveTo>
                      <a:pt x="24097" y="0"/>
                    </a:moveTo>
                    <a:lnTo>
                      <a:pt x="24097" y="24097"/>
                    </a:lnTo>
                    <a:lnTo>
                      <a:pt x="0" y="24097"/>
                    </a:lnTo>
                    <a:cubicBezTo>
                      <a:pt x="0" y="37407"/>
                      <a:pt x="10787" y="48194"/>
                      <a:pt x="24097" y="48194"/>
                    </a:cubicBezTo>
                    <a:cubicBezTo>
                      <a:pt x="37407" y="48194"/>
                      <a:pt x="48194" y="37407"/>
                      <a:pt x="48194" y="24097"/>
                    </a:cubicBezTo>
                    <a:cubicBezTo>
                      <a:pt x="48194" y="10787"/>
                      <a:pt x="37407" y="0"/>
                      <a:pt x="24097" y="0"/>
                    </a:cubicBezTo>
                    <a:close/>
                  </a:path>
                </a:pathLst>
              </a:custGeom>
              <a:solidFill>
                <a:srgbClr val="4DFFFF">
                  <a:alpha val="3077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2" name="Google Shape;967;p35"/>
              <p:cNvSpPr/>
              <p:nvPr/>
            </p:nvSpPr>
            <p:spPr>
              <a:xfrm>
                <a:off x="6235123" y="2066873"/>
                <a:ext cx="1973560" cy="1973560"/>
              </a:xfrm>
              <a:custGeom>
                <a:avLst/>
                <a:gdLst/>
                <a:ahLst/>
                <a:cxnLst/>
                <a:rect l="l" t="t" r="r" b="b"/>
                <a:pathLst>
                  <a:path w="43658" h="43658" extrusionOk="0">
                    <a:moveTo>
                      <a:pt x="21829" y="563"/>
                    </a:moveTo>
                    <a:cubicBezTo>
                      <a:pt x="33556" y="563"/>
                      <a:pt x="43095" y="10101"/>
                      <a:pt x="43095" y="21829"/>
                    </a:cubicBezTo>
                    <a:cubicBezTo>
                      <a:pt x="43095" y="33556"/>
                      <a:pt x="33556" y="43095"/>
                      <a:pt x="21829" y="43095"/>
                    </a:cubicBezTo>
                    <a:cubicBezTo>
                      <a:pt x="10101" y="43095"/>
                      <a:pt x="563" y="33556"/>
                      <a:pt x="563" y="21829"/>
                    </a:cubicBezTo>
                    <a:cubicBezTo>
                      <a:pt x="563" y="10101"/>
                      <a:pt x="10101" y="563"/>
                      <a:pt x="21829" y="563"/>
                    </a:cubicBezTo>
                    <a:close/>
                    <a:moveTo>
                      <a:pt x="21829" y="0"/>
                    </a:moveTo>
                    <a:cubicBezTo>
                      <a:pt x="9794" y="0"/>
                      <a:pt x="0" y="9794"/>
                      <a:pt x="0" y="21829"/>
                    </a:cubicBezTo>
                    <a:cubicBezTo>
                      <a:pt x="0" y="33864"/>
                      <a:pt x="9794" y="43657"/>
                      <a:pt x="21829" y="43657"/>
                    </a:cubicBezTo>
                    <a:cubicBezTo>
                      <a:pt x="33864" y="43657"/>
                      <a:pt x="43657" y="33864"/>
                      <a:pt x="43657" y="21829"/>
                    </a:cubicBezTo>
                    <a:cubicBezTo>
                      <a:pt x="43657" y="9794"/>
                      <a:pt x="33864" y="0"/>
                      <a:pt x="21829" y="0"/>
                    </a:cubicBez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3" name="Google Shape;968;p35"/>
              <p:cNvSpPr/>
              <p:nvPr/>
            </p:nvSpPr>
            <p:spPr>
              <a:xfrm>
                <a:off x="6434203" y="2323182"/>
                <a:ext cx="1518165" cy="1460574"/>
              </a:xfrm>
              <a:custGeom>
                <a:avLst/>
                <a:gdLst/>
                <a:ahLst/>
                <a:cxnLst/>
                <a:rect l="l" t="t" r="r" b="b"/>
                <a:pathLst>
                  <a:path w="33584" h="32310" extrusionOk="0">
                    <a:moveTo>
                      <a:pt x="17425" y="696"/>
                    </a:moveTo>
                    <a:cubicBezTo>
                      <a:pt x="19418" y="696"/>
                      <a:pt x="21428" y="1081"/>
                      <a:pt x="23341" y="1873"/>
                    </a:cubicBezTo>
                    <a:cubicBezTo>
                      <a:pt x="29126" y="4264"/>
                      <a:pt x="32889" y="9908"/>
                      <a:pt x="32889" y="16159"/>
                    </a:cubicBezTo>
                    <a:cubicBezTo>
                      <a:pt x="32889" y="24704"/>
                      <a:pt x="25970" y="31623"/>
                      <a:pt x="17425" y="31623"/>
                    </a:cubicBezTo>
                    <a:cubicBezTo>
                      <a:pt x="11165" y="31623"/>
                      <a:pt x="5530" y="27860"/>
                      <a:pt x="3139" y="22075"/>
                    </a:cubicBezTo>
                    <a:cubicBezTo>
                      <a:pt x="739" y="16299"/>
                      <a:pt x="2066" y="9644"/>
                      <a:pt x="6488" y="5223"/>
                    </a:cubicBezTo>
                    <a:cubicBezTo>
                      <a:pt x="9446" y="2265"/>
                      <a:pt x="13402" y="696"/>
                      <a:pt x="17425" y="696"/>
                    </a:cubicBezTo>
                    <a:close/>
                    <a:moveTo>
                      <a:pt x="17425" y="1"/>
                    </a:moveTo>
                    <a:cubicBezTo>
                      <a:pt x="10893" y="1"/>
                      <a:pt x="5003" y="3939"/>
                      <a:pt x="2497" y="9970"/>
                    </a:cubicBezTo>
                    <a:cubicBezTo>
                      <a:pt x="1" y="16009"/>
                      <a:pt x="1381" y="22954"/>
                      <a:pt x="6005" y="27579"/>
                    </a:cubicBezTo>
                    <a:cubicBezTo>
                      <a:pt x="9092" y="30666"/>
                      <a:pt x="13226" y="32310"/>
                      <a:pt x="17430" y="32310"/>
                    </a:cubicBezTo>
                    <a:cubicBezTo>
                      <a:pt x="19511" y="32310"/>
                      <a:pt x="21608" y="31907"/>
                      <a:pt x="23605" y="31077"/>
                    </a:cubicBezTo>
                    <a:cubicBezTo>
                      <a:pt x="29645" y="28581"/>
                      <a:pt x="33583" y="22691"/>
                      <a:pt x="33583" y="16159"/>
                    </a:cubicBezTo>
                    <a:cubicBezTo>
                      <a:pt x="33583" y="7236"/>
                      <a:pt x="26348" y="1"/>
                      <a:pt x="17425" y="1"/>
                    </a:cubicBez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4" name="Google Shape;969;p35"/>
              <p:cNvSpPr/>
              <p:nvPr/>
            </p:nvSpPr>
            <p:spPr>
              <a:xfrm>
                <a:off x="6361876" y="2193626"/>
                <a:ext cx="1720005" cy="1720005"/>
              </a:xfrm>
              <a:custGeom>
                <a:avLst/>
                <a:gdLst/>
                <a:ahLst/>
                <a:cxnLst/>
                <a:rect l="l" t="t" r="r" b="b"/>
                <a:pathLst>
                  <a:path w="38049" h="38049" extrusionOk="0">
                    <a:moveTo>
                      <a:pt x="19025" y="563"/>
                    </a:moveTo>
                    <a:cubicBezTo>
                      <a:pt x="29205" y="563"/>
                      <a:pt x="37486" y="8845"/>
                      <a:pt x="37486" y="19025"/>
                    </a:cubicBezTo>
                    <a:cubicBezTo>
                      <a:pt x="37486" y="29205"/>
                      <a:pt x="29205" y="37486"/>
                      <a:pt x="19025" y="37486"/>
                    </a:cubicBezTo>
                    <a:cubicBezTo>
                      <a:pt x="8845" y="37486"/>
                      <a:pt x="563" y="29205"/>
                      <a:pt x="563" y="19025"/>
                    </a:cubicBezTo>
                    <a:cubicBezTo>
                      <a:pt x="563" y="8845"/>
                      <a:pt x="8845" y="563"/>
                      <a:pt x="19025" y="563"/>
                    </a:cubicBezTo>
                    <a:close/>
                    <a:moveTo>
                      <a:pt x="19025" y="1"/>
                    </a:moveTo>
                    <a:cubicBezTo>
                      <a:pt x="8537" y="1"/>
                      <a:pt x="1" y="8537"/>
                      <a:pt x="1" y="19025"/>
                    </a:cubicBezTo>
                    <a:cubicBezTo>
                      <a:pt x="1" y="29513"/>
                      <a:pt x="8537" y="38049"/>
                      <a:pt x="19025" y="38049"/>
                    </a:cubicBezTo>
                    <a:cubicBezTo>
                      <a:pt x="29513" y="38049"/>
                      <a:pt x="38049" y="29513"/>
                      <a:pt x="38049" y="19025"/>
                    </a:cubicBezTo>
                    <a:cubicBezTo>
                      <a:pt x="38049" y="8537"/>
                      <a:pt x="29513" y="1"/>
                      <a:pt x="19025" y="1"/>
                    </a:cubicBez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5" name="Google Shape;970;p35"/>
              <p:cNvSpPr/>
              <p:nvPr/>
            </p:nvSpPr>
            <p:spPr>
              <a:xfrm>
                <a:off x="6429818" y="2261568"/>
                <a:ext cx="1584119" cy="1584119"/>
              </a:xfrm>
              <a:custGeom>
                <a:avLst/>
                <a:gdLst/>
                <a:ahLst/>
                <a:cxnLst/>
                <a:rect l="l" t="t" r="r" b="b"/>
                <a:pathLst>
                  <a:path w="35043" h="35043" extrusionOk="0">
                    <a:moveTo>
                      <a:pt x="17522" y="564"/>
                    </a:moveTo>
                    <a:cubicBezTo>
                      <a:pt x="26876" y="564"/>
                      <a:pt x="34480" y="8168"/>
                      <a:pt x="34480" y="17522"/>
                    </a:cubicBezTo>
                    <a:cubicBezTo>
                      <a:pt x="34480" y="26876"/>
                      <a:pt x="26876" y="34480"/>
                      <a:pt x="17522" y="34480"/>
                    </a:cubicBezTo>
                    <a:cubicBezTo>
                      <a:pt x="8168" y="34480"/>
                      <a:pt x="563" y="26876"/>
                      <a:pt x="563" y="17522"/>
                    </a:cubicBezTo>
                    <a:cubicBezTo>
                      <a:pt x="563" y="8168"/>
                      <a:pt x="8168" y="564"/>
                      <a:pt x="17522" y="564"/>
                    </a:cubicBezTo>
                    <a:close/>
                    <a:moveTo>
                      <a:pt x="17522" y="1"/>
                    </a:moveTo>
                    <a:cubicBezTo>
                      <a:pt x="7860" y="1"/>
                      <a:pt x="1" y="7860"/>
                      <a:pt x="1" y="17522"/>
                    </a:cubicBezTo>
                    <a:cubicBezTo>
                      <a:pt x="1" y="27183"/>
                      <a:pt x="7860" y="35043"/>
                      <a:pt x="17522" y="35043"/>
                    </a:cubicBezTo>
                    <a:cubicBezTo>
                      <a:pt x="27183" y="35043"/>
                      <a:pt x="35043" y="27183"/>
                      <a:pt x="35043" y="17522"/>
                    </a:cubicBezTo>
                    <a:cubicBezTo>
                      <a:pt x="35043" y="7860"/>
                      <a:pt x="27183" y="1"/>
                      <a:pt x="17522" y="1"/>
                    </a:cubicBez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6" name="Google Shape;971;p35"/>
              <p:cNvSpPr/>
              <p:nvPr/>
            </p:nvSpPr>
            <p:spPr>
              <a:xfrm>
                <a:off x="7209140" y="3832914"/>
                <a:ext cx="25496" cy="67988"/>
              </a:xfrm>
              <a:custGeom>
                <a:avLst/>
                <a:gdLst/>
                <a:ahLst/>
                <a:cxnLst/>
                <a:rect l="l" t="t" r="r" b="b"/>
                <a:pathLst>
                  <a:path w="564" h="1504" extrusionOk="0">
                    <a:moveTo>
                      <a:pt x="0" y="0"/>
                    </a:moveTo>
                    <a:lnTo>
                      <a:pt x="0" y="1504"/>
                    </a:lnTo>
                    <a:lnTo>
                      <a:pt x="563" y="1504"/>
                    </a:lnTo>
                    <a:lnTo>
                      <a:pt x="563"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972;p35"/>
              <p:cNvSpPr/>
              <p:nvPr/>
            </p:nvSpPr>
            <p:spPr>
              <a:xfrm>
                <a:off x="7277082" y="3828529"/>
                <a:ext cx="31463" cy="69977"/>
              </a:xfrm>
              <a:custGeom>
                <a:avLst/>
                <a:gdLst/>
                <a:ahLst/>
                <a:cxnLst/>
                <a:rect l="l" t="t" r="r" b="b"/>
                <a:pathLst>
                  <a:path w="696" h="1548" extrusionOk="0">
                    <a:moveTo>
                      <a:pt x="563" y="1"/>
                    </a:moveTo>
                    <a:lnTo>
                      <a:pt x="1" y="53"/>
                    </a:lnTo>
                    <a:lnTo>
                      <a:pt x="133" y="1548"/>
                    </a:lnTo>
                    <a:lnTo>
                      <a:pt x="695" y="1504"/>
                    </a:lnTo>
                    <a:lnTo>
                      <a:pt x="563"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8" name="Google Shape;973;p35"/>
              <p:cNvSpPr/>
              <p:nvPr/>
            </p:nvSpPr>
            <p:spPr>
              <a:xfrm>
                <a:off x="7344662" y="3819398"/>
                <a:ext cx="36978" cy="71198"/>
              </a:xfrm>
              <a:custGeom>
                <a:avLst/>
                <a:gdLst/>
                <a:ahLst/>
                <a:cxnLst/>
                <a:rect l="l" t="t" r="r" b="b"/>
                <a:pathLst>
                  <a:path w="818" h="1575" extrusionOk="0">
                    <a:moveTo>
                      <a:pt x="554" y="0"/>
                    </a:moveTo>
                    <a:lnTo>
                      <a:pt x="0" y="97"/>
                    </a:lnTo>
                    <a:lnTo>
                      <a:pt x="264" y="1574"/>
                    </a:lnTo>
                    <a:lnTo>
                      <a:pt x="818" y="1477"/>
                    </a:lnTo>
                    <a:lnTo>
                      <a:pt x="554"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9" name="Google Shape;974;p35"/>
              <p:cNvSpPr/>
              <p:nvPr/>
            </p:nvSpPr>
            <p:spPr>
              <a:xfrm>
                <a:off x="7411429" y="3803124"/>
                <a:ext cx="42176" cy="72373"/>
              </a:xfrm>
              <a:custGeom>
                <a:avLst/>
                <a:gdLst/>
                <a:ahLst/>
                <a:cxnLst/>
                <a:rect l="l" t="t" r="r" b="b"/>
                <a:pathLst>
                  <a:path w="933" h="1601" extrusionOk="0">
                    <a:moveTo>
                      <a:pt x="536" y="0"/>
                    </a:moveTo>
                    <a:lnTo>
                      <a:pt x="0" y="149"/>
                    </a:lnTo>
                    <a:lnTo>
                      <a:pt x="387" y="1600"/>
                    </a:lnTo>
                    <a:lnTo>
                      <a:pt x="932" y="1451"/>
                    </a:lnTo>
                    <a:lnTo>
                      <a:pt x="536"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975;p35"/>
              <p:cNvSpPr/>
              <p:nvPr/>
            </p:nvSpPr>
            <p:spPr>
              <a:xfrm>
                <a:off x="6920239" y="2253657"/>
                <a:ext cx="46923" cy="72373"/>
              </a:xfrm>
              <a:custGeom>
                <a:avLst/>
                <a:gdLst/>
                <a:ahLst/>
                <a:cxnLst/>
                <a:rect l="l" t="t" r="r" b="b"/>
                <a:pathLst>
                  <a:path w="1038" h="1601" extrusionOk="0">
                    <a:moveTo>
                      <a:pt x="528" y="0"/>
                    </a:moveTo>
                    <a:lnTo>
                      <a:pt x="0" y="185"/>
                    </a:lnTo>
                    <a:lnTo>
                      <a:pt x="510" y="1600"/>
                    </a:lnTo>
                    <a:lnTo>
                      <a:pt x="1038" y="1407"/>
                    </a:lnTo>
                    <a:lnTo>
                      <a:pt x="528"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976;p35"/>
              <p:cNvSpPr/>
              <p:nvPr/>
            </p:nvSpPr>
            <p:spPr>
              <a:xfrm>
                <a:off x="7476568" y="3781246"/>
                <a:ext cx="46968" cy="72373"/>
              </a:xfrm>
              <a:custGeom>
                <a:avLst/>
                <a:gdLst/>
                <a:ahLst/>
                <a:cxnLst/>
                <a:rect l="l" t="t" r="r" b="b"/>
                <a:pathLst>
                  <a:path w="1039" h="1601" extrusionOk="0">
                    <a:moveTo>
                      <a:pt x="528" y="1"/>
                    </a:moveTo>
                    <a:lnTo>
                      <a:pt x="1" y="194"/>
                    </a:lnTo>
                    <a:lnTo>
                      <a:pt x="511" y="1601"/>
                    </a:lnTo>
                    <a:lnTo>
                      <a:pt x="1038" y="1416"/>
                    </a:lnTo>
                    <a:lnTo>
                      <a:pt x="528"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977;p35"/>
              <p:cNvSpPr/>
              <p:nvPr/>
            </p:nvSpPr>
            <p:spPr>
              <a:xfrm>
                <a:off x="6852252" y="2280283"/>
                <a:ext cx="51715" cy="72373"/>
              </a:xfrm>
              <a:custGeom>
                <a:avLst/>
                <a:gdLst/>
                <a:ahLst/>
                <a:cxnLst/>
                <a:rect l="l" t="t" r="r" b="b"/>
                <a:pathLst>
                  <a:path w="1144" h="1601" extrusionOk="0">
                    <a:moveTo>
                      <a:pt x="511" y="0"/>
                    </a:moveTo>
                    <a:lnTo>
                      <a:pt x="1" y="237"/>
                    </a:lnTo>
                    <a:lnTo>
                      <a:pt x="634" y="1600"/>
                    </a:lnTo>
                    <a:lnTo>
                      <a:pt x="1144" y="1363"/>
                    </a:lnTo>
                    <a:lnTo>
                      <a:pt x="511"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978;p35"/>
              <p:cNvSpPr/>
              <p:nvPr/>
            </p:nvSpPr>
            <p:spPr>
              <a:xfrm>
                <a:off x="7539764" y="3755434"/>
                <a:ext cx="51715" cy="72373"/>
              </a:xfrm>
              <a:custGeom>
                <a:avLst/>
                <a:gdLst/>
                <a:ahLst/>
                <a:cxnLst/>
                <a:rect l="l" t="t" r="r" b="b"/>
                <a:pathLst>
                  <a:path w="1144" h="1601" extrusionOk="0">
                    <a:moveTo>
                      <a:pt x="511" y="0"/>
                    </a:moveTo>
                    <a:lnTo>
                      <a:pt x="1" y="237"/>
                    </a:lnTo>
                    <a:lnTo>
                      <a:pt x="634" y="1600"/>
                    </a:lnTo>
                    <a:lnTo>
                      <a:pt x="1144" y="1363"/>
                    </a:lnTo>
                    <a:lnTo>
                      <a:pt x="511"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979;p35"/>
              <p:cNvSpPr/>
              <p:nvPr/>
            </p:nvSpPr>
            <p:spPr>
              <a:xfrm>
                <a:off x="6787474" y="2314050"/>
                <a:ext cx="55693" cy="71560"/>
              </a:xfrm>
              <a:custGeom>
                <a:avLst/>
                <a:gdLst/>
                <a:ahLst/>
                <a:cxnLst/>
                <a:rect l="l" t="t" r="r" b="b"/>
                <a:pathLst>
                  <a:path w="1232" h="1583" extrusionOk="0">
                    <a:moveTo>
                      <a:pt x="484" y="0"/>
                    </a:moveTo>
                    <a:lnTo>
                      <a:pt x="1" y="282"/>
                    </a:lnTo>
                    <a:lnTo>
                      <a:pt x="748" y="1583"/>
                    </a:lnTo>
                    <a:lnTo>
                      <a:pt x="1232" y="1301"/>
                    </a:lnTo>
                    <a:lnTo>
                      <a:pt x="484"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980;p35"/>
              <p:cNvSpPr/>
              <p:nvPr/>
            </p:nvSpPr>
            <p:spPr>
              <a:xfrm>
                <a:off x="7600564" y="3722028"/>
                <a:ext cx="56099" cy="71605"/>
              </a:xfrm>
              <a:custGeom>
                <a:avLst/>
                <a:gdLst/>
                <a:ahLst/>
                <a:cxnLst/>
                <a:rect l="l" t="t" r="r" b="b"/>
                <a:pathLst>
                  <a:path w="1241" h="1584" extrusionOk="0">
                    <a:moveTo>
                      <a:pt x="484" y="1"/>
                    </a:moveTo>
                    <a:lnTo>
                      <a:pt x="1" y="282"/>
                    </a:lnTo>
                    <a:lnTo>
                      <a:pt x="748" y="1583"/>
                    </a:lnTo>
                    <a:lnTo>
                      <a:pt x="1240" y="1302"/>
                    </a:lnTo>
                    <a:lnTo>
                      <a:pt x="484"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981;p35"/>
              <p:cNvSpPr/>
              <p:nvPr/>
            </p:nvSpPr>
            <p:spPr>
              <a:xfrm>
                <a:off x="6725499" y="2352203"/>
                <a:ext cx="59671" cy="70384"/>
              </a:xfrm>
              <a:custGeom>
                <a:avLst/>
                <a:gdLst/>
                <a:ahLst/>
                <a:cxnLst/>
                <a:rect l="l" t="t" r="r" b="b"/>
                <a:pathLst>
                  <a:path w="1320" h="1557" extrusionOk="0">
                    <a:moveTo>
                      <a:pt x="458" y="0"/>
                    </a:moveTo>
                    <a:lnTo>
                      <a:pt x="1" y="326"/>
                    </a:lnTo>
                    <a:lnTo>
                      <a:pt x="862" y="1556"/>
                    </a:lnTo>
                    <a:lnTo>
                      <a:pt x="1319" y="1240"/>
                    </a:lnTo>
                    <a:lnTo>
                      <a:pt x="458"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982;p35"/>
              <p:cNvSpPr/>
              <p:nvPr/>
            </p:nvSpPr>
            <p:spPr>
              <a:xfrm>
                <a:off x="7658606" y="3685458"/>
                <a:ext cx="59625" cy="70384"/>
              </a:xfrm>
              <a:custGeom>
                <a:avLst/>
                <a:gdLst/>
                <a:ahLst/>
                <a:cxnLst/>
                <a:rect l="l" t="t" r="r" b="b"/>
                <a:pathLst>
                  <a:path w="1319" h="1557" extrusionOk="0">
                    <a:moveTo>
                      <a:pt x="457" y="1"/>
                    </a:moveTo>
                    <a:lnTo>
                      <a:pt x="0" y="326"/>
                    </a:lnTo>
                    <a:lnTo>
                      <a:pt x="862" y="1557"/>
                    </a:lnTo>
                    <a:lnTo>
                      <a:pt x="1319" y="1232"/>
                    </a:lnTo>
                    <a:lnTo>
                      <a:pt x="457"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983;p35"/>
              <p:cNvSpPr/>
              <p:nvPr/>
            </p:nvSpPr>
            <p:spPr>
              <a:xfrm>
                <a:off x="6667502" y="2396322"/>
                <a:ext cx="63197" cy="68395"/>
              </a:xfrm>
              <a:custGeom>
                <a:avLst/>
                <a:gdLst/>
                <a:ahLst/>
                <a:cxnLst/>
                <a:rect l="l" t="t" r="r" b="b"/>
                <a:pathLst>
                  <a:path w="1398" h="1513" extrusionOk="0">
                    <a:moveTo>
                      <a:pt x="431" y="0"/>
                    </a:moveTo>
                    <a:lnTo>
                      <a:pt x="0" y="361"/>
                    </a:lnTo>
                    <a:lnTo>
                      <a:pt x="967" y="1512"/>
                    </a:lnTo>
                    <a:lnTo>
                      <a:pt x="1398" y="1152"/>
                    </a:lnTo>
                    <a:lnTo>
                      <a:pt x="431"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984;p35"/>
              <p:cNvSpPr/>
              <p:nvPr/>
            </p:nvSpPr>
            <p:spPr>
              <a:xfrm>
                <a:off x="7713032" y="3642966"/>
                <a:ext cx="63242" cy="68395"/>
              </a:xfrm>
              <a:custGeom>
                <a:avLst/>
                <a:gdLst/>
                <a:ahLst/>
                <a:cxnLst/>
                <a:rect l="l" t="t" r="r" b="b"/>
                <a:pathLst>
                  <a:path w="1399" h="1513" extrusionOk="0">
                    <a:moveTo>
                      <a:pt x="431" y="0"/>
                    </a:moveTo>
                    <a:lnTo>
                      <a:pt x="1" y="361"/>
                    </a:lnTo>
                    <a:lnTo>
                      <a:pt x="968" y="1512"/>
                    </a:lnTo>
                    <a:lnTo>
                      <a:pt x="1399" y="1152"/>
                    </a:lnTo>
                    <a:lnTo>
                      <a:pt x="431"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985;p35"/>
              <p:cNvSpPr/>
              <p:nvPr/>
            </p:nvSpPr>
            <p:spPr>
              <a:xfrm>
                <a:off x="6613845" y="2446002"/>
                <a:ext cx="65999" cy="65999"/>
              </a:xfrm>
              <a:custGeom>
                <a:avLst/>
                <a:gdLst/>
                <a:ahLst/>
                <a:cxnLst/>
                <a:rect l="l" t="t" r="r" b="b"/>
                <a:pathLst>
                  <a:path w="1460" h="1460" extrusionOk="0">
                    <a:moveTo>
                      <a:pt x="396" y="0"/>
                    </a:moveTo>
                    <a:lnTo>
                      <a:pt x="0" y="396"/>
                    </a:lnTo>
                    <a:lnTo>
                      <a:pt x="1064" y="1459"/>
                    </a:lnTo>
                    <a:lnTo>
                      <a:pt x="1460" y="1055"/>
                    </a:lnTo>
                    <a:lnTo>
                      <a:pt x="396"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986;p35"/>
              <p:cNvSpPr/>
              <p:nvPr/>
            </p:nvSpPr>
            <p:spPr>
              <a:xfrm>
                <a:off x="7763887" y="3595682"/>
                <a:ext cx="66045" cy="65999"/>
              </a:xfrm>
              <a:custGeom>
                <a:avLst/>
                <a:gdLst/>
                <a:ahLst/>
                <a:cxnLst/>
                <a:rect l="l" t="t" r="r" b="b"/>
                <a:pathLst>
                  <a:path w="1461" h="1460" extrusionOk="0">
                    <a:moveTo>
                      <a:pt x="397" y="0"/>
                    </a:moveTo>
                    <a:lnTo>
                      <a:pt x="1" y="396"/>
                    </a:lnTo>
                    <a:lnTo>
                      <a:pt x="1065" y="1459"/>
                    </a:lnTo>
                    <a:lnTo>
                      <a:pt x="1460" y="1055"/>
                    </a:lnTo>
                    <a:lnTo>
                      <a:pt x="397"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987;p35"/>
              <p:cNvSpPr/>
              <p:nvPr/>
            </p:nvSpPr>
            <p:spPr>
              <a:xfrm>
                <a:off x="6564572" y="2498845"/>
                <a:ext cx="68395" cy="63242"/>
              </a:xfrm>
              <a:custGeom>
                <a:avLst/>
                <a:gdLst/>
                <a:ahLst/>
                <a:cxnLst/>
                <a:rect l="l" t="t" r="r" b="b"/>
                <a:pathLst>
                  <a:path w="1513" h="1399" extrusionOk="0">
                    <a:moveTo>
                      <a:pt x="361" y="0"/>
                    </a:moveTo>
                    <a:lnTo>
                      <a:pt x="0" y="431"/>
                    </a:lnTo>
                    <a:lnTo>
                      <a:pt x="1152" y="1398"/>
                    </a:lnTo>
                    <a:lnTo>
                      <a:pt x="1512" y="967"/>
                    </a:lnTo>
                    <a:lnTo>
                      <a:pt x="361"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988;p35"/>
              <p:cNvSpPr/>
              <p:nvPr/>
            </p:nvSpPr>
            <p:spPr>
              <a:xfrm>
                <a:off x="7810402" y="3544375"/>
                <a:ext cx="68395" cy="63242"/>
              </a:xfrm>
              <a:custGeom>
                <a:avLst/>
                <a:gdLst/>
                <a:ahLst/>
                <a:cxnLst/>
                <a:rect l="l" t="t" r="r" b="b"/>
                <a:pathLst>
                  <a:path w="1513" h="1399" extrusionOk="0">
                    <a:moveTo>
                      <a:pt x="361" y="1"/>
                    </a:moveTo>
                    <a:lnTo>
                      <a:pt x="1" y="432"/>
                    </a:lnTo>
                    <a:lnTo>
                      <a:pt x="1152" y="1399"/>
                    </a:lnTo>
                    <a:lnTo>
                      <a:pt x="1513" y="968"/>
                    </a:lnTo>
                    <a:lnTo>
                      <a:pt x="361"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989;p35"/>
              <p:cNvSpPr/>
              <p:nvPr/>
            </p:nvSpPr>
            <p:spPr>
              <a:xfrm>
                <a:off x="6520453" y="2556842"/>
                <a:ext cx="69977" cy="60077"/>
              </a:xfrm>
              <a:custGeom>
                <a:avLst/>
                <a:gdLst/>
                <a:ahLst/>
                <a:cxnLst/>
                <a:rect l="l" t="t" r="r" b="b"/>
                <a:pathLst>
                  <a:path w="1548" h="1329" extrusionOk="0">
                    <a:moveTo>
                      <a:pt x="317" y="1"/>
                    </a:moveTo>
                    <a:lnTo>
                      <a:pt x="0" y="467"/>
                    </a:lnTo>
                    <a:lnTo>
                      <a:pt x="1231" y="1328"/>
                    </a:lnTo>
                    <a:lnTo>
                      <a:pt x="1548" y="862"/>
                    </a:lnTo>
                    <a:lnTo>
                      <a:pt x="317"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990;p35"/>
              <p:cNvSpPr/>
              <p:nvPr/>
            </p:nvSpPr>
            <p:spPr>
              <a:xfrm>
                <a:off x="7826314" y="3469291"/>
                <a:ext cx="69977" cy="59671"/>
              </a:xfrm>
              <a:custGeom>
                <a:avLst/>
                <a:gdLst/>
                <a:ahLst/>
                <a:cxnLst/>
                <a:rect l="l" t="t" r="r" b="b"/>
                <a:pathLst>
                  <a:path w="1548" h="1320" extrusionOk="0">
                    <a:moveTo>
                      <a:pt x="317" y="0"/>
                    </a:moveTo>
                    <a:lnTo>
                      <a:pt x="0" y="466"/>
                    </a:lnTo>
                    <a:lnTo>
                      <a:pt x="1231" y="1319"/>
                    </a:lnTo>
                    <a:lnTo>
                      <a:pt x="1547" y="862"/>
                    </a:lnTo>
                    <a:lnTo>
                      <a:pt x="317"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991;p35"/>
              <p:cNvSpPr/>
              <p:nvPr/>
            </p:nvSpPr>
            <p:spPr>
              <a:xfrm>
                <a:off x="6481893" y="2619224"/>
                <a:ext cx="71560" cy="55693"/>
              </a:xfrm>
              <a:custGeom>
                <a:avLst/>
                <a:gdLst/>
                <a:ahLst/>
                <a:cxnLst/>
                <a:rect l="l" t="t" r="r" b="b"/>
                <a:pathLst>
                  <a:path w="1583" h="1232" extrusionOk="0">
                    <a:moveTo>
                      <a:pt x="282" y="1"/>
                    </a:moveTo>
                    <a:lnTo>
                      <a:pt x="0" y="485"/>
                    </a:lnTo>
                    <a:lnTo>
                      <a:pt x="1302" y="1232"/>
                    </a:lnTo>
                    <a:lnTo>
                      <a:pt x="1583" y="748"/>
                    </a:lnTo>
                    <a:lnTo>
                      <a:pt x="282"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992;p35"/>
              <p:cNvSpPr/>
              <p:nvPr/>
            </p:nvSpPr>
            <p:spPr>
              <a:xfrm>
                <a:off x="7890685" y="3432314"/>
                <a:ext cx="71560" cy="56099"/>
              </a:xfrm>
              <a:custGeom>
                <a:avLst/>
                <a:gdLst/>
                <a:ahLst/>
                <a:cxnLst/>
                <a:rect l="l" t="t" r="r" b="b"/>
                <a:pathLst>
                  <a:path w="1583" h="1241" extrusionOk="0">
                    <a:moveTo>
                      <a:pt x="282" y="1"/>
                    </a:moveTo>
                    <a:lnTo>
                      <a:pt x="0" y="493"/>
                    </a:lnTo>
                    <a:lnTo>
                      <a:pt x="1302" y="1240"/>
                    </a:lnTo>
                    <a:lnTo>
                      <a:pt x="1583" y="757"/>
                    </a:lnTo>
                    <a:lnTo>
                      <a:pt x="282"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993;p35"/>
              <p:cNvSpPr/>
              <p:nvPr/>
            </p:nvSpPr>
            <p:spPr>
              <a:xfrm>
                <a:off x="6448126" y="2683640"/>
                <a:ext cx="72373" cy="51715"/>
              </a:xfrm>
              <a:custGeom>
                <a:avLst/>
                <a:gdLst/>
                <a:ahLst/>
                <a:cxnLst/>
                <a:rect l="l" t="t" r="r" b="b"/>
                <a:pathLst>
                  <a:path w="1601" h="1144" extrusionOk="0">
                    <a:moveTo>
                      <a:pt x="238" y="0"/>
                    </a:moveTo>
                    <a:lnTo>
                      <a:pt x="0" y="510"/>
                    </a:lnTo>
                    <a:lnTo>
                      <a:pt x="1363" y="1143"/>
                    </a:lnTo>
                    <a:lnTo>
                      <a:pt x="1600" y="633"/>
                    </a:lnTo>
                    <a:lnTo>
                      <a:pt x="238"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994;p35"/>
              <p:cNvSpPr/>
              <p:nvPr/>
            </p:nvSpPr>
            <p:spPr>
              <a:xfrm>
                <a:off x="7923277" y="3371921"/>
                <a:ext cx="72373" cy="51715"/>
              </a:xfrm>
              <a:custGeom>
                <a:avLst/>
                <a:gdLst/>
                <a:ahLst/>
                <a:cxnLst/>
                <a:rect l="l" t="t" r="r" b="b"/>
                <a:pathLst>
                  <a:path w="1601" h="1144" extrusionOk="0">
                    <a:moveTo>
                      <a:pt x="238" y="1"/>
                    </a:moveTo>
                    <a:lnTo>
                      <a:pt x="0" y="510"/>
                    </a:lnTo>
                    <a:lnTo>
                      <a:pt x="1363" y="1143"/>
                    </a:lnTo>
                    <a:lnTo>
                      <a:pt x="1600" y="634"/>
                    </a:lnTo>
                    <a:lnTo>
                      <a:pt x="238"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995;p35"/>
              <p:cNvSpPr/>
              <p:nvPr/>
            </p:nvSpPr>
            <p:spPr>
              <a:xfrm>
                <a:off x="6421501" y="2751989"/>
                <a:ext cx="72780" cy="47330"/>
              </a:xfrm>
              <a:custGeom>
                <a:avLst/>
                <a:gdLst/>
                <a:ahLst/>
                <a:cxnLst/>
                <a:rect l="l" t="t" r="r" b="b"/>
                <a:pathLst>
                  <a:path w="1610" h="1047" extrusionOk="0">
                    <a:moveTo>
                      <a:pt x="194" y="0"/>
                    </a:moveTo>
                    <a:lnTo>
                      <a:pt x="0" y="528"/>
                    </a:lnTo>
                    <a:lnTo>
                      <a:pt x="1416" y="1046"/>
                    </a:lnTo>
                    <a:lnTo>
                      <a:pt x="1609" y="519"/>
                    </a:lnTo>
                    <a:lnTo>
                      <a:pt x="194"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996;p35"/>
              <p:cNvSpPr/>
              <p:nvPr/>
            </p:nvSpPr>
            <p:spPr>
              <a:xfrm>
                <a:off x="7950309" y="3308725"/>
                <a:ext cx="72373" cy="46968"/>
              </a:xfrm>
              <a:custGeom>
                <a:avLst/>
                <a:gdLst/>
                <a:ahLst/>
                <a:cxnLst/>
                <a:rect l="l" t="t" r="r" b="b"/>
                <a:pathLst>
                  <a:path w="1601" h="1039" extrusionOk="0">
                    <a:moveTo>
                      <a:pt x="193" y="1"/>
                    </a:moveTo>
                    <a:lnTo>
                      <a:pt x="0" y="528"/>
                    </a:lnTo>
                    <a:lnTo>
                      <a:pt x="1407" y="1038"/>
                    </a:lnTo>
                    <a:lnTo>
                      <a:pt x="1600" y="511"/>
                    </a:lnTo>
                    <a:lnTo>
                      <a:pt x="193"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997;p35"/>
              <p:cNvSpPr/>
              <p:nvPr/>
            </p:nvSpPr>
            <p:spPr>
              <a:xfrm>
                <a:off x="6400029" y="2821920"/>
                <a:ext cx="72373" cy="42176"/>
              </a:xfrm>
              <a:custGeom>
                <a:avLst/>
                <a:gdLst/>
                <a:ahLst/>
                <a:cxnLst/>
                <a:rect l="l" t="t" r="r" b="b"/>
                <a:pathLst>
                  <a:path w="1601" h="933" extrusionOk="0">
                    <a:moveTo>
                      <a:pt x="150" y="1"/>
                    </a:moveTo>
                    <a:lnTo>
                      <a:pt x="1" y="546"/>
                    </a:lnTo>
                    <a:lnTo>
                      <a:pt x="1451" y="932"/>
                    </a:lnTo>
                    <a:lnTo>
                      <a:pt x="1601" y="396"/>
                    </a:lnTo>
                    <a:lnTo>
                      <a:pt x="150"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998;p35"/>
              <p:cNvSpPr/>
              <p:nvPr/>
            </p:nvSpPr>
            <p:spPr>
              <a:xfrm>
                <a:off x="7971374" y="3243179"/>
                <a:ext cx="72328" cy="42176"/>
              </a:xfrm>
              <a:custGeom>
                <a:avLst/>
                <a:gdLst/>
                <a:ahLst/>
                <a:cxnLst/>
                <a:rect l="l" t="t" r="r" b="b"/>
                <a:pathLst>
                  <a:path w="1600" h="933" extrusionOk="0">
                    <a:moveTo>
                      <a:pt x="149" y="0"/>
                    </a:moveTo>
                    <a:lnTo>
                      <a:pt x="0" y="536"/>
                    </a:lnTo>
                    <a:lnTo>
                      <a:pt x="1451" y="932"/>
                    </a:lnTo>
                    <a:lnTo>
                      <a:pt x="1600" y="387"/>
                    </a:lnTo>
                    <a:lnTo>
                      <a:pt x="149"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999;p35"/>
              <p:cNvSpPr/>
              <p:nvPr/>
            </p:nvSpPr>
            <p:spPr>
              <a:xfrm>
                <a:off x="6384930" y="2893840"/>
                <a:ext cx="71560" cy="36616"/>
              </a:xfrm>
              <a:custGeom>
                <a:avLst/>
                <a:gdLst/>
                <a:ahLst/>
                <a:cxnLst/>
                <a:rect l="l" t="t" r="r" b="b"/>
                <a:pathLst>
                  <a:path w="1583" h="810" extrusionOk="0">
                    <a:moveTo>
                      <a:pt x="97" y="1"/>
                    </a:moveTo>
                    <a:lnTo>
                      <a:pt x="0" y="555"/>
                    </a:lnTo>
                    <a:lnTo>
                      <a:pt x="1477" y="810"/>
                    </a:lnTo>
                    <a:lnTo>
                      <a:pt x="1583" y="264"/>
                    </a:lnTo>
                    <a:lnTo>
                      <a:pt x="97"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5" name="Google Shape;1000;p35"/>
              <p:cNvSpPr/>
              <p:nvPr/>
            </p:nvSpPr>
            <p:spPr>
              <a:xfrm>
                <a:off x="7986473" y="3176005"/>
                <a:ext cx="71560" cy="37023"/>
              </a:xfrm>
              <a:custGeom>
                <a:avLst/>
                <a:gdLst/>
                <a:ahLst/>
                <a:cxnLst/>
                <a:rect l="l" t="t" r="r" b="b"/>
                <a:pathLst>
                  <a:path w="1583" h="819" extrusionOk="0">
                    <a:moveTo>
                      <a:pt x="97" y="0"/>
                    </a:moveTo>
                    <a:lnTo>
                      <a:pt x="0" y="554"/>
                    </a:lnTo>
                    <a:lnTo>
                      <a:pt x="1486" y="818"/>
                    </a:lnTo>
                    <a:lnTo>
                      <a:pt x="1583" y="264"/>
                    </a:lnTo>
                    <a:lnTo>
                      <a:pt x="97"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6" name="Google Shape;1001;p35"/>
              <p:cNvSpPr/>
              <p:nvPr/>
            </p:nvSpPr>
            <p:spPr>
              <a:xfrm>
                <a:off x="6376567" y="2967388"/>
                <a:ext cx="70023" cy="31011"/>
              </a:xfrm>
              <a:custGeom>
                <a:avLst/>
                <a:gdLst/>
                <a:ahLst/>
                <a:cxnLst/>
                <a:rect l="l" t="t" r="r" b="b"/>
                <a:pathLst>
                  <a:path w="1549" h="686" extrusionOk="0">
                    <a:moveTo>
                      <a:pt x="54" y="0"/>
                    </a:moveTo>
                    <a:lnTo>
                      <a:pt x="1" y="554"/>
                    </a:lnTo>
                    <a:lnTo>
                      <a:pt x="1504" y="686"/>
                    </a:lnTo>
                    <a:lnTo>
                      <a:pt x="1548" y="132"/>
                    </a:lnTo>
                    <a:lnTo>
                      <a:pt x="54"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1002;p35"/>
              <p:cNvSpPr/>
              <p:nvPr/>
            </p:nvSpPr>
            <p:spPr>
              <a:xfrm>
                <a:off x="7997186" y="3108832"/>
                <a:ext cx="69977" cy="31463"/>
              </a:xfrm>
              <a:custGeom>
                <a:avLst/>
                <a:gdLst/>
                <a:ahLst/>
                <a:cxnLst/>
                <a:rect l="l" t="t" r="r" b="b"/>
                <a:pathLst>
                  <a:path w="1548" h="696" extrusionOk="0">
                    <a:moveTo>
                      <a:pt x="53" y="1"/>
                    </a:moveTo>
                    <a:lnTo>
                      <a:pt x="0" y="563"/>
                    </a:lnTo>
                    <a:lnTo>
                      <a:pt x="1504" y="695"/>
                    </a:lnTo>
                    <a:lnTo>
                      <a:pt x="1548" y="133"/>
                    </a:lnTo>
                    <a:lnTo>
                      <a:pt x="53"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8" name="Google Shape;1003;p35"/>
              <p:cNvSpPr/>
              <p:nvPr/>
            </p:nvSpPr>
            <p:spPr>
              <a:xfrm>
                <a:off x="6374579" y="3040890"/>
                <a:ext cx="68034" cy="25496"/>
              </a:xfrm>
              <a:custGeom>
                <a:avLst/>
                <a:gdLst/>
                <a:ahLst/>
                <a:cxnLst/>
                <a:rect l="l" t="t" r="r" b="b"/>
                <a:pathLst>
                  <a:path w="1505" h="564" extrusionOk="0">
                    <a:moveTo>
                      <a:pt x="1" y="0"/>
                    </a:moveTo>
                    <a:lnTo>
                      <a:pt x="1" y="563"/>
                    </a:lnTo>
                    <a:lnTo>
                      <a:pt x="1504" y="563"/>
                    </a:lnTo>
                    <a:lnTo>
                      <a:pt x="1504"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9" name="Google Shape;1004;p35"/>
              <p:cNvSpPr/>
              <p:nvPr/>
            </p:nvSpPr>
            <p:spPr>
              <a:xfrm>
                <a:off x="8001164" y="3040890"/>
                <a:ext cx="67988" cy="25496"/>
              </a:xfrm>
              <a:custGeom>
                <a:avLst/>
                <a:gdLst/>
                <a:ahLst/>
                <a:cxnLst/>
                <a:rect l="l" t="t" r="r" b="b"/>
                <a:pathLst>
                  <a:path w="1504" h="564" extrusionOk="0">
                    <a:moveTo>
                      <a:pt x="0" y="0"/>
                    </a:moveTo>
                    <a:lnTo>
                      <a:pt x="0" y="563"/>
                    </a:lnTo>
                    <a:lnTo>
                      <a:pt x="1504" y="563"/>
                    </a:lnTo>
                    <a:lnTo>
                      <a:pt x="1504"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0" name="Google Shape;1005;p35"/>
              <p:cNvSpPr/>
              <p:nvPr/>
            </p:nvSpPr>
            <p:spPr>
              <a:xfrm>
                <a:off x="6376974" y="3108425"/>
                <a:ext cx="69977" cy="31056"/>
              </a:xfrm>
              <a:custGeom>
                <a:avLst/>
                <a:gdLst/>
                <a:ahLst/>
                <a:cxnLst/>
                <a:rect l="l" t="t" r="r" b="b"/>
                <a:pathLst>
                  <a:path w="1548" h="687" extrusionOk="0">
                    <a:moveTo>
                      <a:pt x="1495" y="1"/>
                    </a:moveTo>
                    <a:lnTo>
                      <a:pt x="1" y="133"/>
                    </a:lnTo>
                    <a:lnTo>
                      <a:pt x="45" y="687"/>
                    </a:lnTo>
                    <a:lnTo>
                      <a:pt x="1548" y="555"/>
                    </a:lnTo>
                    <a:lnTo>
                      <a:pt x="1495"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1" name="Google Shape;1006;p35"/>
              <p:cNvSpPr/>
              <p:nvPr/>
            </p:nvSpPr>
            <p:spPr>
              <a:xfrm>
                <a:off x="7997186" y="2966574"/>
                <a:ext cx="69977" cy="31056"/>
              </a:xfrm>
              <a:custGeom>
                <a:avLst/>
                <a:gdLst/>
                <a:ahLst/>
                <a:cxnLst/>
                <a:rect l="l" t="t" r="r" b="b"/>
                <a:pathLst>
                  <a:path w="1548" h="687" extrusionOk="0">
                    <a:moveTo>
                      <a:pt x="1504" y="1"/>
                    </a:moveTo>
                    <a:lnTo>
                      <a:pt x="0" y="132"/>
                    </a:lnTo>
                    <a:lnTo>
                      <a:pt x="53" y="686"/>
                    </a:lnTo>
                    <a:lnTo>
                      <a:pt x="1548" y="563"/>
                    </a:lnTo>
                    <a:lnTo>
                      <a:pt x="1504"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2" name="Google Shape;1007;p35"/>
              <p:cNvSpPr/>
              <p:nvPr/>
            </p:nvSpPr>
            <p:spPr>
              <a:xfrm>
                <a:off x="6384930" y="3176819"/>
                <a:ext cx="71560" cy="36978"/>
              </a:xfrm>
              <a:custGeom>
                <a:avLst/>
                <a:gdLst/>
                <a:ahLst/>
                <a:cxnLst/>
                <a:rect l="l" t="t" r="r" b="b"/>
                <a:pathLst>
                  <a:path w="1583" h="818" extrusionOk="0">
                    <a:moveTo>
                      <a:pt x="1486" y="0"/>
                    </a:moveTo>
                    <a:lnTo>
                      <a:pt x="0" y="264"/>
                    </a:lnTo>
                    <a:lnTo>
                      <a:pt x="106" y="818"/>
                    </a:lnTo>
                    <a:lnTo>
                      <a:pt x="1583" y="554"/>
                    </a:lnTo>
                    <a:lnTo>
                      <a:pt x="1486"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3" name="Google Shape;1008;p35"/>
              <p:cNvSpPr/>
              <p:nvPr/>
            </p:nvSpPr>
            <p:spPr>
              <a:xfrm>
                <a:off x="7987241" y="2894654"/>
                <a:ext cx="71198" cy="36616"/>
              </a:xfrm>
              <a:custGeom>
                <a:avLst/>
                <a:gdLst/>
                <a:ahLst/>
                <a:cxnLst/>
                <a:rect l="l" t="t" r="r" b="b"/>
                <a:pathLst>
                  <a:path w="1575" h="810" extrusionOk="0">
                    <a:moveTo>
                      <a:pt x="1478" y="0"/>
                    </a:moveTo>
                    <a:lnTo>
                      <a:pt x="1" y="255"/>
                    </a:lnTo>
                    <a:lnTo>
                      <a:pt x="97" y="809"/>
                    </a:lnTo>
                    <a:lnTo>
                      <a:pt x="1574" y="554"/>
                    </a:lnTo>
                    <a:lnTo>
                      <a:pt x="1478"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4" name="Google Shape;1009;p35"/>
              <p:cNvSpPr/>
              <p:nvPr/>
            </p:nvSpPr>
            <p:spPr>
              <a:xfrm>
                <a:off x="6400435" y="3242365"/>
                <a:ext cx="71966" cy="42176"/>
              </a:xfrm>
              <a:custGeom>
                <a:avLst/>
                <a:gdLst/>
                <a:ahLst/>
                <a:cxnLst/>
                <a:rect l="l" t="t" r="r" b="b"/>
                <a:pathLst>
                  <a:path w="1592" h="933" extrusionOk="0">
                    <a:moveTo>
                      <a:pt x="1451" y="1"/>
                    </a:moveTo>
                    <a:lnTo>
                      <a:pt x="0" y="387"/>
                    </a:lnTo>
                    <a:lnTo>
                      <a:pt x="141" y="932"/>
                    </a:lnTo>
                    <a:lnTo>
                      <a:pt x="1592" y="546"/>
                    </a:lnTo>
                    <a:lnTo>
                      <a:pt x="1451"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1010;p35"/>
              <p:cNvSpPr/>
              <p:nvPr/>
            </p:nvSpPr>
            <p:spPr>
              <a:xfrm>
                <a:off x="7971374" y="2822327"/>
                <a:ext cx="72328" cy="42176"/>
              </a:xfrm>
              <a:custGeom>
                <a:avLst/>
                <a:gdLst/>
                <a:ahLst/>
                <a:cxnLst/>
                <a:rect l="l" t="t" r="r" b="b"/>
                <a:pathLst>
                  <a:path w="1600" h="933" extrusionOk="0">
                    <a:moveTo>
                      <a:pt x="1451" y="0"/>
                    </a:moveTo>
                    <a:lnTo>
                      <a:pt x="0" y="387"/>
                    </a:lnTo>
                    <a:lnTo>
                      <a:pt x="141" y="932"/>
                    </a:lnTo>
                    <a:lnTo>
                      <a:pt x="1600" y="537"/>
                    </a:lnTo>
                    <a:lnTo>
                      <a:pt x="1451"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1011;p35"/>
              <p:cNvSpPr/>
              <p:nvPr/>
            </p:nvSpPr>
            <p:spPr>
              <a:xfrm>
                <a:off x="6421094" y="3308318"/>
                <a:ext cx="72780" cy="47375"/>
              </a:xfrm>
              <a:custGeom>
                <a:avLst/>
                <a:gdLst/>
                <a:ahLst/>
                <a:cxnLst/>
                <a:rect l="l" t="t" r="r" b="b"/>
                <a:pathLst>
                  <a:path w="1610" h="1048" extrusionOk="0">
                    <a:moveTo>
                      <a:pt x="1416" y="1"/>
                    </a:moveTo>
                    <a:lnTo>
                      <a:pt x="0" y="520"/>
                    </a:lnTo>
                    <a:lnTo>
                      <a:pt x="194" y="1047"/>
                    </a:lnTo>
                    <a:lnTo>
                      <a:pt x="1609" y="528"/>
                    </a:lnTo>
                    <a:lnTo>
                      <a:pt x="1416"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1012;p35"/>
              <p:cNvSpPr/>
              <p:nvPr/>
            </p:nvSpPr>
            <p:spPr>
              <a:xfrm>
                <a:off x="7949902" y="2752396"/>
                <a:ext cx="72373" cy="46923"/>
              </a:xfrm>
              <a:custGeom>
                <a:avLst/>
                <a:gdLst/>
                <a:ahLst/>
                <a:cxnLst/>
                <a:rect l="l" t="t" r="r" b="b"/>
                <a:pathLst>
                  <a:path w="1601" h="1038" extrusionOk="0">
                    <a:moveTo>
                      <a:pt x="1416" y="0"/>
                    </a:moveTo>
                    <a:lnTo>
                      <a:pt x="0" y="510"/>
                    </a:lnTo>
                    <a:lnTo>
                      <a:pt x="194" y="1037"/>
                    </a:lnTo>
                    <a:lnTo>
                      <a:pt x="1600" y="528"/>
                    </a:lnTo>
                    <a:lnTo>
                      <a:pt x="1416"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1013;p35"/>
              <p:cNvSpPr/>
              <p:nvPr/>
            </p:nvSpPr>
            <p:spPr>
              <a:xfrm>
                <a:off x="6448533" y="3371514"/>
                <a:ext cx="72373" cy="51715"/>
              </a:xfrm>
              <a:custGeom>
                <a:avLst/>
                <a:gdLst/>
                <a:ahLst/>
                <a:cxnLst/>
                <a:rect l="l" t="t" r="r" b="b"/>
                <a:pathLst>
                  <a:path w="1601" h="1144" extrusionOk="0">
                    <a:moveTo>
                      <a:pt x="1363" y="1"/>
                    </a:moveTo>
                    <a:lnTo>
                      <a:pt x="0" y="634"/>
                    </a:lnTo>
                    <a:lnTo>
                      <a:pt x="237" y="1144"/>
                    </a:lnTo>
                    <a:lnTo>
                      <a:pt x="1600" y="511"/>
                    </a:lnTo>
                    <a:lnTo>
                      <a:pt x="1363"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1014;p35"/>
              <p:cNvSpPr/>
              <p:nvPr/>
            </p:nvSpPr>
            <p:spPr>
              <a:xfrm>
                <a:off x="7922870" y="2684002"/>
                <a:ext cx="72373" cy="51715"/>
              </a:xfrm>
              <a:custGeom>
                <a:avLst/>
                <a:gdLst/>
                <a:ahLst/>
                <a:cxnLst/>
                <a:rect l="l" t="t" r="r" b="b"/>
                <a:pathLst>
                  <a:path w="1601" h="1144" extrusionOk="0">
                    <a:moveTo>
                      <a:pt x="1363" y="1"/>
                    </a:moveTo>
                    <a:lnTo>
                      <a:pt x="0" y="634"/>
                    </a:lnTo>
                    <a:lnTo>
                      <a:pt x="238" y="1144"/>
                    </a:lnTo>
                    <a:lnTo>
                      <a:pt x="1600" y="511"/>
                    </a:lnTo>
                    <a:lnTo>
                      <a:pt x="1363"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1015;p35"/>
              <p:cNvSpPr/>
              <p:nvPr/>
            </p:nvSpPr>
            <p:spPr>
              <a:xfrm>
                <a:off x="6481893" y="3433127"/>
                <a:ext cx="71560" cy="56054"/>
              </a:xfrm>
              <a:custGeom>
                <a:avLst/>
                <a:gdLst/>
                <a:ahLst/>
                <a:cxnLst/>
                <a:rect l="l" t="t" r="r" b="b"/>
                <a:pathLst>
                  <a:path w="1583" h="1240" extrusionOk="0">
                    <a:moveTo>
                      <a:pt x="1302" y="0"/>
                    </a:moveTo>
                    <a:lnTo>
                      <a:pt x="0" y="748"/>
                    </a:lnTo>
                    <a:lnTo>
                      <a:pt x="282" y="1240"/>
                    </a:lnTo>
                    <a:lnTo>
                      <a:pt x="1583" y="484"/>
                    </a:lnTo>
                    <a:lnTo>
                      <a:pt x="1302"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1016;p35"/>
              <p:cNvSpPr/>
              <p:nvPr/>
            </p:nvSpPr>
            <p:spPr>
              <a:xfrm>
                <a:off x="7890685" y="2619631"/>
                <a:ext cx="71560" cy="56099"/>
              </a:xfrm>
              <a:custGeom>
                <a:avLst/>
                <a:gdLst/>
                <a:ahLst/>
                <a:cxnLst/>
                <a:rect l="l" t="t" r="r" b="b"/>
                <a:pathLst>
                  <a:path w="1583" h="1241" extrusionOk="0">
                    <a:moveTo>
                      <a:pt x="1302" y="1"/>
                    </a:moveTo>
                    <a:lnTo>
                      <a:pt x="0" y="757"/>
                    </a:lnTo>
                    <a:lnTo>
                      <a:pt x="282" y="1240"/>
                    </a:lnTo>
                    <a:lnTo>
                      <a:pt x="1583" y="493"/>
                    </a:lnTo>
                    <a:lnTo>
                      <a:pt x="1302"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1017;p35"/>
              <p:cNvSpPr/>
              <p:nvPr/>
            </p:nvSpPr>
            <p:spPr>
              <a:xfrm>
                <a:off x="6520453" y="3490356"/>
                <a:ext cx="70384" cy="60032"/>
              </a:xfrm>
              <a:custGeom>
                <a:avLst/>
                <a:gdLst/>
                <a:ahLst/>
                <a:cxnLst/>
                <a:rect l="l" t="t" r="r" b="b"/>
                <a:pathLst>
                  <a:path w="1557" h="1328" extrusionOk="0">
                    <a:moveTo>
                      <a:pt x="1231" y="0"/>
                    </a:moveTo>
                    <a:lnTo>
                      <a:pt x="0" y="862"/>
                    </a:lnTo>
                    <a:lnTo>
                      <a:pt x="326" y="1328"/>
                    </a:lnTo>
                    <a:lnTo>
                      <a:pt x="1556" y="466"/>
                    </a:lnTo>
                    <a:lnTo>
                      <a:pt x="1231"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1018;p35"/>
              <p:cNvSpPr/>
              <p:nvPr/>
            </p:nvSpPr>
            <p:spPr>
              <a:xfrm>
                <a:off x="7852939" y="2556842"/>
                <a:ext cx="70384" cy="59671"/>
              </a:xfrm>
              <a:custGeom>
                <a:avLst/>
                <a:gdLst/>
                <a:ahLst/>
                <a:cxnLst/>
                <a:rect l="l" t="t" r="r" b="b"/>
                <a:pathLst>
                  <a:path w="1557" h="1320" extrusionOk="0">
                    <a:moveTo>
                      <a:pt x="1231" y="1"/>
                    </a:moveTo>
                    <a:lnTo>
                      <a:pt x="0" y="862"/>
                    </a:lnTo>
                    <a:lnTo>
                      <a:pt x="326" y="1319"/>
                    </a:lnTo>
                    <a:lnTo>
                      <a:pt x="1556" y="458"/>
                    </a:lnTo>
                    <a:lnTo>
                      <a:pt x="1231"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1019;p35"/>
              <p:cNvSpPr/>
              <p:nvPr/>
            </p:nvSpPr>
            <p:spPr>
              <a:xfrm>
                <a:off x="6582021" y="3580945"/>
                <a:ext cx="68802" cy="63242"/>
              </a:xfrm>
              <a:custGeom>
                <a:avLst/>
                <a:gdLst/>
                <a:ahLst/>
                <a:cxnLst/>
                <a:rect l="l" t="t" r="r" b="b"/>
                <a:pathLst>
                  <a:path w="1522" h="1399" extrusionOk="0">
                    <a:moveTo>
                      <a:pt x="1161" y="1"/>
                    </a:moveTo>
                    <a:lnTo>
                      <a:pt x="1" y="959"/>
                    </a:lnTo>
                    <a:lnTo>
                      <a:pt x="361" y="1399"/>
                    </a:lnTo>
                    <a:lnTo>
                      <a:pt x="1522" y="432"/>
                    </a:lnTo>
                    <a:lnTo>
                      <a:pt x="1161"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1020;p35"/>
              <p:cNvSpPr/>
              <p:nvPr/>
            </p:nvSpPr>
            <p:spPr>
              <a:xfrm>
                <a:off x="7810809" y="2500021"/>
                <a:ext cx="68802" cy="63242"/>
              </a:xfrm>
              <a:custGeom>
                <a:avLst/>
                <a:gdLst/>
                <a:ahLst/>
                <a:cxnLst/>
                <a:rect l="l" t="t" r="r" b="b"/>
                <a:pathLst>
                  <a:path w="1522" h="1399" extrusionOk="0">
                    <a:moveTo>
                      <a:pt x="1161" y="1"/>
                    </a:moveTo>
                    <a:lnTo>
                      <a:pt x="0" y="968"/>
                    </a:lnTo>
                    <a:lnTo>
                      <a:pt x="361" y="1398"/>
                    </a:lnTo>
                    <a:lnTo>
                      <a:pt x="1521" y="431"/>
                    </a:lnTo>
                    <a:lnTo>
                      <a:pt x="1161"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1021;p35"/>
              <p:cNvSpPr/>
              <p:nvPr/>
            </p:nvSpPr>
            <p:spPr>
              <a:xfrm>
                <a:off x="6613438" y="3595275"/>
                <a:ext cx="65999" cy="65999"/>
              </a:xfrm>
              <a:custGeom>
                <a:avLst/>
                <a:gdLst/>
                <a:ahLst/>
                <a:cxnLst/>
                <a:rect l="l" t="t" r="r" b="b"/>
                <a:pathLst>
                  <a:path w="1460" h="1460" extrusionOk="0">
                    <a:moveTo>
                      <a:pt x="1064" y="0"/>
                    </a:moveTo>
                    <a:lnTo>
                      <a:pt x="0" y="1064"/>
                    </a:lnTo>
                    <a:lnTo>
                      <a:pt x="405" y="1460"/>
                    </a:lnTo>
                    <a:lnTo>
                      <a:pt x="1460" y="396"/>
                    </a:lnTo>
                    <a:lnTo>
                      <a:pt x="1064"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1022;p35"/>
              <p:cNvSpPr/>
              <p:nvPr/>
            </p:nvSpPr>
            <p:spPr>
              <a:xfrm>
                <a:off x="7763525" y="2444781"/>
                <a:ext cx="65999" cy="66406"/>
              </a:xfrm>
              <a:custGeom>
                <a:avLst/>
                <a:gdLst/>
                <a:ahLst/>
                <a:cxnLst/>
                <a:rect l="l" t="t" r="r" b="b"/>
                <a:pathLst>
                  <a:path w="1460" h="1469" extrusionOk="0">
                    <a:moveTo>
                      <a:pt x="1064" y="1"/>
                    </a:moveTo>
                    <a:lnTo>
                      <a:pt x="0" y="1064"/>
                    </a:lnTo>
                    <a:lnTo>
                      <a:pt x="405" y="1469"/>
                    </a:lnTo>
                    <a:lnTo>
                      <a:pt x="1460" y="405"/>
                    </a:lnTo>
                    <a:lnTo>
                      <a:pt x="1064"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1023;p35"/>
              <p:cNvSpPr/>
              <p:nvPr/>
            </p:nvSpPr>
            <p:spPr>
              <a:xfrm>
                <a:off x="6667502" y="3642559"/>
                <a:ext cx="63197" cy="68802"/>
              </a:xfrm>
              <a:custGeom>
                <a:avLst/>
                <a:gdLst/>
                <a:ahLst/>
                <a:cxnLst/>
                <a:rect l="l" t="t" r="r" b="b"/>
                <a:pathLst>
                  <a:path w="1398" h="1522" extrusionOk="0">
                    <a:moveTo>
                      <a:pt x="967" y="0"/>
                    </a:moveTo>
                    <a:lnTo>
                      <a:pt x="0" y="1152"/>
                    </a:lnTo>
                    <a:lnTo>
                      <a:pt x="431" y="1521"/>
                    </a:lnTo>
                    <a:lnTo>
                      <a:pt x="1398" y="361"/>
                    </a:lnTo>
                    <a:lnTo>
                      <a:pt x="967"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1024;p35"/>
              <p:cNvSpPr/>
              <p:nvPr/>
            </p:nvSpPr>
            <p:spPr>
              <a:xfrm>
                <a:off x="7713439" y="2396684"/>
                <a:ext cx="62835" cy="68395"/>
              </a:xfrm>
              <a:custGeom>
                <a:avLst/>
                <a:gdLst/>
                <a:ahLst/>
                <a:cxnLst/>
                <a:rect l="l" t="t" r="r" b="b"/>
                <a:pathLst>
                  <a:path w="1390" h="1513" extrusionOk="0">
                    <a:moveTo>
                      <a:pt x="968" y="1"/>
                    </a:moveTo>
                    <a:lnTo>
                      <a:pt x="1" y="1153"/>
                    </a:lnTo>
                    <a:lnTo>
                      <a:pt x="422" y="1513"/>
                    </a:lnTo>
                    <a:lnTo>
                      <a:pt x="1390" y="361"/>
                    </a:lnTo>
                    <a:lnTo>
                      <a:pt x="968"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1025;p35"/>
              <p:cNvSpPr/>
              <p:nvPr/>
            </p:nvSpPr>
            <p:spPr>
              <a:xfrm>
                <a:off x="6725092" y="3684282"/>
                <a:ext cx="60077" cy="70384"/>
              </a:xfrm>
              <a:custGeom>
                <a:avLst/>
                <a:gdLst/>
                <a:ahLst/>
                <a:cxnLst/>
                <a:rect l="l" t="t" r="r" b="b"/>
                <a:pathLst>
                  <a:path w="1329" h="1557" extrusionOk="0">
                    <a:moveTo>
                      <a:pt x="871" y="0"/>
                    </a:moveTo>
                    <a:lnTo>
                      <a:pt x="1" y="1240"/>
                    </a:lnTo>
                    <a:lnTo>
                      <a:pt x="467" y="1557"/>
                    </a:lnTo>
                    <a:lnTo>
                      <a:pt x="1328" y="326"/>
                    </a:lnTo>
                    <a:lnTo>
                      <a:pt x="871"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1026;p35"/>
              <p:cNvSpPr/>
              <p:nvPr/>
            </p:nvSpPr>
            <p:spPr>
              <a:xfrm>
                <a:off x="7658199" y="2352203"/>
                <a:ext cx="60032" cy="69977"/>
              </a:xfrm>
              <a:custGeom>
                <a:avLst/>
                <a:gdLst/>
                <a:ahLst/>
                <a:cxnLst/>
                <a:rect l="l" t="t" r="r" b="b"/>
                <a:pathLst>
                  <a:path w="1328" h="1548" extrusionOk="0">
                    <a:moveTo>
                      <a:pt x="862" y="0"/>
                    </a:moveTo>
                    <a:lnTo>
                      <a:pt x="1" y="1231"/>
                    </a:lnTo>
                    <a:lnTo>
                      <a:pt x="466" y="1548"/>
                    </a:lnTo>
                    <a:lnTo>
                      <a:pt x="1328" y="317"/>
                    </a:lnTo>
                    <a:lnTo>
                      <a:pt x="862"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1027;p35"/>
              <p:cNvSpPr/>
              <p:nvPr/>
            </p:nvSpPr>
            <p:spPr>
              <a:xfrm>
                <a:off x="6786706" y="3721621"/>
                <a:ext cx="56054" cy="71605"/>
              </a:xfrm>
              <a:custGeom>
                <a:avLst/>
                <a:gdLst/>
                <a:ahLst/>
                <a:cxnLst/>
                <a:rect l="l" t="t" r="r" b="b"/>
                <a:pathLst>
                  <a:path w="1240" h="1584" extrusionOk="0">
                    <a:moveTo>
                      <a:pt x="756" y="1"/>
                    </a:moveTo>
                    <a:lnTo>
                      <a:pt x="0" y="1302"/>
                    </a:lnTo>
                    <a:lnTo>
                      <a:pt x="493" y="1583"/>
                    </a:lnTo>
                    <a:lnTo>
                      <a:pt x="1240" y="282"/>
                    </a:lnTo>
                    <a:lnTo>
                      <a:pt x="756"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1028;p35"/>
              <p:cNvSpPr/>
              <p:nvPr/>
            </p:nvSpPr>
            <p:spPr>
              <a:xfrm>
                <a:off x="7600971" y="2314050"/>
                <a:ext cx="56099" cy="71560"/>
              </a:xfrm>
              <a:custGeom>
                <a:avLst/>
                <a:gdLst/>
                <a:ahLst/>
                <a:cxnLst/>
                <a:rect l="l" t="t" r="r" b="b"/>
                <a:pathLst>
                  <a:path w="1241" h="1583" extrusionOk="0">
                    <a:moveTo>
                      <a:pt x="757" y="0"/>
                    </a:moveTo>
                    <a:lnTo>
                      <a:pt x="1" y="1301"/>
                    </a:lnTo>
                    <a:lnTo>
                      <a:pt x="484" y="1583"/>
                    </a:lnTo>
                    <a:lnTo>
                      <a:pt x="1240" y="282"/>
                    </a:lnTo>
                    <a:lnTo>
                      <a:pt x="757"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1029;p35"/>
              <p:cNvSpPr/>
              <p:nvPr/>
            </p:nvSpPr>
            <p:spPr>
              <a:xfrm>
                <a:off x="6852252" y="3754620"/>
                <a:ext cx="51715" cy="72373"/>
              </a:xfrm>
              <a:custGeom>
                <a:avLst/>
                <a:gdLst/>
                <a:ahLst/>
                <a:cxnLst/>
                <a:rect l="l" t="t" r="r" b="b"/>
                <a:pathLst>
                  <a:path w="1144" h="1601" extrusionOk="0">
                    <a:moveTo>
                      <a:pt x="634" y="1"/>
                    </a:moveTo>
                    <a:lnTo>
                      <a:pt x="1" y="1363"/>
                    </a:lnTo>
                    <a:lnTo>
                      <a:pt x="511" y="1601"/>
                    </a:lnTo>
                    <a:lnTo>
                      <a:pt x="1144" y="238"/>
                    </a:lnTo>
                    <a:lnTo>
                      <a:pt x="634"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1030;p35"/>
              <p:cNvSpPr/>
              <p:nvPr/>
            </p:nvSpPr>
            <p:spPr>
              <a:xfrm>
                <a:off x="7539764" y="2280283"/>
                <a:ext cx="51715" cy="72373"/>
              </a:xfrm>
              <a:custGeom>
                <a:avLst/>
                <a:gdLst/>
                <a:ahLst/>
                <a:cxnLst/>
                <a:rect l="l" t="t" r="r" b="b"/>
                <a:pathLst>
                  <a:path w="1144" h="1601" extrusionOk="0">
                    <a:moveTo>
                      <a:pt x="634" y="0"/>
                    </a:moveTo>
                    <a:lnTo>
                      <a:pt x="1" y="1363"/>
                    </a:lnTo>
                    <a:lnTo>
                      <a:pt x="511" y="1600"/>
                    </a:lnTo>
                    <a:lnTo>
                      <a:pt x="1144" y="237"/>
                    </a:lnTo>
                    <a:lnTo>
                      <a:pt x="634"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1031;p35"/>
              <p:cNvSpPr/>
              <p:nvPr/>
            </p:nvSpPr>
            <p:spPr>
              <a:xfrm>
                <a:off x="6919833" y="3781652"/>
                <a:ext cx="47330" cy="72373"/>
              </a:xfrm>
              <a:custGeom>
                <a:avLst/>
                <a:gdLst/>
                <a:ahLst/>
                <a:cxnLst/>
                <a:rect l="l" t="t" r="r" b="b"/>
                <a:pathLst>
                  <a:path w="1047" h="1601" extrusionOk="0">
                    <a:moveTo>
                      <a:pt x="519" y="0"/>
                    </a:moveTo>
                    <a:lnTo>
                      <a:pt x="0" y="1407"/>
                    </a:lnTo>
                    <a:lnTo>
                      <a:pt x="528" y="1600"/>
                    </a:lnTo>
                    <a:lnTo>
                      <a:pt x="1047" y="185"/>
                    </a:lnTo>
                    <a:lnTo>
                      <a:pt x="519"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1032;p35"/>
              <p:cNvSpPr/>
              <p:nvPr/>
            </p:nvSpPr>
            <p:spPr>
              <a:xfrm>
                <a:off x="7476207" y="2252844"/>
                <a:ext cx="47330" cy="72780"/>
              </a:xfrm>
              <a:custGeom>
                <a:avLst/>
                <a:gdLst/>
                <a:ahLst/>
                <a:cxnLst/>
                <a:rect l="l" t="t" r="r" b="b"/>
                <a:pathLst>
                  <a:path w="1047" h="1610" extrusionOk="0">
                    <a:moveTo>
                      <a:pt x="519" y="0"/>
                    </a:moveTo>
                    <a:lnTo>
                      <a:pt x="0" y="1416"/>
                    </a:lnTo>
                    <a:lnTo>
                      <a:pt x="528" y="1609"/>
                    </a:lnTo>
                    <a:lnTo>
                      <a:pt x="1046" y="194"/>
                    </a:lnTo>
                    <a:lnTo>
                      <a:pt x="519"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1033;p35"/>
              <p:cNvSpPr/>
              <p:nvPr/>
            </p:nvSpPr>
            <p:spPr>
              <a:xfrm>
                <a:off x="6990170" y="3803124"/>
                <a:ext cx="42176" cy="72373"/>
              </a:xfrm>
              <a:custGeom>
                <a:avLst/>
                <a:gdLst/>
                <a:ahLst/>
                <a:cxnLst/>
                <a:rect l="l" t="t" r="r" b="b"/>
                <a:pathLst>
                  <a:path w="933" h="1601" extrusionOk="0">
                    <a:moveTo>
                      <a:pt x="387" y="0"/>
                    </a:moveTo>
                    <a:lnTo>
                      <a:pt x="0" y="1451"/>
                    </a:lnTo>
                    <a:lnTo>
                      <a:pt x="546" y="1600"/>
                    </a:lnTo>
                    <a:lnTo>
                      <a:pt x="932" y="141"/>
                    </a:lnTo>
                    <a:lnTo>
                      <a:pt x="387"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9" name="Google Shape;1034;p35"/>
              <p:cNvSpPr/>
              <p:nvPr/>
            </p:nvSpPr>
            <p:spPr>
              <a:xfrm>
                <a:off x="7411022" y="2231779"/>
                <a:ext cx="42176" cy="72373"/>
              </a:xfrm>
              <a:custGeom>
                <a:avLst/>
                <a:gdLst/>
                <a:ahLst/>
                <a:cxnLst/>
                <a:rect l="l" t="t" r="r" b="b"/>
                <a:pathLst>
                  <a:path w="933" h="1601" extrusionOk="0">
                    <a:moveTo>
                      <a:pt x="396" y="1"/>
                    </a:moveTo>
                    <a:lnTo>
                      <a:pt x="0" y="1451"/>
                    </a:lnTo>
                    <a:lnTo>
                      <a:pt x="545" y="1601"/>
                    </a:lnTo>
                    <a:lnTo>
                      <a:pt x="932" y="150"/>
                    </a:lnTo>
                    <a:lnTo>
                      <a:pt x="396"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0" name="Google Shape;1035;p35"/>
              <p:cNvSpPr/>
              <p:nvPr/>
            </p:nvSpPr>
            <p:spPr>
              <a:xfrm>
                <a:off x="7062090" y="3818584"/>
                <a:ext cx="36616" cy="71605"/>
              </a:xfrm>
              <a:custGeom>
                <a:avLst/>
                <a:gdLst/>
                <a:ahLst/>
                <a:cxnLst/>
                <a:rect l="l" t="t" r="r" b="b"/>
                <a:pathLst>
                  <a:path w="810" h="1584" extrusionOk="0">
                    <a:moveTo>
                      <a:pt x="256" y="1"/>
                    </a:moveTo>
                    <a:lnTo>
                      <a:pt x="1" y="1487"/>
                    </a:lnTo>
                    <a:lnTo>
                      <a:pt x="546" y="1583"/>
                    </a:lnTo>
                    <a:lnTo>
                      <a:pt x="809" y="98"/>
                    </a:lnTo>
                    <a:lnTo>
                      <a:pt x="256"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1036;p35"/>
              <p:cNvSpPr/>
              <p:nvPr/>
            </p:nvSpPr>
            <p:spPr>
              <a:xfrm>
                <a:off x="7135999" y="3829343"/>
                <a:ext cx="31056" cy="69977"/>
              </a:xfrm>
              <a:custGeom>
                <a:avLst/>
                <a:gdLst/>
                <a:ahLst/>
                <a:cxnLst/>
                <a:rect l="l" t="t" r="r" b="b"/>
                <a:pathLst>
                  <a:path w="687" h="1548" extrusionOk="0">
                    <a:moveTo>
                      <a:pt x="133" y="0"/>
                    </a:moveTo>
                    <a:lnTo>
                      <a:pt x="1" y="1495"/>
                    </a:lnTo>
                    <a:lnTo>
                      <a:pt x="555" y="1548"/>
                    </a:lnTo>
                    <a:lnTo>
                      <a:pt x="687" y="44"/>
                    </a:lnTo>
                    <a:lnTo>
                      <a:pt x="133"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2" name="Google Shape;1037;p35"/>
              <p:cNvSpPr/>
              <p:nvPr/>
            </p:nvSpPr>
            <p:spPr>
              <a:xfrm>
                <a:off x="6613845" y="2489805"/>
                <a:ext cx="1171985" cy="1127774"/>
              </a:xfrm>
              <a:custGeom>
                <a:avLst/>
                <a:gdLst/>
                <a:ahLst/>
                <a:cxnLst/>
                <a:rect l="l" t="t" r="r" b="b"/>
                <a:pathLst>
                  <a:path w="25926" h="24948" extrusionOk="0">
                    <a:moveTo>
                      <a:pt x="13451" y="561"/>
                    </a:moveTo>
                    <a:cubicBezTo>
                      <a:pt x="20027" y="569"/>
                      <a:pt x="25354" y="5897"/>
                      <a:pt x="25363" y="12473"/>
                    </a:cubicBezTo>
                    <a:cubicBezTo>
                      <a:pt x="25363" y="17290"/>
                      <a:pt x="22462" y="21633"/>
                      <a:pt x="18005" y="23479"/>
                    </a:cubicBezTo>
                    <a:cubicBezTo>
                      <a:pt x="16534" y="24087"/>
                      <a:pt x="14990" y="24382"/>
                      <a:pt x="13459" y="24382"/>
                    </a:cubicBezTo>
                    <a:cubicBezTo>
                      <a:pt x="10359" y="24382"/>
                      <a:pt x="7312" y="23172"/>
                      <a:pt x="5029" y="20895"/>
                    </a:cubicBezTo>
                    <a:cubicBezTo>
                      <a:pt x="1627" y="17484"/>
                      <a:pt x="607" y="12367"/>
                      <a:pt x="2444" y="7919"/>
                    </a:cubicBezTo>
                    <a:cubicBezTo>
                      <a:pt x="4290" y="3462"/>
                      <a:pt x="8633" y="561"/>
                      <a:pt x="13451" y="561"/>
                    </a:cubicBezTo>
                    <a:close/>
                    <a:moveTo>
                      <a:pt x="13458" y="1"/>
                    </a:moveTo>
                    <a:cubicBezTo>
                      <a:pt x="10212" y="1"/>
                      <a:pt x="7021" y="1267"/>
                      <a:pt x="4633" y="3655"/>
                    </a:cubicBezTo>
                    <a:cubicBezTo>
                      <a:pt x="1064" y="7224"/>
                      <a:pt x="0" y="12587"/>
                      <a:pt x="1925" y="17246"/>
                    </a:cubicBezTo>
                    <a:cubicBezTo>
                      <a:pt x="3860" y="21906"/>
                      <a:pt x="8405" y="24948"/>
                      <a:pt x="13451" y="24948"/>
                    </a:cubicBezTo>
                    <a:cubicBezTo>
                      <a:pt x="20334" y="24939"/>
                      <a:pt x="25917" y="19356"/>
                      <a:pt x="25926" y="12473"/>
                    </a:cubicBezTo>
                    <a:cubicBezTo>
                      <a:pt x="25926" y="7427"/>
                      <a:pt x="22884" y="2882"/>
                      <a:pt x="18224" y="948"/>
                    </a:cubicBezTo>
                    <a:cubicBezTo>
                      <a:pt x="16683" y="310"/>
                      <a:pt x="15064" y="1"/>
                      <a:pt x="13458" y="1"/>
                    </a:cubicBez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3" name="Google Shape;1038;p35"/>
              <p:cNvSpPr/>
              <p:nvPr/>
            </p:nvSpPr>
            <p:spPr>
              <a:xfrm>
                <a:off x="6608646" y="2440396"/>
                <a:ext cx="1226457" cy="1226457"/>
              </a:xfrm>
              <a:custGeom>
                <a:avLst/>
                <a:gdLst/>
                <a:ahLst/>
                <a:cxnLst/>
                <a:rect l="l" t="t" r="r" b="b"/>
                <a:pathLst>
                  <a:path w="27131" h="27131" extrusionOk="0">
                    <a:moveTo>
                      <a:pt x="13566" y="1"/>
                    </a:moveTo>
                    <a:lnTo>
                      <a:pt x="13566" y="1689"/>
                    </a:lnTo>
                    <a:cubicBezTo>
                      <a:pt x="18375" y="1689"/>
                      <a:pt x="22700" y="4581"/>
                      <a:pt x="24546" y="9021"/>
                    </a:cubicBezTo>
                    <a:cubicBezTo>
                      <a:pt x="26383" y="13460"/>
                      <a:pt x="25364" y="18568"/>
                      <a:pt x="21970" y="21970"/>
                    </a:cubicBezTo>
                    <a:cubicBezTo>
                      <a:pt x="19693" y="24241"/>
                      <a:pt x="16653" y="25449"/>
                      <a:pt x="13560" y="25449"/>
                    </a:cubicBezTo>
                    <a:cubicBezTo>
                      <a:pt x="12031" y="25449"/>
                      <a:pt x="10489" y="25154"/>
                      <a:pt x="9021" y="24546"/>
                    </a:cubicBezTo>
                    <a:cubicBezTo>
                      <a:pt x="4581" y="22700"/>
                      <a:pt x="1689" y="18375"/>
                      <a:pt x="1689" y="13566"/>
                    </a:cubicBezTo>
                    <a:lnTo>
                      <a:pt x="1" y="13566"/>
                    </a:lnTo>
                    <a:cubicBezTo>
                      <a:pt x="10" y="21056"/>
                      <a:pt x="6076" y="27122"/>
                      <a:pt x="13566" y="27131"/>
                    </a:cubicBezTo>
                    <a:cubicBezTo>
                      <a:pt x="21056" y="27131"/>
                      <a:pt x="27131" y="21056"/>
                      <a:pt x="27131" y="13566"/>
                    </a:cubicBezTo>
                    <a:cubicBezTo>
                      <a:pt x="27131" y="6076"/>
                      <a:pt x="21056" y="1"/>
                      <a:pt x="13566" y="1"/>
                    </a:cubicBez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pic>
        <p:nvPicPr>
          <p:cNvPr id="609" name="Google Shape;668;p31"/>
          <p:cNvPicPr preferRelativeResize="0"/>
          <p:nvPr/>
        </p:nvPicPr>
        <p:blipFill rotWithShape="1">
          <a:blip r:embed="rId6">
            <a:alphaModFix/>
          </a:blip>
          <a:srcRect l="5927" t="2783" r="2177" b="2555"/>
          <a:stretch/>
        </p:blipFill>
        <p:spPr>
          <a:xfrm>
            <a:off x="8953821" y="1046204"/>
            <a:ext cx="3324224" cy="3420649"/>
          </a:xfrm>
          <a:prstGeom prst="rect">
            <a:avLst/>
          </a:prstGeom>
          <a:noFill/>
          <a:ln>
            <a:noFill/>
          </a:ln>
        </p:spPr>
      </p:pic>
      <p:sp>
        <p:nvSpPr>
          <p:cNvPr id="524" name="Google Shape;1040;p35"/>
          <p:cNvSpPr txBox="1"/>
          <p:nvPr/>
        </p:nvSpPr>
        <p:spPr>
          <a:xfrm>
            <a:off x="9817981" y="2576413"/>
            <a:ext cx="1344000" cy="495900"/>
          </a:xfrm>
          <a:prstGeom prst="rect">
            <a:avLst/>
          </a:prstGeom>
          <a:noFill/>
          <a:ln>
            <a:noFill/>
          </a:ln>
        </p:spPr>
        <p:txBody>
          <a:bodyPr spcFirstLastPara="1" wrap="square" lIns="0" tIns="6350" rIns="0" bIns="0" anchor="b" anchorCtr="0">
            <a:noAutofit/>
          </a:bodyPr>
          <a:lstStyle/>
          <a:p>
            <a:pPr marL="0" marR="0" lvl="0" indent="0" algn="ctr" rtl="0">
              <a:lnSpc>
                <a:spcPct val="100000"/>
              </a:lnSpc>
              <a:spcBef>
                <a:spcPts val="0"/>
              </a:spcBef>
              <a:spcAft>
                <a:spcPts val="0"/>
              </a:spcAft>
              <a:buNone/>
            </a:pPr>
            <a:r>
              <a:rPr lang="ar-SA" sz="4800" dirty="0" smtClean="0">
                <a:solidFill>
                  <a:schemeClr val="bg1"/>
                </a:solidFill>
                <a:effectLst>
                  <a:outerShdw blurRad="38100" dist="38100" dir="2700000" algn="tl">
                    <a:srgbClr val="000000">
                      <a:alpha val="43137"/>
                    </a:srgbClr>
                  </a:outerShdw>
                </a:effectLst>
                <a:latin typeface="Teko Medium"/>
                <a:ea typeface="Teko Medium"/>
                <a:cs typeface="Teko Medium"/>
                <a:sym typeface="Teko Medium"/>
              </a:rPr>
              <a:t>16</a:t>
            </a:r>
            <a:endParaRPr sz="4800" dirty="0">
              <a:solidFill>
                <a:schemeClr val="bg1"/>
              </a:solidFill>
              <a:effectLst>
                <a:outerShdw blurRad="38100" dist="38100" dir="2700000" algn="tl">
                  <a:srgbClr val="000000">
                    <a:alpha val="43137"/>
                  </a:srgbClr>
                </a:outerShdw>
              </a:effectLst>
              <a:latin typeface="Teko Medium"/>
              <a:ea typeface="Teko Medium"/>
              <a:cs typeface="Teko Medium"/>
              <a:sym typeface="Teko Medium"/>
            </a:endParaRPr>
          </a:p>
        </p:txBody>
      </p:sp>
      <p:sp>
        <p:nvSpPr>
          <p:cNvPr id="525" name="Rectangle 524"/>
          <p:cNvSpPr/>
          <p:nvPr/>
        </p:nvSpPr>
        <p:spPr>
          <a:xfrm>
            <a:off x="9555498" y="3018877"/>
            <a:ext cx="1889645" cy="461665"/>
          </a:xfrm>
          <a:prstGeom prst="rect">
            <a:avLst/>
          </a:prstGeom>
        </p:spPr>
        <p:txBody>
          <a:bodyPr wrap="square">
            <a:spAutoFit/>
          </a:bodyPr>
          <a:lstStyle/>
          <a:p>
            <a:pPr algn="ctr" rtl="1">
              <a:spcBef>
                <a:spcPts val="0"/>
              </a:spcBef>
              <a:spcAft>
                <a:spcPts val="1600"/>
              </a:spcAft>
            </a:pPr>
            <a:r>
              <a:rPr lang="ar-SA" sz="2400" b="1" dirty="0" smtClean="0">
                <a:solidFill>
                  <a:schemeClr val="bg1"/>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مليار دولار</a:t>
            </a:r>
          </a:p>
        </p:txBody>
      </p:sp>
      <p:grpSp>
        <p:nvGrpSpPr>
          <p:cNvPr id="526" name="Google Shape;958;p35"/>
          <p:cNvGrpSpPr/>
          <p:nvPr/>
        </p:nvGrpSpPr>
        <p:grpSpPr>
          <a:xfrm>
            <a:off x="9697797" y="4079813"/>
            <a:ext cx="1668379" cy="1668379"/>
            <a:chOff x="6132600" y="1964350"/>
            <a:chExt cx="2178610" cy="2178610"/>
          </a:xfrm>
        </p:grpSpPr>
        <p:sp>
          <p:nvSpPr>
            <p:cNvPr id="527" name="Google Shape;959;p35"/>
            <p:cNvSpPr/>
            <p:nvPr/>
          </p:nvSpPr>
          <p:spPr>
            <a:xfrm>
              <a:off x="7209140" y="2206329"/>
              <a:ext cx="25496" cy="68034"/>
            </a:xfrm>
            <a:custGeom>
              <a:avLst/>
              <a:gdLst/>
              <a:ahLst/>
              <a:cxnLst/>
              <a:rect l="l" t="t" r="r" b="b"/>
              <a:pathLst>
                <a:path w="564" h="1505" extrusionOk="0">
                  <a:moveTo>
                    <a:pt x="0" y="1"/>
                  </a:moveTo>
                  <a:lnTo>
                    <a:pt x="0" y="1504"/>
                  </a:lnTo>
                  <a:lnTo>
                    <a:pt x="563" y="1504"/>
                  </a:lnTo>
                  <a:lnTo>
                    <a:pt x="563"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960;p35"/>
            <p:cNvSpPr/>
            <p:nvPr/>
          </p:nvSpPr>
          <p:spPr>
            <a:xfrm>
              <a:off x="7135231" y="2207956"/>
              <a:ext cx="31417" cy="70384"/>
            </a:xfrm>
            <a:custGeom>
              <a:avLst/>
              <a:gdLst/>
              <a:ahLst/>
              <a:cxnLst/>
              <a:rect l="l" t="t" r="r" b="b"/>
              <a:pathLst>
                <a:path w="695" h="1557" extrusionOk="0">
                  <a:moveTo>
                    <a:pt x="563" y="0"/>
                  </a:moveTo>
                  <a:lnTo>
                    <a:pt x="0" y="53"/>
                  </a:lnTo>
                  <a:lnTo>
                    <a:pt x="132" y="1556"/>
                  </a:lnTo>
                  <a:lnTo>
                    <a:pt x="695" y="1503"/>
                  </a:lnTo>
                  <a:lnTo>
                    <a:pt x="563"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961;p35"/>
            <p:cNvSpPr/>
            <p:nvPr/>
          </p:nvSpPr>
          <p:spPr>
            <a:xfrm>
              <a:off x="7062090" y="2217494"/>
              <a:ext cx="37023" cy="71560"/>
            </a:xfrm>
            <a:custGeom>
              <a:avLst/>
              <a:gdLst/>
              <a:ahLst/>
              <a:cxnLst/>
              <a:rect l="l" t="t" r="r" b="b"/>
              <a:pathLst>
                <a:path w="819" h="1583" extrusionOk="0">
                  <a:moveTo>
                    <a:pt x="555" y="0"/>
                  </a:moveTo>
                  <a:lnTo>
                    <a:pt x="1" y="97"/>
                  </a:lnTo>
                  <a:lnTo>
                    <a:pt x="264" y="1582"/>
                  </a:lnTo>
                  <a:lnTo>
                    <a:pt x="818" y="1486"/>
                  </a:lnTo>
                  <a:lnTo>
                    <a:pt x="555"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962;p35"/>
            <p:cNvSpPr/>
            <p:nvPr/>
          </p:nvSpPr>
          <p:spPr>
            <a:xfrm>
              <a:off x="6990170" y="2231372"/>
              <a:ext cx="42176" cy="72373"/>
            </a:xfrm>
            <a:custGeom>
              <a:avLst/>
              <a:gdLst/>
              <a:ahLst/>
              <a:cxnLst/>
              <a:rect l="l" t="t" r="r" b="b"/>
              <a:pathLst>
                <a:path w="933" h="1601" extrusionOk="0">
                  <a:moveTo>
                    <a:pt x="546" y="1"/>
                  </a:moveTo>
                  <a:lnTo>
                    <a:pt x="0" y="150"/>
                  </a:lnTo>
                  <a:lnTo>
                    <a:pt x="396" y="1601"/>
                  </a:lnTo>
                  <a:lnTo>
                    <a:pt x="932" y="1460"/>
                  </a:lnTo>
                  <a:lnTo>
                    <a:pt x="546"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963;p35"/>
            <p:cNvSpPr/>
            <p:nvPr/>
          </p:nvSpPr>
          <p:spPr>
            <a:xfrm>
              <a:off x="7344255" y="2216680"/>
              <a:ext cx="37023" cy="71560"/>
            </a:xfrm>
            <a:custGeom>
              <a:avLst/>
              <a:gdLst/>
              <a:ahLst/>
              <a:cxnLst/>
              <a:rect l="l" t="t" r="r" b="b"/>
              <a:pathLst>
                <a:path w="819" h="1583" extrusionOk="0">
                  <a:moveTo>
                    <a:pt x="264" y="0"/>
                  </a:moveTo>
                  <a:lnTo>
                    <a:pt x="0" y="1486"/>
                  </a:lnTo>
                  <a:lnTo>
                    <a:pt x="554" y="1583"/>
                  </a:lnTo>
                  <a:lnTo>
                    <a:pt x="818" y="97"/>
                  </a:lnTo>
                  <a:lnTo>
                    <a:pt x="264"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964;p35"/>
            <p:cNvSpPr/>
            <p:nvPr/>
          </p:nvSpPr>
          <p:spPr>
            <a:xfrm>
              <a:off x="7277489" y="2208724"/>
              <a:ext cx="31463" cy="69977"/>
            </a:xfrm>
            <a:custGeom>
              <a:avLst/>
              <a:gdLst/>
              <a:ahLst/>
              <a:cxnLst/>
              <a:rect l="l" t="t" r="r" b="b"/>
              <a:pathLst>
                <a:path w="696" h="1548" extrusionOk="0">
                  <a:moveTo>
                    <a:pt x="132" y="1"/>
                  </a:moveTo>
                  <a:lnTo>
                    <a:pt x="1" y="1495"/>
                  </a:lnTo>
                  <a:lnTo>
                    <a:pt x="563" y="1548"/>
                  </a:lnTo>
                  <a:lnTo>
                    <a:pt x="695" y="45"/>
                  </a:lnTo>
                  <a:lnTo>
                    <a:pt x="132"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33" name="Google Shape;965;p35"/>
            <p:cNvGrpSpPr/>
            <p:nvPr/>
          </p:nvGrpSpPr>
          <p:grpSpPr>
            <a:xfrm>
              <a:off x="6132600" y="1964350"/>
              <a:ext cx="2178610" cy="2178610"/>
              <a:chOff x="6132600" y="1964350"/>
              <a:chExt cx="2178610" cy="2178610"/>
            </a:xfrm>
          </p:grpSpPr>
          <p:sp>
            <p:nvSpPr>
              <p:cNvPr id="534" name="Google Shape;966;p35"/>
              <p:cNvSpPr/>
              <p:nvPr/>
            </p:nvSpPr>
            <p:spPr>
              <a:xfrm>
                <a:off x="6132600" y="1964350"/>
                <a:ext cx="2178610" cy="2178610"/>
              </a:xfrm>
              <a:custGeom>
                <a:avLst/>
                <a:gdLst/>
                <a:ahLst/>
                <a:cxnLst/>
                <a:rect l="l" t="t" r="r" b="b"/>
                <a:pathLst>
                  <a:path w="48194" h="48194" extrusionOk="0">
                    <a:moveTo>
                      <a:pt x="24097" y="0"/>
                    </a:moveTo>
                    <a:lnTo>
                      <a:pt x="24097" y="24097"/>
                    </a:lnTo>
                    <a:lnTo>
                      <a:pt x="0" y="24097"/>
                    </a:lnTo>
                    <a:cubicBezTo>
                      <a:pt x="0" y="37407"/>
                      <a:pt x="10787" y="48194"/>
                      <a:pt x="24097" y="48194"/>
                    </a:cubicBezTo>
                    <a:cubicBezTo>
                      <a:pt x="37407" y="48194"/>
                      <a:pt x="48194" y="37407"/>
                      <a:pt x="48194" y="24097"/>
                    </a:cubicBezTo>
                    <a:cubicBezTo>
                      <a:pt x="48194" y="10787"/>
                      <a:pt x="37407" y="0"/>
                      <a:pt x="24097" y="0"/>
                    </a:cubicBezTo>
                    <a:close/>
                  </a:path>
                </a:pathLst>
              </a:custGeom>
              <a:solidFill>
                <a:srgbClr val="4DFFFF">
                  <a:alpha val="3077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5" name="Google Shape;967;p35"/>
              <p:cNvSpPr/>
              <p:nvPr/>
            </p:nvSpPr>
            <p:spPr>
              <a:xfrm>
                <a:off x="6235123" y="2066873"/>
                <a:ext cx="1973560" cy="1973560"/>
              </a:xfrm>
              <a:custGeom>
                <a:avLst/>
                <a:gdLst/>
                <a:ahLst/>
                <a:cxnLst/>
                <a:rect l="l" t="t" r="r" b="b"/>
                <a:pathLst>
                  <a:path w="43658" h="43658" extrusionOk="0">
                    <a:moveTo>
                      <a:pt x="21829" y="563"/>
                    </a:moveTo>
                    <a:cubicBezTo>
                      <a:pt x="33556" y="563"/>
                      <a:pt x="43095" y="10101"/>
                      <a:pt x="43095" y="21829"/>
                    </a:cubicBezTo>
                    <a:cubicBezTo>
                      <a:pt x="43095" y="33556"/>
                      <a:pt x="33556" y="43095"/>
                      <a:pt x="21829" y="43095"/>
                    </a:cubicBezTo>
                    <a:cubicBezTo>
                      <a:pt x="10101" y="43095"/>
                      <a:pt x="563" y="33556"/>
                      <a:pt x="563" y="21829"/>
                    </a:cubicBezTo>
                    <a:cubicBezTo>
                      <a:pt x="563" y="10101"/>
                      <a:pt x="10101" y="563"/>
                      <a:pt x="21829" y="563"/>
                    </a:cubicBezTo>
                    <a:close/>
                    <a:moveTo>
                      <a:pt x="21829" y="0"/>
                    </a:moveTo>
                    <a:cubicBezTo>
                      <a:pt x="9794" y="0"/>
                      <a:pt x="0" y="9794"/>
                      <a:pt x="0" y="21829"/>
                    </a:cubicBezTo>
                    <a:cubicBezTo>
                      <a:pt x="0" y="33864"/>
                      <a:pt x="9794" y="43657"/>
                      <a:pt x="21829" y="43657"/>
                    </a:cubicBezTo>
                    <a:cubicBezTo>
                      <a:pt x="33864" y="43657"/>
                      <a:pt x="43657" y="33864"/>
                      <a:pt x="43657" y="21829"/>
                    </a:cubicBezTo>
                    <a:cubicBezTo>
                      <a:pt x="43657" y="9794"/>
                      <a:pt x="33864" y="0"/>
                      <a:pt x="21829" y="0"/>
                    </a:cubicBez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6" name="Google Shape;968;p35"/>
              <p:cNvSpPr/>
              <p:nvPr/>
            </p:nvSpPr>
            <p:spPr>
              <a:xfrm>
                <a:off x="6434203" y="2323182"/>
                <a:ext cx="1518165" cy="1460574"/>
              </a:xfrm>
              <a:custGeom>
                <a:avLst/>
                <a:gdLst/>
                <a:ahLst/>
                <a:cxnLst/>
                <a:rect l="l" t="t" r="r" b="b"/>
                <a:pathLst>
                  <a:path w="33584" h="32310" extrusionOk="0">
                    <a:moveTo>
                      <a:pt x="17425" y="696"/>
                    </a:moveTo>
                    <a:cubicBezTo>
                      <a:pt x="19418" y="696"/>
                      <a:pt x="21428" y="1081"/>
                      <a:pt x="23341" y="1873"/>
                    </a:cubicBezTo>
                    <a:cubicBezTo>
                      <a:pt x="29126" y="4264"/>
                      <a:pt x="32889" y="9908"/>
                      <a:pt x="32889" y="16159"/>
                    </a:cubicBezTo>
                    <a:cubicBezTo>
                      <a:pt x="32889" y="24704"/>
                      <a:pt x="25970" y="31623"/>
                      <a:pt x="17425" y="31623"/>
                    </a:cubicBezTo>
                    <a:cubicBezTo>
                      <a:pt x="11165" y="31623"/>
                      <a:pt x="5530" y="27860"/>
                      <a:pt x="3139" y="22075"/>
                    </a:cubicBezTo>
                    <a:cubicBezTo>
                      <a:pt x="739" y="16299"/>
                      <a:pt x="2066" y="9644"/>
                      <a:pt x="6488" y="5223"/>
                    </a:cubicBezTo>
                    <a:cubicBezTo>
                      <a:pt x="9446" y="2265"/>
                      <a:pt x="13402" y="696"/>
                      <a:pt x="17425" y="696"/>
                    </a:cubicBezTo>
                    <a:close/>
                    <a:moveTo>
                      <a:pt x="17425" y="1"/>
                    </a:moveTo>
                    <a:cubicBezTo>
                      <a:pt x="10893" y="1"/>
                      <a:pt x="5003" y="3939"/>
                      <a:pt x="2497" y="9970"/>
                    </a:cubicBezTo>
                    <a:cubicBezTo>
                      <a:pt x="1" y="16009"/>
                      <a:pt x="1381" y="22954"/>
                      <a:pt x="6005" y="27579"/>
                    </a:cubicBezTo>
                    <a:cubicBezTo>
                      <a:pt x="9092" y="30666"/>
                      <a:pt x="13226" y="32310"/>
                      <a:pt x="17430" y="32310"/>
                    </a:cubicBezTo>
                    <a:cubicBezTo>
                      <a:pt x="19511" y="32310"/>
                      <a:pt x="21608" y="31907"/>
                      <a:pt x="23605" y="31077"/>
                    </a:cubicBezTo>
                    <a:cubicBezTo>
                      <a:pt x="29645" y="28581"/>
                      <a:pt x="33583" y="22691"/>
                      <a:pt x="33583" y="16159"/>
                    </a:cubicBezTo>
                    <a:cubicBezTo>
                      <a:pt x="33583" y="7236"/>
                      <a:pt x="26348" y="1"/>
                      <a:pt x="17425" y="1"/>
                    </a:cubicBez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969;p35"/>
              <p:cNvSpPr/>
              <p:nvPr/>
            </p:nvSpPr>
            <p:spPr>
              <a:xfrm>
                <a:off x="6361876" y="2193626"/>
                <a:ext cx="1720005" cy="1720005"/>
              </a:xfrm>
              <a:custGeom>
                <a:avLst/>
                <a:gdLst/>
                <a:ahLst/>
                <a:cxnLst/>
                <a:rect l="l" t="t" r="r" b="b"/>
                <a:pathLst>
                  <a:path w="38049" h="38049" extrusionOk="0">
                    <a:moveTo>
                      <a:pt x="19025" y="563"/>
                    </a:moveTo>
                    <a:cubicBezTo>
                      <a:pt x="29205" y="563"/>
                      <a:pt x="37486" y="8845"/>
                      <a:pt x="37486" y="19025"/>
                    </a:cubicBezTo>
                    <a:cubicBezTo>
                      <a:pt x="37486" y="29205"/>
                      <a:pt x="29205" y="37486"/>
                      <a:pt x="19025" y="37486"/>
                    </a:cubicBezTo>
                    <a:cubicBezTo>
                      <a:pt x="8845" y="37486"/>
                      <a:pt x="563" y="29205"/>
                      <a:pt x="563" y="19025"/>
                    </a:cubicBezTo>
                    <a:cubicBezTo>
                      <a:pt x="563" y="8845"/>
                      <a:pt x="8845" y="563"/>
                      <a:pt x="19025" y="563"/>
                    </a:cubicBezTo>
                    <a:close/>
                    <a:moveTo>
                      <a:pt x="19025" y="1"/>
                    </a:moveTo>
                    <a:cubicBezTo>
                      <a:pt x="8537" y="1"/>
                      <a:pt x="1" y="8537"/>
                      <a:pt x="1" y="19025"/>
                    </a:cubicBezTo>
                    <a:cubicBezTo>
                      <a:pt x="1" y="29513"/>
                      <a:pt x="8537" y="38049"/>
                      <a:pt x="19025" y="38049"/>
                    </a:cubicBezTo>
                    <a:cubicBezTo>
                      <a:pt x="29513" y="38049"/>
                      <a:pt x="38049" y="29513"/>
                      <a:pt x="38049" y="19025"/>
                    </a:cubicBezTo>
                    <a:cubicBezTo>
                      <a:pt x="38049" y="8537"/>
                      <a:pt x="29513" y="1"/>
                      <a:pt x="19025" y="1"/>
                    </a:cubicBez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970;p35"/>
              <p:cNvSpPr/>
              <p:nvPr/>
            </p:nvSpPr>
            <p:spPr>
              <a:xfrm>
                <a:off x="6429818" y="2261568"/>
                <a:ext cx="1584119" cy="1584119"/>
              </a:xfrm>
              <a:custGeom>
                <a:avLst/>
                <a:gdLst/>
                <a:ahLst/>
                <a:cxnLst/>
                <a:rect l="l" t="t" r="r" b="b"/>
                <a:pathLst>
                  <a:path w="35043" h="35043" extrusionOk="0">
                    <a:moveTo>
                      <a:pt x="17522" y="564"/>
                    </a:moveTo>
                    <a:cubicBezTo>
                      <a:pt x="26876" y="564"/>
                      <a:pt x="34480" y="8168"/>
                      <a:pt x="34480" y="17522"/>
                    </a:cubicBezTo>
                    <a:cubicBezTo>
                      <a:pt x="34480" y="26876"/>
                      <a:pt x="26876" y="34480"/>
                      <a:pt x="17522" y="34480"/>
                    </a:cubicBezTo>
                    <a:cubicBezTo>
                      <a:pt x="8168" y="34480"/>
                      <a:pt x="563" y="26876"/>
                      <a:pt x="563" y="17522"/>
                    </a:cubicBezTo>
                    <a:cubicBezTo>
                      <a:pt x="563" y="8168"/>
                      <a:pt x="8168" y="564"/>
                      <a:pt x="17522" y="564"/>
                    </a:cubicBezTo>
                    <a:close/>
                    <a:moveTo>
                      <a:pt x="17522" y="1"/>
                    </a:moveTo>
                    <a:cubicBezTo>
                      <a:pt x="7860" y="1"/>
                      <a:pt x="1" y="7860"/>
                      <a:pt x="1" y="17522"/>
                    </a:cubicBezTo>
                    <a:cubicBezTo>
                      <a:pt x="1" y="27183"/>
                      <a:pt x="7860" y="35043"/>
                      <a:pt x="17522" y="35043"/>
                    </a:cubicBezTo>
                    <a:cubicBezTo>
                      <a:pt x="27183" y="35043"/>
                      <a:pt x="35043" y="27183"/>
                      <a:pt x="35043" y="17522"/>
                    </a:cubicBezTo>
                    <a:cubicBezTo>
                      <a:pt x="35043" y="7860"/>
                      <a:pt x="27183" y="1"/>
                      <a:pt x="17522" y="1"/>
                    </a:cubicBez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971;p35"/>
              <p:cNvSpPr/>
              <p:nvPr/>
            </p:nvSpPr>
            <p:spPr>
              <a:xfrm>
                <a:off x="7209140" y="3832914"/>
                <a:ext cx="25496" cy="67988"/>
              </a:xfrm>
              <a:custGeom>
                <a:avLst/>
                <a:gdLst/>
                <a:ahLst/>
                <a:cxnLst/>
                <a:rect l="l" t="t" r="r" b="b"/>
                <a:pathLst>
                  <a:path w="564" h="1504" extrusionOk="0">
                    <a:moveTo>
                      <a:pt x="0" y="0"/>
                    </a:moveTo>
                    <a:lnTo>
                      <a:pt x="0" y="1504"/>
                    </a:lnTo>
                    <a:lnTo>
                      <a:pt x="563" y="1504"/>
                    </a:lnTo>
                    <a:lnTo>
                      <a:pt x="563"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972;p35"/>
              <p:cNvSpPr/>
              <p:nvPr/>
            </p:nvSpPr>
            <p:spPr>
              <a:xfrm>
                <a:off x="7277082" y="3828529"/>
                <a:ext cx="31463" cy="69977"/>
              </a:xfrm>
              <a:custGeom>
                <a:avLst/>
                <a:gdLst/>
                <a:ahLst/>
                <a:cxnLst/>
                <a:rect l="l" t="t" r="r" b="b"/>
                <a:pathLst>
                  <a:path w="696" h="1548" extrusionOk="0">
                    <a:moveTo>
                      <a:pt x="563" y="1"/>
                    </a:moveTo>
                    <a:lnTo>
                      <a:pt x="1" y="53"/>
                    </a:lnTo>
                    <a:lnTo>
                      <a:pt x="133" y="1548"/>
                    </a:lnTo>
                    <a:lnTo>
                      <a:pt x="695" y="1504"/>
                    </a:lnTo>
                    <a:lnTo>
                      <a:pt x="563"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973;p35"/>
              <p:cNvSpPr/>
              <p:nvPr/>
            </p:nvSpPr>
            <p:spPr>
              <a:xfrm>
                <a:off x="7344662" y="3819398"/>
                <a:ext cx="36978" cy="71198"/>
              </a:xfrm>
              <a:custGeom>
                <a:avLst/>
                <a:gdLst/>
                <a:ahLst/>
                <a:cxnLst/>
                <a:rect l="l" t="t" r="r" b="b"/>
                <a:pathLst>
                  <a:path w="818" h="1575" extrusionOk="0">
                    <a:moveTo>
                      <a:pt x="554" y="0"/>
                    </a:moveTo>
                    <a:lnTo>
                      <a:pt x="0" y="97"/>
                    </a:lnTo>
                    <a:lnTo>
                      <a:pt x="264" y="1574"/>
                    </a:lnTo>
                    <a:lnTo>
                      <a:pt x="818" y="1477"/>
                    </a:lnTo>
                    <a:lnTo>
                      <a:pt x="554"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974;p35"/>
              <p:cNvSpPr/>
              <p:nvPr/>
            </p:nvSpPr>
            <p:spPr>
              <a:xfrm>
                <a:off x="7411429" y="3803124"/>
                <a:ext cx="42176" cy="72373"/>
              </a:xfrm>
              <a:custGeom>
                <a:avLst/>
                <a:gdLst/>
                <a:ahLst/>
                <a:cxnLst/>
                <a:rect l="l" t="t" r="r" b="b"/>
                <a:pathLst>
                  <a:path w="933" h="1601" extrusionOk="0">
                    <a:moveTo>
                      <a:pt x="536" y="0"/>
                    </a:moveTo>
                    <a:lnTo>
                      <a:pt x="0" y="149"/>
                    </a:lnTo>
                    <a:lnTo>
                      <a:pt x="387" y="1600"/>
                    </a:lnTo>
                    <a:lnTo>
                      <a:pt x="932" y="1451"/>
                    </a:lnTo>
                    <a:lnTo>
                      <a:pt x="536"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975;p35"/>
              <p:cNvSpPr/>
              <p:nvPr/>
            </p:nvSpPr>
            <p:spPr>
              <a:xfrm>
                <a:off x="6920239" y="2253657"/>
                <a:ext cx="46923" cy="72373"/>
              </a:xfrm>
              <a:custGeom>
                <a:avLst/>
                <a:gdLst/>
                <a:ahLst/>
                <a:cxnLst/>
                <a:rect l="l" t="t" r="r" b="b"/>
                <a:pathLst>
                  <a:path w="1038" h="1601" extrusionOk="0">
                    <a:moveTo>
                      <a:pt x="528" y="0"/>
                    </a:moveTo>
                    <a:lnTo>
                      <a:pt x="0" y="185"/>
                    </a:lnTo>
                    <a:lnTo>
                      <a:pt x="510" y="1600"/>
                    </a:lnTo>
                    <a:lnTo>
                      <a:pt x="1038" y="1407"/>
                    </a:lnTo>
                    <a:lnTo>
                      <a:pt x="528"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976;p35"/>
              <p:cNvSpPr/>
              <p:nvPr/>
            </p:nvSpPr>
            <p:spPr>
              <a:xfrm>
                <a:off x="7476568" y="3781246"/>
                <a:ext cx="46968" cy="72373"/>
              </a:xfrm>
              <a:custGeom>
                <a:avLst/>
                <a:gdLst/>
                <a:ahLst/>
                <a:cxnLst/>
                <a:rect l="l" t="t" r="r" b="b"/>
                <a:pathLst>
                  <a:path w="1039" h="1601" extrusionOk="0">
                    <a:moveTo>
                      <a:pt x="528" y="1"/>
                    </a:moveTo>
                    <a:lnTo>
                      <a:pt x="1" y="194"/>
                    </a:lnTo>
                    <a:lnTo>
                      <a:pt x="511" y="1601"/>
                    </a:lnTo>
                    <a:lnTo>
                      <a:pt x="1038" y="1416"/>
                    </a:lnTo>
                    <a:lnTo>
                      <a:pt x="528"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977;p35"/>
              <p:cNvSpPr/>
              <p:nvPr/>
            </p:nvSpPr>
            <p:spPr>
              <a:xfrm>
                <a:off x="6852252" y="2280283"/>
                <a:ext cx="51715" cy="72373"/>
              </a:xfrm>
              <a:custGeom>
                <a:avLst/>
                <a:gdLst/>
                <a:ahLst/>
                <a:cxnLst/>
                <a:rect l="l" t="t" r="r" b="b"/>
                <a:pathLst>
                  <a:path w="1144" h="1601" extrusionOk="0">
                    <a:moveTo>
                      <a:pt x="511" y="0"/>
                    </a:moveTo>
                    <a:lnTo>
                      <a:pt x="1" y="237"/>
                    </a:lnTo>
                    <a:lnTo>
                      <a:pt x="634" y="1600"/>
                    </a:lnTo>
                    <a:lnTo>
                      <a:pt x="1144" y="1363"/>
                    </a:lnTo>
                    <a:lnTo>
                      <a:pt x="511"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978;p35"/>
              <p:cNvSpPr/>
              <p:nvPr/>
            </p:nvSpPr>
            <p:spPr>
              <a:xfrm>
                <a:off x="7539764" y="3755434"/>
                <a:ext cx="51715" cy="72373"/>
              </a:xfrm>
              <a:custGeom>
                <a:avLst/>
                <a:gdLst/>
                <a:ahLst/>
                <a:cxnLst/>
                <a:rect l="l" t="t" r="r" b="b"/>
                <a:pathLst>
                  <a:path w="1144" h="1601" extrusionOk="0">
                    <a:moveTo>
                      <a:pt x="511" y="0"/>
                    </a:moveTo>
                    <a:lnTo>
                      <a:pt x="1" y="237"/>
                    </a:lnTo>
                    <a:lnTo>
                      <a:pt x="634" y="1600"/>
                    </a:lnTo>
                    <a:lnTo>
                      <a:pt x="1144" y="1363"/>
                    </a:lnTo>
                    <a:lnTo>
                      <a:pt x="511"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979;p35"/>
              <p:cNvSpPr/>
              <p:nvPr/>
            </p:nvSpPr>
            <p:spPr>
              <a:xfrm>
                <a:off x="6787474" y="2314050"/>
                <a:ext cx="55693" cy="71560"/>
              </a:xfrm>
              <a:custGeom>
                <a:avLst/>
                <a:gdLst/>
                <a:ahLst/>
                <a:cxnLst/>
                <a:rect l="l" t="t" r="r" b="b"/>
                <a:pathLst>
                  <a:path w="1232" h="1583" extrusionOk="0">
                    <a:moveTo>
                      <a:pt x="484" y="0"/>
                    </a:moveTo>
                    <a:lnTo>
                      <a:pt x="1" y="282"/>
                    </a:lnTo>
                    <a:lnTo>
                      <a:pt x="748" y="1583"/>
                    </a:lnTo>
                    <a:lnTo>
                      <a:pt x="1232" y="1301"/>
                    </a:lnTo>
                    <a:lnTo>
                      <a:pt x="484"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980;p35"/>
              <p:cNvSpPr/>
              <p:nvPr/>
            </p:nvSpPr>
            <p:spPr>
              <a:xfrm>
                <a:off x="7600564" y="3722028"/>
                <a:ext cx="56099" cy="71605"/>
              </a:xfrm>
              <a:custGeom>
                <a:avLst/>
                <a:gdLst/>
                <a:ahLst/>
                <a:cxnLst/>
                <a:rect l="l" t="t" r="r" b="b"/>
                <a:pathLst>
                  <a:path w="1241" h="1584" extrusionOk="0">
                    <a:moveTo>
                      <a:pt x="484" y="1"/>
                    </a:moveTo>
                    <a:lnTo>
                      <a:pt x="1" y="282"/>
                    </a:lnTo>
                    <a:lnTo>
                      <a:pt x="748" y="1583"/>
                    </a:lnTo>
                    <a:lnTo>
                      <a:pt x="1240" y="1302"/>
                    </a:lnTo>
                    <a:lnTo>
                      <a:pt x="484"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981;p35"/>
              <p:cNvSpPr/>
              <p:nvPr/>
            </p:nvSpPr>
            <p:spPr>
              <a:xfrm>
                <a:off x="6725499" y="2352203"/>
                <a:ext cx="59671" cy="70384"/>
              </a:xfrm>
              <a:custGeom>
                <a:avLst/>
                <a:gdLst/>
                <a:ahLst/>
                <a:cxnLst/>
                <a:rect l="l" t="t" r="r" b="b"/>
                <a:pathLst>
                  <a:path w="1320" h="1557" extrusionOk="0">
                    <a:moveTo>
                      <a:pt x="458" y="0"/>
                    </a:moveTo>
                    <a:lnTo>
                      <a:pt x="1" y="326"/>
                    </a:lnTo>
                    <a:lnTo>
                      <a:pt x="862" y="1556"/>
                    </a:lnTo>
                    <a:lnTo>
                      <a:pt x="1319" y="1240"/>
                    </a:lnTo>
                    <a:lnTo>
                      <a:pt x="458"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982;p35"/>
              <p:cNvSpPr/>
              <p:nvPr/>
            </p:nvSpPr>
            <p:spPr>
              <a:xfrm>
                <a:off x="7658606" y="3685458"/>
                <a:ext cx="59625" cy="70384"/>
              </a:xfrm>
              <a:custGeom>
                <a:avLst/>
                <a:gdLst/>
                <a:ahLst/>
                <a:cxnLst/>
                <a:rect l="l" t="t" r="r" b="b"/>
                <a:pathLst>
                  <a:path w="1319" h="1557" extrusionOk="0">
                    <a:moveTo>
                      <a:pt x="457" y="1"/>
                    </a:moveTo>
                    <a:lnTo>
                      <a:pt x="0" y="326"/>
                    </a:lnTo>
                    <a:lnTo>
                      <a:pt x="862" y="1557"/>
                    </a:lnTo>
                    <a:lnTo>
                      <a:pt x="1319" y="1232"/>
                    </a:lnTo>
                    <a:lnTo>
                      <a:pt x="457"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983;p35"/>
              <p:cNvSpPr/>
              <p:nvPr/>
            </p:nvSpPr>
            <p:spPr>
              <a:xfrm>
                <a:off x="6667502" y="2396322"/>
                <a:ext cx="63197" cy="68395"/>
              </a:xfrm>
              <a:custGeom>
                <a:avLst/>
                <a:gdLst/>
                <a:ahLst/>
                <a:cxnLst/>
                <a:rect l="l" t="t" r="r" b="b"/>
                <a:pathLst>
                  <a:path w="1398" h="1513" extrusionOk="0">
                    <a:moveTo>
                      <a:pt x="431" y="0"/>
                    </a:moveTo>
                    <a:lnTo>
                      <a:pt x="0" y="361"/>
                    </a:lnTo>
                    <a:lnTo>
                      <a:pt x="967" y="1512"/>
                    </a:lnTo>
                    <a:lnTo>
                      <a:pt x="1398" y="1152"/>
                    </a:lnTo>
                    <a:lnTo>
                      <a:pt x="431"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984;p35"/>
              <p:cNvSpPr/>
              <p:nvPr/>
            </p:nvSpPr>
            <p:spPr>
              <a:xfrm>
                <a:off x="7713032" y="3642966"/>
                <a:ext cx="63242" cy="68395"/>
              </a:xfrm>
              <a:custGeom>
                <a:avLst/>
                <a:gdLst/>
                <a:ahLst/>
                <a:cxnLst/>
                <a:rect l="l" t="t" r="r" b="b"/>
                <a:pathLst>
                  <a:path w="1399" h="1513" extrusionOk="0">
                    <a:moveTo>
                      <a:pt x="431" y="0"/>
                    </a:moveTo>
                    <a:lnTo>
                      <a:pt x="1" y="361"/>
                    </a:lnTo>
                    <a:lnTo>
                      <a:pt x="968" y="1512"/>
                    </a:lnTo>
                    <a:lnTo>
                      <a:pt x="1399" y="1152"/>
                    </a:lnTo>
                    <a:lnTo>
                      <a:pt x="431"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985;p35"/>
              <p:cNvSpPr/>
              <p:nvPr/>
            </p:nvSpPr>
            <p:spPr>
              <a:xfrm>
                <a:off x="6613845" y="2446002"/>
                <a:ext cx="65999" cy="65999"/>
              </a:xfrm>
              <a:custGeom>
                <a:avLst/>
                <a:gdLst/>
                <a:ahLst/>
                <a:cxnLst/>
                <a:rect l="l" t="t" r="r" b="b"/>
                <a:pathLst>
                  <a:path w="1460" h="1460" extrusionOk="0">
                    <a:moveTo>
                      <a:pt x="396" y="0"/>
                    </a:moveTo>
                    <a:lnTo>
                      <a:pt x="0" y="396"/>
                    </a:lnTo>
                    <a:lnTo>
                      <a:pt x="1064" y="1459"/>
                    </a:lnTo>
                    <a:lnTo>
                      <a:pt x="1460" y="1055"/>
                    </a:lnTo>
                    <a:lnTo>
                      <a:pt x="396"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986;p35"/>
              <p:cNvSpPr/>
              <p:nvPr/>
            </p:nvSpPr>
            <p:spPr>
              <a:xfrm>
                <a:off x="7763887" y="3595682"/>
                <a:ext cx="66045" cy="65999"/>
              </a:xfrm>
              <a:custGeom>
                <a:avLst/>
                <a:gdLst/>
                <a:ahLst/>
                <a:cxnLst/>
                <a:rect l="l" t="t" r="r" b="b"/>
                <a:pathLst>
                  <a:path w="1461" h="1460" extrusionOk="0">
                    <a:moveTo>
                      <a:pt x="397" y="0"/>
                    </a:moveTo>
                    <a:lnTo>
                      <a:pt x="1" y="396"/>
                    </a:lnTo>
                    <a:lnTo>
                      <a:pt x="1065" y="1459"/>
                    </a:lnTo>
                    <a:lnTo>
                      <a:pt x="1460" y="1055"/>
                    </a:lnTo>
                    <a:lnTo>
                      <a:pt x="397"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987;p35"/>
              <p:cNvSpPr/>
              <p:nvPr/>
            </p:nvSpPr>
            <p:spPr>
              <a:xfrm>
                <a:off x="6564572" y="2498845"/>
                <a:ext cx="68395" cy="63242"/>
              </a:xfrm>
              <a:custGeom>
                <a:avLst/>
                <a:gdLst/>
                <a:ahLst/>
                <a:cxnLst/>
                <a:rect l="l" t="t" r="r" b="b"/>
                <a:pathLst>
                  <a:path w="1513" h="1399" extrusionOk="0">
                    <a:moveTo>
                      <a:pt x="361" y="0"/>
                    </a:moveTo>
                    <a:lnTo>
                      <a:pt x="0" y="431"/>
                    </a:lnTo>
                    <a:lnTo>
                      <a:pt x="1152" y="1398"/>
                    </a:lnTo>
                    <a:lnTo>
                      <a:pt x="1512" y="967"/>
                    </a:lnTo>
                    <a:lnTo>
                      <a:pt x="361"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988;p35"/>
              <p:cNvSpPr/>
              <p:nvPr/>
            </p:nvSpPr>
            <p:spPr>
              <a:xfrm>
                <a:off x="7810402" y="3544375"/>
                <a:ext cx="68395" cy="63242"/>
              </a:xfrm>
              <a:custGeom>
                <a:avLst/>
                <a:gdLst/>
                <a:ahLst/>
                <a:cxnLst/>
                <a:rect l="l" t="t" r="r" b="b"/>
                <a:pathLst>
                  <a:path w="1513" h="1399" extrusionOk="0">
                    <a:moveTo>
                      <a:pt x="361" y="1"/>
                    </a:moveTo>
                    <a:lnTo>
                      <a:pt x="1" y="432"/>
                    </a:lnTo>
                    <a:lnTo>
                      <a:pt x="1152" y="1399"/>
                    </a:lnTo>
                    <a:lnTo>
                      <a:pt x="1513" y="968"/>
                    </a:lnTo>
                    <a:lnTo>
                      <a:pt x="361"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989;p35"/>
              <p:cNvSpPr/>
              <p:nvPr/>
            </p:nvSpPr>
            <p:spPr>
              <a:xfrm>
                <a:off x="6520453" y="2556842"/>
                <a:ext cx="69977" cy="60077"/>
              </a:xfrm>
              <a:custGeom>
                <a:avLst/>
                <a:gdLst/>
                <a:ahLst/>
                <a:cxnLst/>
                <a:rect l="l" t="t" r="r" b="b"/>
                <a:pathLst>
                  <a:path w="1548" h="1329" extrusionOk="0">
                    <a:moveTo>
                      <a:pt x="317" y="1"/>
                    </a:moveTo>
                    <a:lnTo>
                      <a:pt x="0" y="467"/>
                    </a:lnTo>
                    <a:lnTo>
                      <a:pt x="1231" y="1328"/>
                    </a:lnTo>
                    <a:lnTo>
                      <a:pt x="1548" y="862"/>
                    </a:lnTo>
                    <a:lnTo>
                      <a:pt x="317"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990;p35"/>
              <p:cNvSpPr/>
              <p:nvPr/>
            </p:nvSpPr>
            <p:spPr>
              <a:xfrm>
                <a:off x="7826314" y="3469291"/>
                <a:ext cx="69977" cy="59671"/>
              </a:xfrm>
              <a:custGeom>
                <a:avLst/>
                <a:gdLst/>
                <a:ahLst/>
                <a:cxnLst/>
                <a:rect l="l" t="t" r="r" b="b"/>
                <a:pathLst>
                  <a:path w="1548" h="1320" extrusionOk="0">
                    <a:moveTo>
                      <a:pt x="317" y="0"/>
                    </a:moveTo>
                    <a:lnTo>
                      <a:pt x="0" y="466"/>
                    </a:lnTo>
                    <a:lnTo>
                      <a:pt x="1231" y="1319"/>
                    </a:lnTo>
                    <a:lnTo>
                      <a:pt x="1547" y="862"/>
                    </a:lnTo>
                    <a:lnTo>
                      <a:pt x="317"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991;p35"/>
              <p:cNvSpPr/>
              <p:nvPr/>
            </p:nvSpPr>
            <p:spPr>
              <a:xfrm>
                <a:off x="6481893" y="2619224"/>
                <a:ext cx="71560" cy="55693"/>
              </a:xfrm>
              <a:custGeom>
                <a:avLst/>
                <a:gdLst/>
                <a:ahLst/>
                <a:cxnLst/>
                <a:rect l="l" t="t" r="r" b="b"/>
                <a:pathLst>
                  <a:path w="1583" h="1232" extrusionOk="0">
                    <a:moveTo>
                      <a:pt x="282" y="1"/>
                    </a:moveTo>
                    <a:lnTo>
                      <a:pt x="0" y="485"/>
                    </a:lnTo>
                    <a:lnTo>
                      <a:pt x="1302" y="1232"/>
                    </a:lnTo>
                    <a:lnTo>
                      <a:pt x="1583" y="748"/>
                    </a:lnTo>
                    <a:lnTo>
                      <a:pt x="282"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992;p35"/>
              <p:cNvSpPr/>
              <p:nvPr/>
            </p:nvSpPr>
            <p:spPr>
              <a:xfrm>
                <a:off x="7890685" y="3432314"/>
                <a:ext cx="71560" cy="56099"/>
              </a:xfrm>
              <a:custGeom>
                <a:avLst/>
                <a:gdLst/>
                <a:ahLst/>
                <a:cxnLst/>
                <a:rect l="l" t="t" r="r" b="b"/>
                <a:pathLst>
                  <a:path w="1583" h="1241" extrusionOk="0">
                    <a:moveTo>
                      <a:pt x="282" y="1"/>
                    </a:moveTo>
                    <a:lnTo>
                      <a:pt x="0" y="493"/>
                    </a:lnTo>
                    <a:lnTo>
                      <a:pt x="1302" y="1240"/>
                    </a:lnTo>
                    <a:lnTo>
                      <a:pt x="1583" y="757"/>
                    </a:lnTo>
                    <a:lnTo>
                      <a:pt x="282"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993;p35"/>
              <p:cNvSpPr/>
              <p:nvPr/>
            </p:nvSpPr>
            <p:spPr>
              <a:xfrm>
                <a:off x="6448126" y="2683640"/>
                <a:ext cx="72373" cy="51715"/>
              </a:xfrm>
              <a:custGeom>
                <a:avLst/>
                <a:gdLst/>
                <a:ahLst/>
                <a:cxnLst/>
                <a:rect l="l" t="t" r="r" b="b"/>
                <a:pathLst>
                  <a:path w="1601" h="1144" extrusionOk="0">
                    <a:moveTo>
                      <a:pt x="238" y="0"/>
                    </a:moveTo>
                    <a:lnTo>
                      <a:pt x="0" y="510"/>
                    </a:lnTo>
                    <a:lnTo>
                      <a:pt x="1363" y="1143"/>
                    </a:lnTo>
                    <a:lnTo>
                      <a:pt x="1600" y="633"/>
                    </a:lnTo>
                    <a:lnTo>
                      <a:pt x="238"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2" name="Google Shape;994;p35"/>
              <p:cNvSpPr/>
              <p:nvPr/>
            </p:nvSpPr>
            <p:spPr>
              <a:xfrm>
                <a:off x="7923277" y="3371921"/>
                <a:ext cx="72373" cy="51715"/>
              </a:xfrm>
              <a:custGeom>
                <a:avLst/>
                <a:gdLst/>
                <a:ahLst/>
                <a:cxnLst/>
                <a:rect l="l" t="t" r="r" b="b"/>
                <a:pathLst>
                  <a:path w="1601" h="1144" extrusionOk="0">
                    <a:moveTo>
                      <a:pt x="238" y="1"/>
                    </a:moveTo>
                    <a:lnTo>
                      <a:pt x="0" y="510"/>
                    </a:lnTo>
                    <a:lnTo>
                      <a:pt x="1363" y="1143"/>
                    </a:lnTo>
                    <a:lnTo>
                      <a:pt x="1600" y="634"/>
                    </a:lnTo>
                    <a:lnTo>
                      <a:pt x="238"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995;p35"/>
              <p:cNvSpPr/>
              <p:nvPr/>
            </p:nvSpPr>
            <p:spPr>
              <a:xfrm>
                <a:off x="6421501" y="2751989"/>
                <a:ext cx="72780" cy="47330"/>
              </a:xfrm>
              <a:custGeom>
                <a:avLst/>
                <a:gdLst/>
                <a:ahLst/>
                <a:cxnLst/>
                <a:rect l="l" t="t" r="r" b="b"/>
                <a:pathLst>
                  <a:path w="1610" h="1047" extrusionOk="0">
                    <a:moveTo>
                      <a:pt x="194" y="0"/>
                    </a:moveTo>
                    <a:lnTo>
                      <a:pt x="0" y="528"/>
                    </a:lnTo>
                    <a:lnTo>
                      <a:pt x="1416" y="1046"/>
                    </a:lnTo>
                    <a:lnTo>
                      <a:pt x="1609" y="519"/>
                    </a:lnTo>
                    <a:lnTo>
                      <a:pt x="194"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996;p35"/>
              <p:cNvSpPr/>
              <p:nvPr/>
            </p:nvSpPr>
            <p:spPr>
              <a:xfrm>
                <a:off x="7950309" y="3308725"/>
                <a:ext cx="72373" cy="46968"/>
              </a:xfrm>
              <a:custGeom>
                <a:avLst/>
                <a:gdLst/>
                <a:ahLst/>
                <a:cxnLst/>
                <a:rect l="l" t="t" r="r" b="b"/>
                <a:pathLst>
                  <a:path w="1601" h="1039" extrusionOk="0">
                    <a:moveTo>
                      <a:pt x="193" y="1"/>
                    </a:moveTo>
                    <a:lnTo>
                      <a:pt x="0" y="528"/>
                    </a:lnTo>
                    <a:lnTo>
                      <a:pt x="1407" y="1038"/>
                    </a:lnTo>
                    <a:lnTo>
                      <a:pt x="1600" y="511"/>
                    </a:lnTo>
                    <a:lnTo>
                      <a:pt x="193"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5" name="Google Shape;997;p35"/>
              <p:cNvSpPr/>
              <p:nvPr/>
            </p:nvSpPr>
            <p:spPr>
              <a:xfrm>
                <a:off x="6400029" y="2821920"/>
                <a:ext cx="72373" cy="42176"/>
              </a:xfrm>
              <a:custGeom>
                <a:avLst/>
                <a:gdLst/>
                <a:ahLst/>
                <a:cxnLst/>
                <a:rect l="l" t="t" r="r" b="b"/>
                <a:pathLst>
                  <a:path w="1601" h="933" extrusionOk="0">
                    <a:moveTo>
                      <a:pt x="150" y="1"/>
                    </a:moveTo>
                    <a:lnTo>
                      <a:pt x="1" y="546"/>
                    </a:lnTo>
                    <a:lnTo>
                      <a:pt x="1451" y="932"/>
                    </a:lnTo>
                    <a:lnTo>
                      <a:pt x="1601" y="396"/>
                    </a:lnTo>
                    <a:lnTo>
                      <a:pt x="150"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998;p35"/>
              <p:cNvSpPr/>
              <p:nvPr/>
            </p:nvSpPr>
            <p:spPr>
              <a:xfrm>
                <a:off x="7971374" y="3243179"/>
                <a:ext cx="72328" cy="42176"/>
              </a:xfrm>
              <a:custGeom>
                <a:avLst/>
                <a:gdLst/>
                <a:ahLst/>
                <a:cxnLst/>
                <a:rect l="l" t="t" r="r" b="b"/>
                <a:pathLst>
                  <a:path w="1600" h="933" extrusionOk="0">
                    <a:moveTo>
                      <a:pt x="149" y="0"/>
                    </a:moveTo>
                    <a:lnTo>
                      <a:pt x="0" y="536"/>
                    </a:lnTo>
                    <a:lnTo>
                      <a:pt x="1451" y="932"/>
                    </a:lnTo>
                    <a:lnTo>
                      <a:pt x="1600" y="387"/>
                    </a:lnTo>
                    <a:lnTo>
                      <a:pt x="149"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999;p35"/>
              <p:cNvSpPr/>
              <p:nvPr/>
            </p:nvSpPr>
            <p:spPr>
              <a:xfrm>
                <a:off x="6384930" y="2893840"/>
                <a:ext cx="71560" cy="36616"/>
              </a:xfrm>
              <a:custGeom>
                <a:avLst/>
                <a:gdLst/>
                <a:ahLst/>
                <a:cxnLst/>
                <a:rect l="l" t="t" r="r" b="b"/>
                <a:pathLst>
                  <a:path w="1583" h="810" extrusionOk="0">
                    <a:moveTo>
                      <a:pt x="97" y="1"/>
                    </a:moveTo>
                    <a:lnTo>
                      <a:pt x="0" y="555"/>
                    </a:lnTo>
                    <a:lnTo>
                      <a:pt x="1477" y="810"/>
                    </a:lnTo>
                    <a:lnTo>
                      <a:pt x="1583" y="264"/>
                    </a:lnTo>
                    <a:lnTo>
                      <a:pt x="97"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1000;p35"/>
              <p:cNvSpPr/>
              <p:nvPr/>
            </p:nvSpPr>
            <p:spPr>
              <a:xfrm>
                <a:off x="7986473" y="3176005"/>
                <a:ext cx="71560" cy="37023"/>
              </a:xfrm>
              <a:custGeom>
                <a:avLst/>
                <a:gdLst/>
                <a:ahLst/>
                <a:cxnLst/>
                <a:rect l="l" t="t" r="r" b="b"/>
                <a:pathLst>
                  <a:path w="1583" h="819" extrusionOk="0">
                    <a:moveTo>
                      <a:pt x="97" y="0"/>
                    </a:moveTo>
                    <a:lnTo>
                      <a:pt x="0" y="554"/>
                    </a:lnTo>
                    <a:lnTo>
                      <a:pt x="1486" y="818"/>
                    </a:lnTo>
                    <a:lnTo>
                      <a:pt x="1583" y="264"/>
                    </a:lnTo>
                    <a:lnTo>
                      <a:pt x="97"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1001;p35"/>
              <p:cNvSpPr/>
              <p:nvPr/>
            </p:nvSpPr>
            <p:spPr>
              <a:xfrm>
                <a:off x="6376567" y="2967388"/>
                <a:ext cx="70023" cy="31011"/>
              </a:xfrm>
              <a:custGeom>
                <a:avLst/>
                <a:gdLst/>
                <a:ahLst/>
                <a:cxnLst/>
                <a:rect l="l" t="t" r="r" b="b"/>
                <a:pathLst>
                  <a:path w="1549" h="686" extrusionOk="0">
                    <a:moveTo>
                      <a:pt x="54" y="0"/>
                    </a:moveTo>
                    <a:lnTo>
                      <a:pt x="1" y="554"/>
                    </a:lnTo>
                    <a:lnTo>
                      <a:pt x="1504" y="686"/>
                    </a:lnTo>
                    <a:lnTo>
                      <a:pt x="1548" y="132"/>
                    </a:lnTo>
                    <a:lnTo>
                      <a:pt x="54"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1002;p35"/>
              <p:cNvSpPr/>
              <p:nvPr/>
            </p:nvSpPr>
            <p:spPr>
              <a:xfrm>
                <a:off x="7997186" y="3108832"/>
                <a:ext cx="69977" cy="31463"/>
              </a:xfrm>
              <a:custGeom>
                <a:avLst/>
                <a:gdLst/>
                <a:ahLst/>
                <a:cxnLst/>
                <a:rect l="l" t="t" r="r" b="b"/>
                <a:pathLst>
                  <a:path w="1548" h="696" extrusionOk="0">
                    <a:moveTo>
                      <a:pt x="53" y="1"/>
                    </a:moveTo>
                    <a:lnTo>
                      <a:pt x="0" y="563"/>
                    </a:lnTo>
                    <a:lnTo>
                      <a:pt x="1504" y="695"/>
                    </a:lnTo>
                    <a:lnTo>
                      <a:pt x="1548" y="133"/>
                    </a:lnTo>
                    <a:lnTo>
                      <a:pt x="53"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1003;p35"/>
              <p:cNvSpPr/>
              <p:nvPr/>
            </p:nvSpPr>
            <p:spPr>
              <a:xfrm>
                <a:off x="6374579" y="3040890"/>
                <a:ext cx="68034" cy="25496"/>
              </a:xfrm>
              <a:custGeom>
                <a:avLst/>
                <a:gdLst/>
                <a:ahLst/>
                <a:cxnLst/>
                <a:rect l="l" t="t" r="r" b="b"/>
                <a:pathLst>
                  <a:path w="1505" h="564" extrusionOk="0">
                    <a:moveTo>
                      <a:pt x="1" y="0"/>
                    </a:moveTo>
                    <a:lnTo>
                      <a:pt x="1" y="563"/>
                    </a:lnTo>
                    <a:lnTo>
                      <a:pt x="1504" y="563"/>
                    </a:lnTo>
                    <a:lnTo>
                      <a:pt x="1504"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1004;p35"/>
              <p:cNvSpPr/>
              <p:nvPr/>
            </p:nvSpPr>
            <p:spPr>
              <a:xfrm>
                <a:off x="8001164" y="3040890"/>
                <a:ext cx="67988" cy="25496"/>
              </a:xfrm>
              <a:custGeom>
                <a:avLst/>
                <a:gdLst/>
                <a:ahLst/>
                <a:cxnLst/>
                <a:rect l="l" t="t" r="r" b="b"/>
                <a:pathLst>
                  <a:path w="1504" h="564" extrusionOk="0">
                    <a:moveTo>
                      <a:pt x="0" y="0"/>
                    </a:moveTo>
                    <a:lnTo>
                      <a:pt x="0" y="563"/>
                    </a:lnTo>
                    <a:lnTo>
                      <a:pt x="1504" y="563"/>
                    </a:lnTo>
                    <a:lnTo>
                      <a:pt x="1504"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1005;p35"/>
              <p:cNvSpPr/>
              <p:nvPr/>
            </p:nvSpPr>
            <p:spPr>
              <a:xfrm>
                <a:off x="6376974" y="3108425"/>
                <a:ext cx="69977" cy="31056"/>
              </a:xfrm>
              <a:custGeom>
                <a:avLst/>
                <a:gdLst/>
                <a:ahLst/>
                <a:cxnLst/>
                <a:rect l="l" t="t" r="r" b="b"/>
                <a:pathLst>
                  <a:path w="1548" h="687" extrusionOk="0">
                    <a:moveTo>
                      <a:pt x="1495" y="1"/>
                    </a:moveTo>
                    <a:lnTo>
                      <a:pt x="1" y="133"/>
                    </a:lnTo>
                    <a:lnTo>
                      <a:pt x="45" y="687"/>
                    </a:lnTo>
                    <a:lnTo>
                      <a:pt x="1548" y="555"/>
                    </a:lnTo>
                    <a:lnTo>
                      <a:pt x="1495"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1006;p35"/>
              <p:cNvSpPr/>
              <p:nvPr/>
            </p:nvSpPr>
            <p:spPr>
              <a:xfrm>
                <a:off x="7997186" y="2966574"/>
                <a:ext cx="69977" cy="31056"/>
              </a:xfrm>
              <a:custGeom>
                <a:avLst/>
                <a:gdLst/>
                <a:ahLst/>
                <a:cxnLst/>
                <a:rect l="l" t="t" r="r" b="b"/>
                <a:pathLst>
                  <a:path w="1548" h="687" extrusionOk="0">
                    <a:moveTo>
                      <a:pt x="1504" y="1"/>
                    </a:moveTo>
                    <a:lnTo>
                      <a:pt x="0" y="132"/>
                    </a:lnTo>
                    <a:lnTo>
                      <a:pt x="53" y="686"/>
                    </a:lnTo>
                    <a:lnTo>
                      <a:pt x="1548" y="563"/>
                    </a:lnTo>
                    <a:lnTo>
                      <a:pt x="1504"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1007;p35"/>
              <p:cNvSpPr/>
              <p:nvPr/>
            </p:nvSpPr>
            <p:spPr>
              <a:xfrm>
                <a:off x="6384930" y="3176819"/>
                <a:ext cx="71560" cy="36978"/>
              </a:xfrm>
              <a:custGeom>
                <a:avLst/>
                <a:gdLst/>
                <a:ahLst/>
                <a:cxnLst/>
                <a:rect l="l" t="t" r="r" b="b"/>
                <a:pathLst>
                  <a:path w="1583" h="818" extrusionOk="0">
                    <a:moveTo>
                      <a:pt x="1486" y="0"/>
                    </a:moveTo>
                    <a:lnTo>
                      <a:pt x="0" y="264"/>
                    </a:lnTo>
                    <a:lnTo>
                      <a:pt x="106" y="818"/>
                    </a:lnTo>
                    <a:lnTo>
                      <a:pt x="1583" y="554"/>
                    </a:lnTo>
                    <a:lnTo>
                      <a:pt x="1486"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1008;p35"/>
              <p:cNvSpPr/>
              <p:nvPr/>
            </p:nvSpPr>
            <p:spPr>
              <a:xfrm>
                <a:off x="7987241" y="2894654"/>
                <a:ext cx="71198" cy="36616"/>
              </a:xfrm>
              <a:custGeom>
                <a:avLst/>
                <a:gdLst/>
                <a:ahLst/>
                <a:cxnLst/>
                <a:rect l="l" t="t" r="r" b="b"/>
                <a:pathLst>
                  <a:path w="1575" h="810" extrusionOk="0">
                    <a:moveTo>
                      <a:pt x="1478" y="0"/>
                    </a:moveTo>
                    <a:lnTo>
                      <a:pt x="1" y="255"/>
                    </a:lnTo>
                    <a:lnTo>
                      <a:pt x="97" y="809"/>
                    </a:lnTo>
                    <a:lnTo>
                      <a:pt x="1574" y="554"/>
                    </a:lnTo>
                    <a:lnTo>
                      <a:pt x="1478"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1009;p35"/>
              <p:cNvSpPr/>
              <p:nvPr/>
            </p:nvSpPr>
            <p:spPr>
              <a:xfrm>
                <a:off x="6400435" y="3242365"/>
                <a:ext cx="71966" cy="42176"/>
              </a:xfrm>
              <a:custGeom>
                <a:avLst/>
                <a:gdLst/>
                <a:ahLst/>
                <a:cxnLst/>
                <a:rect l="l" t="t" r="r" b="b"/>
                <a:pathLst>
                  <a:path w="1592" h="933" extrusionOk="0">
                    <a:moveTo>
                      <a:pt x="1451" y="1"/>
                    </a:moveTo>
                    <a:lnTo>
                      <a:pt x="0" y="387"/>
                    </a:lnTo>
                    <a:lnTo>
                      <a:pt x="141" y="932"/>
                    </a:lnTo>
                    <a:lnTo>
                      <a:pt x="1592" y="546"/>
                    </a:lnTo>
                    <a:lnTo>
                      <a:pt x="1451"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1010;p35"/>
              <p:cNvSpPr/>
              <p:nvPr/>
            </p:nvSpPr>
            <p:spPr>
              <a:xfrm>
                <a:off x="7971374" y="2822327"/>
                <a:ext cx="72328" cy="42176"/>
              </a:xfrm>
              <a:custGeom>
                <a:avLst/>
                <a:gdLst/>
                <a:ahLst/>
                <a:cxnLst/>
                <a:rect l="l" t="t" r="r" b="b"/>
                <a:pathLst>
                  <a:path w="1600" h="933" extrusionOk="0">
                    <a:moveTo>
                      <a:pt x="1451" y="0"/>
                    </a:moveTo>
                    <a:lnTo>
                      <a:pt x="0" y="387"/>
                    </a:lnTo>
                    <a:lnTo>
                      <a:pt x="141" y="932"/>
                    </a:lnTo>
                    <a:lnTo>
                      <a:pt x="1600" y="537"/>
                    </a:lnTo>
                    <a:lnTo>
                      <a:pt x="1451"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1011;p35"/>
              <p:cNvSpPr/>
              <p:nvPr/>
            </p:nvSpPr>
            <p:spPr>
              <a:xfrm>
                <a:off x="6421094" y="3308318"/>
                <a:ext cx="72780" cy="47375"/>
              </a:xfrm>
              <a:custGeom>
                <a:avLst/>
                <a:gdLst/>
                <a:ahLst/>
                <a:cxnLst/>
                <a:rect l="l" t="t" r="r" b="b"/>
                <a:pathLst>
                  <a:path w="1610" h="1048" extrusionOk="0">
                    <a:moveTo>
                      <a:pt x="1416" y="1"/>
                    </a:moveTo>
                    <a:lnTo>
                      <a:pt x="0" y="520"/>
                    </a:lnTo>
                    <a:lnTo>
                      <a:pt x="194" y="1047"/>
                    </a:lnTo>
                    <a:lnTo>
                      <a:pt x="1609" y="528"/>
                    </a:lnTo>
                    <a:lnTo>
                      <a:pt x="1416"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1012;p35"/>
              <p:cNvSpPr/>
              <p:nvPr/>
            </p:nvSpPr>
            <p:spPr>
              <a:xfrm>
                <a:off x="7949902" y="2752396"/>
                <a:ext cx="72373" cy="46923"/>
              </a:xfrm>
              <a:custGeom>
                <a:avLst/>
                <a:gdLst/>
                <a:ahLst/>
                <a:cxnLst/>
                <a:rect l="l" t="t" r="r" b="b"/>
                <a:pathLst>
                  <a:path w="1601" h="1038" extrusionOk="0">
                    <a:moveTo>
                      <a:pt x="1416" y="0"/>
                    </a:moveTo>
                    <a:lnTo>
                      <a:pt x="0" y="510"/>
                    </a:lnTo>
                    <a:lnTo>
                      <a:pt x="194" y="1037"/>
                    </a:lnTo>
                    <a:lnTo>
                      <a:pt x="1600" y="528"/>
                    </a:lnTo>
                    <a:lnTo>
                      <a:pt x="1416"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1013;p35"/>
              <p:cNvSpPr/>
              <p:nvPr/>
            </p:nvSpPr>
            <p:spPr>
              <a:xfrm>
                <a:off x="6448533" y="3371514"/>
                <a:ext cx="72373" cy="51715"/>
              </a:xfrm>
              <a:custGeom>
                <a:avLst/>
                <a:gdLst/>
                <a:ahLst/>
                <a:cxnLst/>
                <a:rect l="l" t="t" r="r" b="b"/>
                <a:pathLst>
                  <a:path w="1601" h="1144" extrusionOk="0">
                    <a:moveTo>
                      <a:pt x="1363" y="1"/>
                    </a:moveTo>
                    <a:lnTo>
                      <a:pt x="0" y="634"/>
                    </a:lnTo>
                    <a:lnTo>
                      <a:pt x="237" y="1144"/>
                    </a:lnTo>
                    <a:lnTo>
                      <a:pt x="1600" y="511"/>
                    </a:lnTo>
                    <a:lnTo>
                      <a:pt x="1363"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1014;p35"/>
              <p:cNvSpPr/>
              <p:nvPr/>
            </p:nvSpPr>
            <p:spPr>
              <a:xfrm>
                <a:off x="7922870" y="2684002"/>
                <a:ext cx="72373" cy="51715"/>
              </a:xfrm>
              <a:custGeom>
                <a:avLst/>
                <a:gdLst/>
                <a:ahLst/>
                <a:cxnLst/>
                <a:rect l="l" t="t" r="r" b="b"/>
                <a:pathLst>
                  <a:path w="1601" h="1144" extrusionOk="0">
                    <a:moveTo>
                      <a:pt x="1363" y="1"/>
                    </a:moveTo>
                    <a:lnTo>
                      <a:pt x="0" y="634"/>
                    </a:lnTo>
                    <a:lnTo>
                      <a:pt x="238" y="1144"/>
                    </a:lnTo>
                    <a:lnTo>
                      <a:pt x="1600" y="511"/>
                    </a:lnTo>
                    <a:lnTo>
                      <a:pt x="1363"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1015;p35"/>
              <p:cNvSpPr/>
              <p:nvPr/>
            </p:nvSpPr>
            <p:spPr>
              <a:xfrm>
                <a:off x="6481893" y="3433127"/>
                <a:ext cx="71560" cy="56054"/>
              </a:xfrm>
              <a:custGeom>
                <a:avLst/>
                <a:gdLst/>
                <a:ahLst/>
                <a:cxnLst/>
                <a:rect l="l" t="t" r="r" b="b"/>
                <a:pathLst>
                  <a:path w="1583" h="1240" extrusionOk="0">
                    <a:moveTo>
                      <a:pt x="1302" y="0"/>
                    </a:moveTo>
                    <a:lnTo>
                      <a:pt x="0" y="748"/>
                    </a:lnTo>
                    <a:lnTo>
                      <a:pt x="282" y="1240"/>
                    </a:lnTo>
                    <a:lnTo>
                      <a:pt x="1583" y="484"/>
                    </a:lnTo>
                    <a:lnTo>
                      <a:pt x="1302"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1016;p35"/>
              <p:cNvSpPr/>
              <p:nvPr/>
            </p:nvSpPr>
            <p:spPr>
              <a:xfrm>
                <a:off x="7890685" y="2619631"/>
                <a:ext cx="71560" cy="56099"/>
              </a:xfrm>
              <a:custGeom>
                <a:avLst/>
                <a:gdLst/>
                <a:ahLst/>
                <a:cxnLst/>
                <a:rect l="l" t="t" r="r" b="b"/>
                <a:pathLst>
                  <a:path w="1583" h="1241" extrusionOk="0">
                    <a:moveTo>
                      <a:pt x="1302" y="1"/>
                    </a:moveTo>
                    <a:lnTo>
                      <a:pt x="0" y="757"/>
                    </a:lnTo>
                    <a:lnTo>
                      <a:pt x="282" y="1240"/>
                    </a:lnTo>
                    <a:lnTo>
                      <a:pt x="1583" y="493"/>
                    </a:lnTo>
                    <a:lnTo>
                      <a:pt x="1302"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1017;p35"/>
              <p:cNvSpPr/>
              <p:nvPr/>
            </p:nvSpPr>
            <p:spPr>
              <a:xfrm>
                <a:off x="6520453" y="3490356"/>
                <a:ext cx="70384" cy="60032"/>
              </a:xfrm>
              <a:custGeom>
                <a:avLst/>
                <a:gdLst/>
                <a:ahLst/>
                <a:cxnLst/>
                <a:rect l="l" t="t" r="r" b="b"/>
                <a:pathLst>
                  <a:path w="1557" h="1328" extrusionOk="0">
                    <a:moveTo>
                      <a:pt x="1231" y="0"/>
                    </a:moveTo>
                    <a:lnTo>
                      <a:pt x="0" y="862"/>
                    </a:lnTo>
                    <a:lnTo>
                      <a:pt x="326" y="1328"/>
                    </a:lnTo>
                    <a:lnTo>
                      <a:pt x="1556" y="466"/>
                    </a:lnTo>
                    <a:lnTo>
                      <a:pt x="1231"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1018;p35"/>
              <p:cNvSpPr/>
              <p:nvPr/>
            </p:nvSpPr>
            <p:spPr>
              <a:xfrm>
                <a:off x="7852939" y="2556842"/>
                <a:ext cx="70384" cy="59671"/>
              </a:xfrm>
              <a:custGeom>
                <a:avLst/>
                <a:gdLst/>
                <a:ahLst/>
                <a:cxnLst/>
                <a:rect l="l" t="t" r="r" b="b"/>
                <a:pathLst>
                  <a:path w="1557" h="1320" extrusionOk="0">
                    <a:moveTo>
                      <a:pt x="1231" y="1"/>
                    </a:moveTo>
                    <a:lnTo>
                      <a:pt x="0" y="862"/>
                    </a:lnTo>
                    <a:lnTo>
                      <a:pt x="326" y="1319"/>
                    </a:lnTo>
                    <a:lnTo>
                      <a:pt x="1556" y="458"/>
                    </a:lnTo>
                    <a:lnTo>
                      <a:pt x="1231"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1019;p35"/>
              <p:cNvSpPr/>
              <p:nvPr/>
            </p:nvSpPr>
            <p:spPr>
              <a:xfrm>
                <a:off x="6582021" y="3580945"/>
                <a:ext cx="68802" cy="63242"/>
              </a:xfrm>
              <a:custGeom>
                <a:avLst/>
                <a:gdLst/>
                <a:ahLst/>
                <a:cxnLst/>
                <a:rect l="l" t="t" r="r" b="b"/>
                <a:pathLst>
                  <a:path w="1522" h="1399" extrusionOk="0">
                    <a:moveTo>
                      <a:pt x="1161" y="1"/>
                    </a:moveTo>
                    <a:lnTo>
                      <a:pt x="1" y="959"/>
                    </a:lnTo>
                    <a:lnTo>
                      <a:pt x="361" y="1399"/>
                    </a:lnTo>
                    <a:lnTo>
                      <a:pt x="1522" y="432"/>
                    </a:lnTo>
                    <a:lnTo>
                      <a:pt x="1161"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1020;p35"/>
              <p:cNvSpPr/>
              <p:nvPr/>
            </p:nvSpPr>
            <p:spPr>
              <a:xfrm>
                <a:off x="7810809" y="2500021"/>
                <a:ext cx="68802" cy="63242"/>
              </a:xfrm>
              <a:custGeom>
                <a:avLst/>
                <a:gdLst/>
                <a:ahLst/>
                <a:cxnLst/>
                <a:rect l="l" t="t" r="r" b="b"/>
                <a:pathLst>
                  <a:path w="1522" h="1399" extrusionOk="0">
                    <a:moveTo>
                      <a:pt x="1161" y="1"/>
                    </a:moveTo>
                    <a:lnTo>
                      <a:pt x="0" y="968"/>
                    </a:lnTo>
                    <a:lnTo>
                      <a:pt x="361" y="1398"/>
                    </a:lnTo>
                    <a:lnTo>
                      <a:pt x="1521" y="431"/>
                    </a:lnTo>
                    <a:lnTo>
                      <a:pt x="1161"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1021;p35"/>
              <p:cNvSpPr/>
              <p:nvPr/>
            </p:nvSpPr>
            <p:spPr>
              <a:xfrm>
                <a:off x="6613438" y="3595275"/>
                <a:ext cx="65999" cy="65999"/>
              </a:xfrm>
              <a:custGeom>
                <a:avLst/>
                <a:gdLst/>
                <a:ahLst/>
                <a:cxnLst/>
                <a:rect l="l" t="t" r="r" b="b"/>
                <a:pathLst>
                  <a:path w="1460" h="1460" extrusionOk="0">
                    <a:moveTo>
                      <a:pt x="1064" y="0"/>
                    </a:moveTo>
                    <a:lnTo>
                      <a:pt x="0" y="1064"/>
                    </a:lnTo>
                    <a:lnTo>
                      <a:pt x="405" y="1460"/>
                    </a:lnTo>
                    <a:lnTo>
                      <a:pt x="1460" y="396"/>
                    </a:lnTo>
                    <a:lnTo>
                      <a:pt x="1064"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1022;p35"/>
              <p:cNvSpPr/>
              <p:nvPr/>
            </p:nvSpPr>
            <p:spPr>
              <a:xfrm>
                <a:off x="7763525" y="2444781"/>
                <a:ext cx="65999" cy="66406"/>
              </a:xfrm>
              <a:custGeom>
                <a:avLst/>
                <a:gdLst/>
                <a:ahLst/>
                <a:cxnLst/>
                <a:rect l="l" t="t" r="r" b="b"/>
                <a:pathLst>
                  <a:path w="1460" h="1469" extrusionOk="0">
                    <a:moveTo>
                      <a:pt x="1064" y="1"/>
                    </a:moveTo>
                    <a:lnTo>
                      <a:pt x="0" y="1064"/>
                    </a:lnTo>
                    <a:lnTo>
                      <a:pt x="405" y="1469"/>
                    </a:lnTo>
                    <a:lnTo>
                      <a:pt x="1460" y="405"/>
                    </a:lnTo>
                    <a:lnTo>
                      <a:pt x="1064"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1023;p35"/>
              <p:cNvSpPr/>
              <p:nvPr/>
            </p:nvSpPr>
            <p:spPr>
              <a:xfrm>
                <a:off x="6667502" y="3642559"/>
                <a:ext cx="63197" cy="68802"/>
              </a:xfrm>
              <a:custGeom>
                <a:avLst/>
                <a:gdLst/>
                <a:ahLst/>
                <a:cxnLst/>
                <a:rect l="l" t="t" r="r" b="b"/>
                <a:pathLst>
                  <a:path w="1398" h="1522" extrusionOk="0">
                    <a:moveTo>
                      <a:pt x="967" y="0"/>
                    </a:moveTo>
                    <a:lnTo>
                      <a:pt x="0" y="1152"/>
                    </a:lnTo>
                    <a:lnTo>
                      <a:pt x="431" y="1521"/>
                    </a:lnTo>
                    <a:lnTo>
                      <a:pt x="1398" y="361"/>
                    </a:lnTo>
                    <a:lnTo>
                      <a:pt x="967"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1024;p35"/>
              <p:cNvSpPr/>
              <p:nvPr/>
            </p:nvSpPr>
            <p:spPr>
              <a:xfrm>
                <a:off x="7713439" y="2396684"/>
                <a:ext cx="62835" cy="68395"/>
              </a:xfrm>
              <a:custGeom>
                <a:avLst/>
                <a:gdLst/>
                <a:ahLst/>
                <a:cxnLst/>
                <a:rect l="l" t="t" r="r" b="b"/>
                <a:pathLst>
                  <a:path w="1390" h="1513" extrusionOk="0">
                    <a:moveTo>
                      <a:pt x="968" y="1"/>
                    </a:moveTo>
                    <a:lnTo>
                      <a:pt x="1" y="1153"/>
                    </a:lnTo>
                    <a:lnTo>
                      <a:pt x="422" y="1513"/>
                    </a:lnTo>
                    <a:lnTo>
                      <a:pt x="1390" y="361"/>
                    </a:lnTo>
                    <a:lnTo>
                      <a:pt x="968"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1025;p35"/>
              <p:cNvSpPr/>
              <p:nvPr/>
            </p:nvSpPr>
            <p:spPr>
              <a:xfrm>
                <a:off x="6725092" y="3684282"/>
                <a:ext cx="60077" cy="70384"/>
              </a:xfrm>
              <a:custGeom>
                <a:avLst/>
                <a:gdLst/>
                <a:ahLst/>
                <a:cxnLst/>
                <a:rect l="l" t="t" r="r" b="b"/>
                <a:pathLst>
                  <a:path w="1329" h="1557" extrusionOk="0">
                    <a:moveTo>
                      <a:pt x="871" y="0"/>
                    </a:moveTo>
                    <a:lnTo>
                      <a:pt x="1" y="1240"/>
                    </a:lnTo>
                    <a:lnTo>
                      <a:pt x="467" y="1557"/>
                    </a:lnTo>
                    <a:lnTo>
                      <a:pt x="1328" y="326"/>
                    </a:lnTo>
                    <a:lnTo>
                      <a:pt x="871"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1026;p35"/>
              <p:cNvSpPr/>
              <p:nvPr/>
            </p:nvSpPr>
            <p:spPr>
              <a:xfrm>
                <a:off x="7658199" y="2352203"/>
                <a:ext cx="60032" cy="69977"/>
              </a:xfrm>
              <a:custGeom>
                <a:avLst/>
                <a:gdLst/>
                <a:ahLst/>
                <a:cxnLst/>
                <a:rect l="l" t="t" r="r" b="b"/>
                <a:pathLst>
                  <a:path w="1328" h="1548" extrusionOk="0">
                    <a:moveTo>
                      <a:pt x="862" y="0"/>
                    </a:moveTo>
                    <a:lnTo>
                      <a:pt x="1" y="1231"/>
                    </a:lnTo>
                    <a:lnTo>
                      <a:pt x="466" y="1548"/>
                    </a:lnTo>
                    <a:lnTo>
                      <a:pt x="1328" y="317"/>
                    </a:lnTo>
                    <a:lnTo>
                      <a:pt x="862"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1027;p35"/>
              <p:cNvSpPr/>
              <p:nvPr/>
            </p:nvSpPr>
            <p:spPr>
              <a:xfrm>
                <a:off x="6786706" y="3721621"/>
                <a:ext cx="56054" cy="71605"/>
              </a:xfrm>
              <a:custGeom>
                <a:avLst/>
                <a:gdLst/>
                <a:ahLst/>
                <a:cxnLst/>
                <a:rect l="l" t="t" r="r" b="b"/>
                <a:pathLst>
                  <a:path w="1240" h="1584" extrusionOk="0">
                    <a:moveTo>
                      <a:pt x="756" y="1"/>
                    </a:moveTo>
                    <a:lnTo>
                      <a:pt x="0" y="1302"/>
                    </a:lnTo>
                    <a:lnTo>
                      <a:pt x="493" y="1583"/>
                    </a:lnTo>
                    <a:lnTo>
                      <a:pt x="1240" y="282"/>
                    </a:lnTo>
                    <a:lnTo>
                      <a:pt x="756"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1028;p35"/>
              <p:cNvSpPr/>
              <p:nvPr/>
            </p:nvSpPr>
            <p:spPr>
              <a:xfrm>
                <a:off x="7600971" y="2314050"/>
                <a:ext cx="56099" cy="71560"/>
              </a:xfrm>
              <a:custGeom>
                <a:avLst/>
                <a:gdLst/>
                <a:ahLst/>
                <a:cxnLst/>
                <a:rect l="l" t="t" r="r" b="b"/>
                <a:pathLst>
                  <a:path w="1241" h="1583" extrusionOk="0">
                    <a:moveTo>
                      <a:pt x="757" y="0"/>
                    </a:moveTo>
                    <a:lnTo>
                      <a:pt x="1" y="1301"/>
                    </a:lnTo>
                    <a:lnTo>
                      <a:pt x="484" y="1583"/>
                    </a:lnTo>
                    <a:lnTo>
                      <a:pt x="1240" y="282"/>
                    </a:lnTo>
                    <a:lnTo>
                      <a:pt x="757"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1029;p35"/>
              <p:cNvSpPr/>
              <p:nvPr/>
            </p:nvSpPr>
            <p:spPr>
              <a:xfrm>
                <a:off x="6852252" y="3754620"/>
                <a:ext cx="51715" cy="72373"/>
              </a:xfrm>
              <a:custGeom>
                <a:avLst/>
                <a:gdLst/>
                <a:ahLst/>
                <a:cxnLst/>
                <a:rect l="l" t="t" r="r" b="b"/>
                <a:pathLst>
                  <a:path w="1144" h="1601" extrusionOk="0">
                    <a:moveTo>
                      <a:pt x="634" y="1"/>
                    </a:moveTo>
                    <a:lnTo>
                      <a:pt x="1" y="1363"/>
                    </a:lnTo>
                    <a:lnTo>
                      <a:pt x="511" y="1601"/>
                    </a:lnTo>
                    <a:lnTo>
                      <a:pt x="1144" y="238"/>
                    </a:lnTo>
                    <a:lnTo>
                      <a:pt x="634"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1030;p35"/>
              <p:cNvSpPr/>
              <p:nvPr/>
            </p:nvSpPr>
            <p:spPr>
              <a:xfrm>
                <a:off x="7539764" y="2280283"/>
                <a:ext cx="51715" cy="72373"/>
              </a:xfrm>
              <a:custGeom>
                <a:avLst/>
                <a:gdLst/>
                <a:ahLst/>
                <a:cxnLst/>
                <a:rect l="l" t="t" r="r" b="b"/>
                <a:pathLst>
                  <a:path w="1144" h="1601" extrusionOk="0">
                    <a:moveTo>
                      <a:pt x="634" y="0"/>
                    </a:moveTo>
                    <a:lnTo>
                      <a:pt x="1" y="1363"/>
                    </a:lnTo>
                    <a:lnTo>
                      <a:pt x="511" y="1600"/>
                    </a:lnTo>
                    <a:lnTo>
                      <a:pt x="1144" y="237"/>
                    </a:lnTo>
                    <a:lnTo>
                      <a:pt x="634"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1031;p35"/>
              <p:cNvSpPr/>
              <p:nvPr/>
            </p:nvSpPr>
            <p:spPr>
              <a:xfrm>
                <a:off x="6919833" y="3781652"/>
                <a:ext cx="47330" cy="72373"/>
              </a:xfrm>
              <a:custGeom>
                <a:avLst/>
                <a:gdLst/>
                <a:ahLst/>
                <a:cxnLst/>
                <a:rect l="l" t="t" r="r" b="b"/>
                <a:pathLst>
                  <a:path w="1047" h="1601" extrusionOk="0">
                    <a:moveTo>
                      <a:pt x="519" y="0"/>
                    </a:moveTo>
                    <a:lnTo>
                      <a:pt x="0" y="1407"/>
                    </a:lnTo>
                    <a:lnTo>
                      <a:pt x="528" y="1600"/>
                    </a:lnTo>
                    <a:lnTo>
                      <a:pt x="1047" y="185"/>
                    </a:lnTo>
                    <a:lnTo>
                      <a:pt x="519"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1032;p35"/>
              <p:cNvSpPr/>
              <p:nvPr/>
            </p:nvSpPr>
            <p:spPr>
              <a:xfrm>
                <a:off x="7476207" y="2252844"/>
                <a:ext cx="47330" cy="72780"/>
              </a:xfrm>
              <a:custGeom>
                <a:avLst/>
                <a:gdLst/>
                <a:ahLst/>
                <a:cxnLst/>
                <a:rect l="l" t="t" r="r" b="b"/>
                <a:pathLst>
                  <a:path w="1047" h="1610" extrusionOk="0">
                    <a:moveTo>
                      <a:pt x="519" y="0"/>
                    </a:moveTo>
                    <a:lnTo>
                      <a:pt x="0" y="1416"/>
                    </a:lnTo>
                    <a:lnTo>
                      <a:pt x="528" y="1609"/>
                    </a:lnTo>
                    <a:lnTo>
                      <a:pt x="1046" y="194"/>
                    </a:lnTo>
                    <a:lnTo>
                      <a:pt x="519"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1033;p35"/>
              <p:cNvSpPr/>
              <p:nvPr/>
            </p:nvSpPr>
            <p:spPr>
              <a:xfrm>
                <a:off x="6990170" y="3803124"/>
                <a:ext cx="42176" cy="72373"/>
              </a:xfrm>
              <a:custGeom>
                <a:avLst/>
                <a:gdLst/>
                <a:ahLst/>
                <a:cxnLst/>
                <a:rect l="l" t="t" r="r" b="b"/>
                <a:pathLst>
                  <a:path w="933" h="1601" extrusionOk="0">
                    <a:moveTo>
                      <a:pt x="387" y="0"/>
                    </a:moveTo>
                    <a:lnTo>
                      <a:pt x="0" y="1451"/>
                    </a:lnTo>
                    <a:lnTo>
                      <a:pt x="546" y="1600"/>
                    </a:lnTo>
                    <a:lnTo>
                      <a:pt x="932" y="141"/>
                    </a:lnTo>
                    <a:lnTo>
                      <a:pt x="387"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1034;p35"/>
              <p:cNvSpPr/>
              <p:nvPr/>
            </p:nvSpPr>
            <p:spPr>
              <a:xfrm>
                <a:off x="7411022" y="2231779"/>
                <a:ext cx="42176" cy="72373"/>
              </a:xfrm>
              <a:custGeom>
                <a:avLst/>
                <a:gdLst/>
                <a:ahLst/>
                <a:cxnLst/>
                <a:rect l="l" t="t" r="r" b="b"/>
                <a:pathLst>
                  <a:path w="933" h="1601" extrusionOk="0">
                    <a:moveTo>
                      <a:pt x="396" y="1"/>
                    </a:moveTo>
                    <a:lnTo>
                      <a:pt x="0" y="1451"/>
                    </a:lnTo>
                    <a:lnTo>
                      <a:pt x="545" y="1601"/>
                    </a:lnTo>
                    <a:lnTo>
                      <a:pt x="932" y="150"/>
                    </a:lnTo>
                    <a:lnTo>
                      <a:pt x="396"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1035;p35"/>
              <p:cNvSpPr/>
              <p:nvPr/>
            </p:nvSpPr>
            <p:spPr>
              <a:xfrm>
                <a:off x="7062090" y="3818584"/>
                <a:ext cx="36616" cy="71605"/>
              </a:xfrm>
              <a:custGeom>
                <a:avLst/>
                <a:gdLst/>
                <a:ahLst/>
                <a:cxnLst/>
                <a:rect l="l" t="t" r="r" b="b"/>
                <a:pathLst>
                  <a:path w="810" h="1584" extrusionOk="0">
                    <a:moveTo>
                      <a:pt x="256" y="1"/>
                    </a:moveTo>
                    <a:lnTo>
                      <a:pt x="1" y="1487"/>
                    </a:lnTo>
                    <a:lnTo>
                      <a:pt x="546" y="1583"/>
                    </a:lnTo>
                    <a:lnTo>
                      <a:pt x="809" y="98"/>
                    </a:lnTo>
                    <a:lnTo>
                      <a:pt x="256"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1036;p35"/>
              <p:cNvSpPr/>
              <p:nvPr/>
            </p:nvSpPr>
            <p:spPr>
              <a:xfrm>
                <a:off x="7135999" y="3829343"/>
                <a:ext cx="31056" cy="69977"/>
              </a:xfrm>
              <a:custGeom>
                <a:avLst/>
                <a:gdLst/>
                <a:ahLst/>
                <a:cxnLst/>
                <a:rect l="l" t="t" r="r" b="b"/>
                <a:pathLst>
                  <a:path w="687" h="1548" extrusionOk="0">
                    <a:moveTo>
                      <a:pt x="133" y="0"/>
                    </a:moveTo>
                    <a:lnTo>
                      <a:pt x="1" y="1495"/>
                    </a:lnTo>
                    <a:lnTo>
                      <a:pt x="555" y="1548"/>
                    </a:lnTo>
                    <a:lnTo>
                      <a:pt x="687" y="44"/>
                    </a:lnTo>
                    <a:lnTo>
                      <a:pt x="133" y="0"/>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1037;p35"/>
              <p:cNvSpPr/>
              <p:nvPr/>
            </p:nvSpPr>
            <p:spPr>
              <a:xfrm>
                <a:off x="6613845" y="2489805"/>
                <a:ext cx="1171985" cy="1127774"/>
              </a:xfrm>
              <a:custGeom>
                <a:avLst/>
                <a:gdLst/>
                <a:ahLst/>
                <a:cxnLst/>
                <a:rect l="l" t="t" r="r" b="b"/>
                <a:pathLst>
                  <a:path w="25926" h="24948" extrusionOk="0">
                    <a:moveTo>
                      <a:pt x="13451" y="561"/>
                    </a:moveTo>
                    <a:cubicBezTo>
                      <a:pt x="20027" y="569"/>
                      <a:pt x="25354" y="5897"/>
                      <a:pt x="25363" y="12473"/>
                    </a:cubicBezTo>
                    <a:cubicBezTo>
                      <a:pt x="25363" y="17290"/>
                      <a:pt x="22462" y="21633"/>
                      <a:pt x="18005" y="23479"/>
                    </a:cubicBezTo>
                    <a:cubicBezTo>
                      <a:pt x="16534" y="24087"/>
                      <a:pt x="14990" y="24382"/>
                      <a:pt x="13459" y="24382"/>
                    </a:cubicBezTo>
                    <a:cubicBezTo>
                      <a:pt x="10359" y="24382"/>
                      <a:pt x="7312" y="23172"/>
                      <a:pt x="5029" y="20895"/>
                    </a:cubicBezTo>
                    <a:cubicBezTo>
                      <a:pt x="1627" y="17484"/>
                      <a:pt x="607" y="12367"/>
                      <a:pt x="2444" y="7919"/>
                    </a:cubicBezTo>
                    <a:cubicBezTo>
                      <a:pt x="4290" y="3462"/>
                      <a:pt x="8633" y="561"/>
                      <a:pt x="13451" y="561"/>
                    </a:cubicBezTo>
                    <a:close/>
                    <a:moveTo>
                      <a:pt x="13458" y="1"/>
                    </a:moveTo>
                    <a:cubicBezTo>
                      <a:pt x="10212" y="1"/>
                      <a:pt x="7021" y="1267"/>
                      <a:pt x="4633" y="3655"/>
                    </a:cubicBezTo>
                    <a:cubicBezTo>
                      <a:pt x="1064" y="7224"/>
                      <a:pt x="0" y="12587"/>
                      <a:pt x="1925" y="17246"/>
                    </a:cubicBezTo>
                    <a:cubicBezTo>
                      <a:pt x="3860" y="21906"/>
                      <a:pt x="8405" y="24948"/>
                      <a:pt x="13451" y="24948"/>
                    </a:cubicBezTo>
                    <a:cubicBezTo>
                      <a:pt x="20334" y="24939"/>
                      <a:pt x="25917" y="19356"/>
                      <a:pt x="25926" y="12473"/>
                    </a:cubicBezTo>
                    <a:cubicBezTo>
                      <a:pt x="25926" y="7427"/>
                      <a:pt x="22884" y="2882"/>
                      <a:pt x="18224" y="948"/>
                    </a:cubicBezTo>
                    <a:cubicBezTo>
                      <a:pt x="16683" y="310"/>
                      <a:pt x="15064" y="1"/>
                      <a:pt x="13458" y="1"/>
                    </a:cubicBez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1038;p35"/>
              <p:cNvSpPr/>
              <p:nvPr/>
            </p:nvSpPr>
            <p:spPr>
              <a:xfrm>
                <a:off x="6608646" y="2440396"/>
                <a:ext cx="1226457" cy="1226457"/>
              </a:xfrm>
              <a:custGeom>
                <a:avLst/>
                <a:gdLst/>
                <a:ahLst/>
                <a:cxnLst/>
                <a:rect l="l" t="t" r="r" b="b"/>
                <a:pathLst>
                  <a:path w="27131" h="27131" extrusionOk="0">
                    <a:moveTo>
                      <a:pt x="13566" y="1"/>
                    </a:moveTo>
                    <a:lnTo>
                      <a:pt x="13566" y="1689"/>
                    </a:lnTo>
                    <a:cubicBezTo>
                      <a:pt x="18375" y="1689"/>
                      <a:pt x="22700" y="4581"/>
                      <a:pt x="24546" y="9021"/>
                    </a:cubicBezTo>
                    <a:cubicBezTo>
                      <a:pt x="26383" y="13460"/>
                      <a:pt x="25364" y="18568"/>
                      <a:pt x="21970" y="21970"/>
                    </a:cubicBezTo>
                    <a:cubicBezTo>
                      <a:pt x="19693" y="24241"/>
                      <a:pt x="16653" y="25449"/>
                      <a:pt x="13560" y="25449"/>
                    </a:cubicBezTo>
                    <a:cubicBezTo>
                      <a:pt x="12031" y="25449"/>
                      <a:pt x="10489" y="25154"/>
                      <a:pt x="9021" y="24546"/>
                    </a:cubicBezTo>
                    <a:cubicBezTo>
                      <a:pt x="4581" y="22700"/>
                      <a:pt x="1689" y="18375"/>
                      <a:pt x="1689" y="13566"/>
                    </a:cubicBezTo>
                    <a:lnTo>
                      <a:pt x="1" y="13566"/>
                    </a:lnTo>
                    <a:cubicBezTo>
                      <a:pt x="10" y="21056"/>
                      <a:pt x="6076" y="27122"/>
                      <a:pt x="13566" y="27131"/>
                    </a:cubicBezTo>
                    <a:cubicBezTo>
                      <a:pt x="21056" y="27131"/>
                      <a:pt x="27131" y="21056"/>
                      <a:pt x="27131" y="13566"/>
                    </a:cubicBezTo>
                    <a:cubicBezTo>
                      <a:pt x="27131" y="6076"/>
                      <a:pt x="21056" y="1"/>
                      <a:pt x="13566" y="1"/>
                    </a:cubicBez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pic>
        <p:nvPicPr>
          <p:cNvPr id="610" name="Google Shape;668;p31"/>
          <p:cNvPicPr preferRelativeResize="0"/>
          <p:nvPr/>
        </p:nvPicPr>
        <p:blipFill rotWithShape="1">
          <a:blip r:embed="rId6">
            <a:alphaModFix/>
          </a:blip>
          <a:srcRect l="5927" t="2783" r="2177" b="2555"/>
          <a:stretch/>
        </p:blipFill>
        <p:spPr>
          <a:xfrm>
            <a:off x="8930946" y="3235603"/>
            <a:ext cx="3324224" cy="3420649"/>
          </a:xfrm>
          <a:prstGeom prst="rect">
            <a:avLst/>
          </a:prstGeom>
          <a:noFill/>
          <a:ln>
            <a:noFill/>
          </a:ln>
        </p:spPr>
      </p:pic>
      <p:sp>
        <p:nvSpPr>
          <p:cNvPr id="607" name="Google Shape;1040;p35"/>
          <p:cNvSpPr txBox="1"/>
          <p:nvPr/>
        </p:nvSpPr>
        <p:spPr>
          <a:xfrm>
            <a:off x="9875856" y="4768915"/>
            <a:ext cx="1344000" cy="495900"/>
          </a:xfrm>
          <a:prstGeom prst="rect">
            <a:avLst/>
          </a:prstGeom>
          <a:noFill/>
          <a:ln>
            <a:noFill/>
          </a:ln>
        </p:spPr>
        <p:txBody>
          <a:bodyPr spcFirstLastPara="1" wrap="square" lIns="0" tIns="6350" rIns="0" bIns="0" anchor="b" anchorCtr="0">
            <a:noAutofit/>
          </a:bodyPr>
          <a:lstStyle/>
          <a:p>
            <a:pPr marL="0" marR="0" lvl="0" indent="0" algn="ctr" rtl="0">
              <a:lnSpc>
                <a:spcPct val="100000"/>
              </a:lnSpc>
              <a:spcBef>
                <a:spcPts val="0"/>
              </a:spcBef>
              <a:spcAft>
                <a:spcPts val="0"/>
              </a:spcAft>
              <a:buNone/>
            </a:pPr>
            <a:r>
              <a:rPr lang="ar-SA" sz="4800" dirty="0" smtClean="0">
                <a:solidFill>
                  <a:schemeClr val="bg1"/>
                </a:solidFill>
                <a:effectLst>
                  <a:outerShdw blurRad="38100" dist="38100" dir="2700000" algn="tl">
                    <a:srgbClr val="000000">
                      <a:alpha val="43137"/>
                    </a:srgbClr>
                  </a:outerShdw>
                </a:effectLst>
                <a:latin typeface="Teko Medium"/>
                <a:ea typeface="Teko Medium"/>
                <a:cs typeface="Teko Medium"/>
                <a:sym typeface="Teko Medium"/>
              </a:rPr>
              <a:t>571</a:t>
            </a:r>
            <a:endParaRPr sz="4800" dirty="0">
              <a:solidFill>
                <a:schemeClr val="bg1"/>
              </a:solidFill>
              <a:effectLst>
                <a:outerShdw blurRad="38100" dist="38100" dir="2700000" algn="tl">
                  <a:srgbClr val="000000">
                    <a:alpha val="43137"/>
                  </a:srgbClr>
                </a:outerShdw>
              </a:effectLst>
              <a:latin typeface="Teko Medium"/>
              <a:ea typeface="Teko Medium"/>
              <a:cs typeface="Teko Medium"/>
              <a:sym typeface="Teko Medium"/>
            </a:endParaRPr>
          </a:p>
        </p:txBody>
      </p:sp>
      <p:sp>
        <p:nvSpPr>
          <p:cNvPr id="608" name="Rectangle 607"/>
          <p:cNvSpPr/>
          <p:nvPr/>
        </p:nvSpPr>
        <p:spPr>
          <a:xfrm>
            <a:off x="9565247" y="5211379"/>
            <a:ext cx="1889645" cy="461665"/>
          </a:xfrm>
          <a:prstGeom prst="rect">
            <a:avLst/>
          </a:prstGeom>
        </p:spPr>
        <p:txBody>
          <a:bodyPr wrap="square">
            <a:spAutoFit/>
          </a:bodyPr>
          <a:lstStyle/>
          <a:p>
            <a:pPr algn="ctr" rtl="1">
              <a:spcBef>
                <a:spcPts val="0"/>
              </a:spcBef>
              <a:spcAft>
                <a:spcPts val="1600"/>
              </a:spcAft>
            </a:pPr>
            <a:r>
              <a:rPr lang="ar-SA" sz="2400" b="1" dirty="0" smtClean="0">
                <a:solidFill>
                  <a:schemeClr val="bg1"/>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مليار دولار</a:t>
            </a:r>
          </a:p>
        </p:txBody>
      </p:sp>
      <p:grpSp>
        <p:nvGrpSpPr>
          <p:cNvPr id="611" name="Google Shape;104;p23"/>
          <p:cNvGrpSpPr/>
          <p:nvPr/>
        </p:nvGrpSpPr>
        <p:grpSpPr>
          <a:xfrm flipH="1">
            <a:off x="-16042" y="2044221"/>
            <a:ext cx="5339389" cy="4800295"/>
            <a:chOff x="1356525" y="651475"/>
            <a:chExt cx="4906625" cy="4411225"/>
          </a:xfrm>
        </p:grpSpPr>
        <p:sp>
          <p:nvSpPr>
            <p:cNvPr id="612" name="Google Shape;105;p23"/>
            <p:cNvSpPr/>
            <p:nvPr/>
          </p:nvSpPr>
          <p:spPr>
            <a:xfrm>
              <a:off x="4118600" y="2035675"/>
              <a:ext cx="780325" cy="283950"/>
            </a:xfrm>
            <a:custGeom>
              <a:avLst/>
              <a:gdLst/>
              <a:ahLst/>
              <a:cxnLst/>
              <a:rect l="l" t="t" r="r" b="b"/>
              <a:pathLst>
                <a:path w="31213" h="11358" extrusionOk="0">
                  <a:moveTo>
                    <a:pt x="13438" y="9048"/>
                  </a:moveTo>
                  <a:lnTo>
                    <a:pt x="6403" y="9790"/>
                  </a:lnTo>
                  <a:cubicBezTo>
                    <a:pt x="8324" y="7816"/>
                    <a:pt x="11202" y="5764"/>
                    <a:pt x="14322" y="4143"/>
                  </a:cubicBezTo>
                  <a:cubicBezTo>
                    <a:pt x="17434" y="2514"/>
                    <a:pt x="20797" y="1307"/>
                    <a:pt x="23569" y="833"/>
                  </a:cubicBezTo>
                  <a:cubicBezTo>
                    <a:pt x="26388" y="331"/>
                    <a:pt x="28583" y="599"/>
                    <a:pt x="29602" y="1548"/>
                  </a:cubicBezTo>
                  <a:cubicBezTo>
                    <a:pt x="30659" y="2503"/>
                    <a:pt x="30498" y="4161"/>
                    <a:pt x="29115" y="6118"/>
                  </a:cubicBezTo>
                  <a:lnTo>
                    <a:pt x="29615" y="6012"/>
                  </a:lnTo>
                  <a:cubicBezTo>
                    <a:pt x="31052" y="3976"/>
                    <a:pt x="31212" y="2252"/>
                    <a:pt x="30110" y="1261"/>
                  </a:cubicBezTo>
                  <a:cubicBezTo>
                    <a:pt x="29046" y="276"/>
                    <a:pt x="26759" y="0"/>
                    <a:pt x="23829" y="524"/>
                  </a:cubicBezTo>
                  <a:cubicBezTo>
                    <a:pt x="20946" y="1019"/>
                    <a:pt x="17451" y="2274"/>
                    <a:pt x="14219" y="3965"/>
                  </a:cubicBezTo>
                  <a:cubicBezTo>
                    <a:pt x="10978" y="5649"/>
                    <a:pt x="7984" y="7784"/>
                    <a:pt x="5987" y="9834"/>
                  </a:cubicBezTo>
                  <a:lnTo>
                    <a:pt x="6284" y="9802"/>
                  </a:lnTo>
                  <a:lnTo>
                    <a:pt x="5292" y="9907"/>
                  </a:lnTo>
                  <a:lnTo>
                    <a:pt x="5690" y="9520"/>
                  </a:lnTo>
                  <a:lnTo>
                    <a:pt x="1473" y="9837"/>
                  </a:lnTo>
                  <a:lnTo>
                    <a:pt x="926" y="10367"/>
                  </a:lnTo>
                  <a:lnTo>
                    <a:pt x="1" y="11358"/>
                  </a:lnTo>
                  <a:lnTo>
                    <a:pt x="13243" y="9270"/>
                  </a:lnTo>
                  <a:cubicBezTo>
                    <a:pt x="13317" y="9195"/>
                    <a:pt x="13380" y="9121"/>
                    <a:pt x="13438" y="9048"/>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106;p23"/>
            <p:cNvSpPr/>
            <p:nvPr/>
          </p:nvSpPr>
          <p:spPr>
            <a:xfrm>
              <a:off x="4092550" y="2314600"/>
              <a:ext cx="130675" cy="36300"/>
            </a:xfrm>
            <a:custGeom>
              <a:avLst/>
              <a:gdLst/>
              <a:ahLst/>
              <a:cxnLst/>
              <a:rect l="l" t="t" r="r" b="b"/>
              <a:pathLst>
                <a:path w="5227" h="1452" extrusionOk="0">
                  <a:moveTo>
                    <a:pt x="5226" y="1"/>
                  </a:moveTo>
                  <a:lnTo>
                    <a:pt x="419" y="932"/>
                  </a:lnTo>
                  <a:lnTo>
                    <a:pt x="0" y="1452"/>
                  </a:lnTo>
                  <a:lnTo>
                    <a:pt x="4927" y="37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107;p23"/>
            <p:cNvSpPr/>
            <p:nvPr/>
          </p:nvSpPr>
          <p:spPr>
            <a:xfrm>
              <a:off x="4067800" y="2340650"/>
              <a:ext cx="136325" cy="45900"/>
            </a:xfrm>
            <a:custGeom>
              <a:avLst/>
              <a:gdLst/>
              <a:ahLst/>
              <a:cxnLst/>
              <a:rect l="l" t="t" r="r" b="b"/>
              <a:pathLst>
                <a:path w="5453" h="1836" extrusionOk="0">
                  <a:moveTo>
                    <a:pt x="5453" y="0"/>
                  </a:moveTo>
                  <a:lnTo>
                    <a:pt x="332" y="1331"/>
                  </a:lnTo>
                  <a:cubicBezTo>
                    <a:pt x="219" y="1500"/>
                    <a:pt x="96" y="1671"/>
                    <a:pt x="0" y="1836"/>
                  </a:cubicBezTo>
                  <a:lnTo>
                    <a:pt x="5217" y="363"/>
                  </a:lnTo>
                  <a:cubicBezTo>
                    <a:pt x="5282" y="246"/>
                    <a:pt x="5375" y="120"/>
                    <a:pt x="5453" y="0"/>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108;p23"/>
            <p:cNvSpPr/>
            <p:nvPr/>
          </p:nvSpPr>
          <p:spPr>
            <a:xfrm>
              <a:off x="4050075" y="2365575"/>
              <a:ext cx="139650" cy="54900"/>
            </a:xfrm>
            <a:custGeom>
              <a:avLst/>
              <a:gdLst/>
              <a:ahLst/>
              <a:cxnLst/>
              <a:rect l="l" t="t" r="r" b="b"/>
              <a:pathLst>
                <a:path w="5586" h="2196" extrusionOk="0">
                  <a:moveTo>
                    <a:pt x="5586" y="0"/>
                  </a:moveTo>
                  <a:lnTo>
                    <a:pt x="218" y="1721"/>
                  </a:lnTo>
                  <a:cubicBezTo>
                    <a:pt x="124" y="1886"/>
                    <a:pt x="69" y="2038"/>
                    <a:pt x="0" y="2195"/>
                  </a:cubicBezTo>
                  <a:lnTo>
                    <a:pt x="5436" y="341"/>
                  </a:lnTo>
                  <a:cubicBezTo>
                    <a:pt x="5485" y="228"/>
                    <a:pt x="5515" y="120"/>
                    <a:pt x="5586" y="0"/>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109;p23"/>
            <p:cNvSpPr/>
            <p:nvPr/>
          </p:nvSpPr>
          <p:spPr>
            <a:xfrm>
              <a:off x="4039250" y="2389000"/>
              <a:ext cx="141325" cy="63325"/>
            </a:xfrm>
            <a:custGeom>
              <a:avLst/>
              <a:gdLst/>
              <a:ahLst/>
              <a:cxnLst/>
              <a:rect l="l" t="t" r="r" b="b"/>
              <a:pathLst>
                <a:path w="5653" h="2533" extrusionOk="0">
                  <a:moveTo>
                    <a:pt x="5652" y="1"/>
                  </a:moveTo>
                  <a:lnTo>
                    <a:pt x="115" y="2091"/>
                  </a:lnTo>
                  <a:lnTo>
                    <a:pt x="1" y="2532"/>
                  </a:lnTo>
                  <a:lnTo>
                    <a:pt x="5581" y="31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110;p23"/>
            <p:cNvSpPr/>
            <p:nvPr/>
          </p:nvSpPr>
          <p:spPr>
            <a:xfrm>
              <a:off x="4035600" y="2410550"/>
              <a:ext cx="141325" cy="71050"/>
            </a:xfrm>
            <a:custGeom>
              <a:avLst/>
              <a:gdLst/>
              <a:ahLst/>
              <a:cxnLst/>
              <a:rect l="l" t="t" r="r" b="b"/>
              <a:pathLst>
                <a:path w="5653" h="2842" extrusionOk="0">
                  <a:moveTo>
                    <a:pt x="5652" y="0"/>
                  </a:moveTo>
                  <a:lnTo>
                    <a:pt x="22" y="2434"/>
                  </a:lnTo>
                  <a:lnTo>
                    <a:pt x="0" y="2841"/>
                  </a:lnTo>
                  <a:lnTo>
                    <a:pt x="5643" y="29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111;p23"/>
            <p:cNvSpPr/>
            <p:nvPr/>
          </p:nvSpPr>
          <p:spPr>
            <a:xfrm>
              <a:off x="4037375" y="2429975"/>
              <a:ext cx="142725" cy="77775"/>
            </a:xfrm>
            <a:custGeom>
              <a:avLst/>
              <a:gdLst/>
              <a:ahLst/>
              <a:cxnLst/>
              <a:rect l="l" t="t" r="r" b="b"/>
              <a:pathLst>
                <a:path w="5709" h="3111" extrusionOk="0">
                  <a:moveTo>
                    <a:pt x="5641" y="0"/>
                  </a:moveTo>
                  <a:lnTo>
                    <a:pt x="1" y="2749"/>
                  </a:lnTo>
                  <a:cubicBezTo>
                    <a:pt x="27" y="2870"/>
                    <a:pt x="34" y="3001"/>
                    <a:pt x="84" y="3111"/>
                  </a:cubicBezTo>
                  <a:lnTo>
                    <a:pt x="5709" y="257"/>
                  </a:lnTo>
                  <a:cubicBezTo>
                    <a:pt x="5664" y="182"/>
                    <a:pt x="5664" y="86"/>
                    <a:pt x="5641" y="0"/>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112;p23"/>
            <p:cNvSpPr/>
            <p:nvPr/>
          </p:nvSpPr>
          <p:spPr>
            <a:xfrm>
              <a:off x="4045925" y="2447025"/>
              <a:ext cx="143200" cy="83325"/>
            </a:xfrm>
            <a:custGeom>
              <a:avLst/>
              <a:gdLst/>
              <a:ahLst/>
              <a:cxnLst/>
              <a:rect l="l" t="t" r="r" b="b"/>
              <a:pathLst>
                <a:path w="5728" h="3333" extrusionOk="0">
                  <a:moveTo>
                    <a:pt x="5568" y="1"/>
                  </a:moveTo>
                  <a:lnTo>
                    <a:pt x="0" y="3030"/>
                  </a:lnTo>
                  <a:cubicBezTo>
                    <a:pt x="53" y="3139"/>
                    <a:pt x="136" y="3232"/>
                    <a:pt x="208" y="3333"/>
                  </a:cubicBezTo>
                  <a:lnTo>
                    <a:pt x="5728" y="212"/>
                  </a:lnTo>
                  <a:cubicBezTo>
                    <a:pt x="5674" y="142"/>
                    <a:pt x="5607" y="79"/>
                    <a:pt x="5568" y="1"/>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113;p23"/>
            <p:cNvSpPr/>
            <p:nvPr/>
          </p:nvSpPr>
          <p:spPr>
            <a:xfrm>
              <a:off x="4062325" y="2461200"/>
              <a:ext cx="141000" cy="87975"/>
            </a:xfrm>
            <a:custGeom>
              <a:avLst/>
              <a:gdLst/>
              <a:ahLst/>
              <a:cxnLst/>
              <a:rect l="l" t="t" r="r" b="b"/>
              <a:pathLst>
                <a:path w="5640" h="3519" extrusionOk="0">
                  <a:moveTo>
                    <a:pt x="5409" y="0"/>
                  </a:moveTo>
                  <a:lnTo>
                    <a:pt x="0" y="3270"/>
                  </a:lnTo>
                  <a:lnTo>
                    <a:pt x="309" y="3518"/>
                  </a:lnTo>
                  <a:lnTo>
                    <a:pt x="5639" y="17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114;p23"/>
            <p:cNvSpPr/>
            <p:nvPr/>
          </p:nvSpPr>
          <p:spPr>
            <a:xfrm>
              <a:off x="4086175" y="2472350"/>
              <a:ext cx="136425" cy="91575"/>
            </a:xfrm>
            <a:custGeom>
              <a:avLst/>
              <a:gdLst/>
              <a:ahLst/>
              <a:cxnLst/>
              <a:rect l="l" t="t" r="r" b="b"/>
              <a:pathLst>
                <a:path w="5457" h="3663" extrusionOk="0">
                  <a:moveTo>
                    <a:pt x="5162" y="1"/>
                  </a:moveTo>
                  <a:lnTo>
                    <a:pt x="0" y="3467"/>
                  </a:lnTo>
                  <a:lnTo>
                    <a:pt x="401" y="3662"/>
                  </a:lnTo>
                  <a:lnTo>
                    <a:pt x="5456" y="13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115;p23"/>
            <p:cNvSpPr/>
            <p:nvPr/>
          </p:nvSpPr>
          <p:spPr>
            <a:xfrm>
              <a:off x="4117150" y="2480375"/>
              <a:ext cx="129975" cy="93525"/>
            </a:xfrm>
            <a:custGeom>
              <a:avLst/>
              <a:gdLst/>
              <a:ahLst/>
              <a:cxnLst/>
              <a:rect l="l" t="t" r="r" b="b"/>
              <a:pathLst>
                <a:path w="5199" h="3741" extrusionOk="0">
                  <a:moveTo>
                    <a:pt x="4830" y="1"/>
                  </a:moveTo>
                  <a:lnTo>
                    <a:pt x="1" y="3616"/>
                  </a:lnTo>
                  <a:cubicBezTo>
                    <a:pt x="164" y="3661"/>
                    <a:pt x="320" y="3713"/>
                    <a:pt x="508" y="3740"/>
                  </a:cubicBezTo>
                  <a:lnTo>
                    <a:pt x="5199" y="85"/>
                  </a:lnTo>
                  <a:cubicBezTo>
                    <a:pt x="5059" y="71"/>
                    <a:pt x="4948" y="32"/>
                    <a:pt x="4830" y="1"/>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116;p23"/>
            <p:cNvSpPr/>
            <p:nvPr/>
          </p:nvSpPr>
          <p:spPr>
            <a:xfrm>
              <a:off x="4154900" y="2485125"/>
              <a:ext cx="121525" cy="93825"/>
            </a:xfrm>
            <a:custGeom>
              <a:avLst/>
              <a:gdLst/>
              <a:ahLst/>
              <a:cxnLst/>
              <a:rect l="l" t="t" r="r" b="b"/>
              <a:pathLst>
                <a:path w="4861" h="3753" extrusionOk="0">
                  <a:moveTo>
                    <a:pt x="4415" y="0"/>
                  </a:moveTo>
                  <a:lnTo>
                    <a:pt x="1" y="3709"/>
                  </a:lnTo>
                  <a:cubicBezTo>
                    <a:pt x="194" y="3732"/>
                    <a:pt x="407" y="3739"/>
                    <a:pt x="614" y="3752"/>
                  </a:cubicBezTo>
                  <a:lnTo>
                    <a:pt x="4861" y="25"/>
                  </a:lnTo>
                  <a:cubicBezTo>
                    <a:pt x="4712" y="16"/>
                    <a:pt x="4554" y="16"/>
                    <a:pt x="4415" y="0"/>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117;p23"/>
            <p:cNvSpPr/>
            <p:nvPr/>
          </p:nvSpPr>
          <p:spPr>
            <a:xfrm>
              <a:off x="4199200" y="2485525"/>
              <a:ext cx="110650" cy="94225"/>
            </a:xfrm>
            <a:custGeom>
              <a:avLst/>
              <a:gdLst/>
              <a:ahLst/>
              <a:cxnLst/>
              <a:rect l="l" t="t" r="r" b="b"/>
              <a:pathLst>
                <a:path w="4426" h="3769" extrusionOk="0">
                  <a:moveTo>
                    <a:pt x="3925" y="24"/>
                  </a:moveTo>
                  <a:lnTo>
                    <a:pt x="0" y="3768"/>
                  </a:lnTo>
                  <a:lnTo>
                    <a:pt x="691" y="3744"/>
                  </a:lnTo>
                  <a:lnTo>
                    <a:pt x="4425"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118;p23"/>
            <p:cNvSpPr/>
            <p:nvPr/>
          </p:nvSpPr>
          <p:spPr>
            <a:xfrm>
              <a:off x="4248950" y="2481875"/>
              <a:ext cx="97875" cy="94750"/>
            </a:xfrm>
            <a:custGeom>
              <a:avLst/>
              <a:gdLst/>
              <a:ahLst/>
              <a:cxnLst/>
              <a:rect l="l" t="t" r="r" b="b"/>
              <a:pathLst>
                <a:path w="3915" h="3790" extrusionOk="0">
                  <a:moveTo>
                    <a:pt x="3371" y="68"/>
                  </a:moveTo>
                  <a:lnTo>
                    <a:pt x="0" y="3790"/>
                  </a:lnTo>
                  <a:lnTo>
                    <a:pt x="756" y="3701"/>
                  </a:lnTo>
                  <a:lnTo>
                    <a:pt x="3915"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119;p23"/>
            <p:cNvSpPr/>
            <p:nvPr/>
          </p:nvSpPr>
          <p:spPr>
            <a:xfrm>
              <a:off x="4303625" y="2474825"/>
              <a:ext cx="83425" cy="93800"/>
            </a:xfrm>
            <a:custGeom>
              <a:avLst/>
              <a:gdLst/>
              <a:ahLst/>
              <a:cxnLst/>
              <a:rect l="l" t="t" r="r" b="b"/>
              <a:pathLst>
                <a:path w="3337" h="3752" extrusionOk="0">
                  <a:moveTo>
                    <a:pt x="2753" y="111"/>
                  </a:moveTo>
                  <a:lnTo>
                    <a:pt x="1" y="3752"/>
                  </a:lnTo>
                  <a:lnTo>
                    <a:pt x="819" y="3598"/>
                  </a:lnTo>
                  <a:lnTo>
                    <a:pt x="3337"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120;p23"/>
            <p:cNvSpPr/>
            <p:nvPr/>
          </p:nvSpPr>
          <p:spPr>
            <a:xfrm>
              <a:off x="4362600" y="2464000"/>
              <a:ext cx="67550" cy="91700"/>
            </a:xfrm>
            <a:custGeom>
              <a:avLst/>
              <a:gdLst/>
              <a:ahLst/>
              <a:cxnLst/>
              <a:rect l="l" t="t" r="r" b="b"/>
              <a:pathLst>
                <a:path w="2702" h="3668" extrusionOk="0">
                  <a:moveTo>
                    <a:pt x="2077" y="168"/>
                  </a:moveTo>
                  <a:lnTo>
                    <a:pt x="0" y="3668"/>
                  </a:lnTo>
                  <a:cubicBezTo>
                    <a:pt x="288" y="3600"/>
                    <a:pt x="579" y="3524"/>
                    <a:pt x="878" y="3435"/>
                  </a:cubicBezTo>
                  <a:lnTo>
                    <a:pt x="2702" y="1"/>
                  </a:lnTo>
                  <a:cubicBezTo>
                    <a:pt x="2487" y="66"/>
                    <a:pt x="2280" y="121"/>
                    <a:pt x="2077" y="168"/>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121;p23"/>
            <p:cNvSpPr/>
            <p:nvPr/>
          </p:nvSpPr>
          <p:spPr>
            <a:xfrm>
              <a:off x="4424825" y="2449950"/>
              <a:ext cx="50225" cy="88025"/>
            </a:xfrm>
            <a:custGeom>
              <a:avLst/>
              <a:gdLst/>
              <a:ahLst/>
              <a:cxnLst/>
              <a:rect l="l" t="t" r="r" b="b"/>
              <a:pathLst>
                <a:path w="2009" h="3521" extrusionOk="0">
                  <a:moveTo>
                    <a:pt x="1" y="3521"/>
                  </a:moveTo>
                  <a:lnTo>
                    <a:pt x="916" y="3213"/>
                  </a:lnTo>
                  <a:lnTo>
                    <a:pt x="2008" y="1"/>
                  </a:lnTo>
                  <a:lnTo>
                    <a:pt x="1357" y="22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122;p23"/>
            <p:cNvSpPr/>
            <p:nvPr/>
          </p:nvSpPr>
          <p:spPr>
            <a:xfrm>
              <a:off x="4489225" y="2432900"/>
              <a:ext cx="31825" cy="82550"/>
            </a:xfrm>
            <a:custGeom>
              <a:avLst/>
              <a:gdLst/>
              <a:ahLst/>
              <a:cxnLst/>
              <a:rect l="l" t="t" r="r" b="b"/>
              <a:pathLst>
                <a:path w="1273" h="3302" extrusionOk="0">
                  <a:moveTo>
                    <a:pt x="1" y="3301"/>
                  </a:moveTo>
                  <a:lnTo>
                    <a:pt x="932" y="2940"/>
                  </a:lnTo>
                  <a:lnTo>
                    <a:pt x="1273" y="0"/>
                  </a:lnTo>
                  <a:lnTo>
                    <a:pt x="611" y="25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0" name="Google Shape;123;p23"/>
            <p:cNvSpPr/>
            <p:nvPr/>
          </p:nvSpPr>
          <p:spPr>
            <a:xfrm>
              <a:off x="4550850" y="2413150"/>
              <a:ext cx="27000" cy="75725"/>
            </a:xfrm>
            <a:custGeom>
              <a:avLst/>
              <a:gdLst/>
              <a:ahLst/>
              <a:cxnLst/>
              <a:rect l="l" t="t" r="r" b="b"/>
              <a:pathLst>
                <a:path w="1080" h="3029" extrusionOk="0">
                  <a:moveTo>
                    <a:pt x="1" y="290"/>
                  </a:moveTo>
                  <a:lnTo>
                    <a:pt x="145" y="3029"/>
                  </a:lnTo>
                  <a:lnTo>
                    <a:pt x="1079" y="2619"/>
                  </a:lnTo>
                  <a:lnTo>
                    <a:pt x="665"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1" name="Google Shape;124;p23"/>
            <p:cNvSpPr/>
            <p:nvPr/>
          </p:nvSpPr>
          <p:spPr>
            <a:xfrm>
              <a:off x="4597150" y="2390675"/>
              <a:ext cx="45425" cy="68050"/>
            </a:xfrm>
            <a:custGeom>
              <a:avLst/>
              <a:gdLst/>
              <a:ahLst/>
              <a:cxnLst/>
              <a:rect l="l" t="t" r="r" b="b"/>
              <a:pathLst>
                <a:path w="1817" h="2722" extrusionOk="0">
                  <a:moveTo>
                    <a:pt x="0" y="331"/>
                  </a:moveTo>
                  <a:lnTo>
                    <a:pt x="897" y="2721"/>
                  </a:lnTo>
                  <a:cubicBezTo>
                    <a:pt x="1207" y="2574"/>
                    <a:pt x="1512" y="2417"/>
                    <a:pt x="1817" y="2257"/>
                  </a:cubicBezTo>
                  <a:lnTo>
                    <a:pt x="654" y="0"/>
                  </a:lnTo>
                  <a:cubicBezTo>
                    <a:pt x="437" y="115"/>
                    <a:pt x="221" y="227"/>
                    <a:pt x="0" y="331"/>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125;p23"/>
            <p:cNvSpPr/>
            <p:nvPr/>
          </p:nvSpPr>
          <p:spPr>
            <a:xfrm>
              <a:off x="4642600" y="2366175"/>
              <a:ext cx="63200" cy="59150"/>
            </a:xfrm>
            <a:custGeom>
              <a:avLst/>
              <a:gdLst/>
              <a:ahLst/>
              <a:cxnLst/>
              <a:rect l="l" t="t" r="r" b="b"/>
              <a:pathLst>
                <a:path w="2528" h="2366" extrusionOk="0">
                  <a:moveTo>
                    <a:pt x="1" y="363"/>
                  </a:moveTo>
                  <a:lnTo>
                    <a:pt x="1636" y="2366"/>
                  </a:lnTo>
                  <a:lnTo>
                    <a:pt x="2527" y="1858"/>
                  </a:lnTo>
                  <a:lnTo>
                    <a:pt x="633"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3" name="Google Shape;126;p23"/>
            <p:cNvSpPr/>
            <p:nvPr/>
          </p:nvSpPr>
          <p:spPr>
            <a:xfrm>
              <a:off x="4686400" y="2340025"/>
              <a:ext cx="80100" cy="49150"/>
            </a:xfrm>
            <a:custGeom>
              <a:avLst/>
              <a:gdLst/>
              <a:ahLst/>
              <a:cxnLst/>
              <a:rect l="l" t="t" r="r" b="b"/>
              <a:pathLst>
                <a:path w="3204" h="1966" extrusionOk="0">
                  <a:moveTo>
                    <a:pt x="0" y="381"/>
                  </a:moveTo>
                  <a:lnTo>
                    <a:pt x="2348" y="1966"/>
                  </a:lnTo>
                  <a:lnTo>
                    <a:pt x="3204" y="1429"/>
                  </a:lnTo>
                  <a:lnTo>
                    <a:pt x="609"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127;p23"/>
            <p:cNvSpPr/>
            <p:nvPr/>
          </p:nvSpPr>
          <p:spPr>
            <a:xfrm>
              <a:off x="4728025" y="2312575"/>
              <a:ext cx="95625" cy="38400"/>
            </a:xfrm>
            <a:custGeom>
              <a:avLst/>
              <a:gdLst/>
              <a:ahLst/>
              <a:cxnLst/>
              <a:rect l="l" t="t" r="r" b="b"/>
              <a:pathLst>
                <a:path w="3825" h="1536" extrusionOk="0">
                  <a:moveTo>
                    <a:pt x="0" y="396"/>
                  </a:moveTo>
                  <a:lnTo>
                    <a:pt x="3022" y="1536"/>
                  </a:lnTo>
                  <a:cubicBezTo>
                    <a:pt x="3292" y="1350"/>
                    <a:pt x="3565" y="1165"/>
                    <a:pt x="3825" y="977"/>
                  </a:cubicBezTo>
                  <a:lnTo>
                    <a:pt x="572" y="1"/>
                  </a:lnTo>
                  <a:cubicBezTo>
                    <a:pt x="388" y="134"/>
                    <a:pt x="191" y="264"/>
                    <a:pt x="0" y="396"/>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128;p23"/>
            <p:cNvSpPr/>
            <p:nvPr/>
          </p:nvSpPr>
          <p:spPr>
            <a:xfrm>
              <a:off x="4766750" y="2284200"/>
              <a:ext cx="109250" cy="27175"/>
            </a:xfrm>
            <a:custGeom>
              <a:avLst/>
              <a:gdLst/>
              <a:ahLst/>
              <a:cxnLst/>
              <a:rect l="l" t="t" r="r" b="b"/>
              <a:pathLst>
                <a:path w="4370" h="1087" extrusionOk="0">
                  <a:moveTo>
                    <a:pt x="0" y="408"/>
                  </a:moveTo>
                  <a:lnTo>
                    <a:pt x="3648" y="1086"/>
                  </a:lnTo>
                  <a:cubicBezTo>
                    <a:pt x="3903" y="897"/>
                    <a:pt x="4132" y="704"/>
                    <a:pt x="4369" y="511"/>
                  </a:cubicBezTo>
                  <a:lnTo>
                    <a:pt x="515" y="0"/>
                  </a:lnTo>
                  <a:cubicBezTo>
                    <a:pt x="345" y="137"/>
                    <a:pt x="185" y="274"/>
                    <a:pt x="0" y="408"/>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129;p23"/>
            <p:cNvSpPr/>
            <p:nvPr/>
          </p:nvSpPr>
          <p:spPr>
            <a:xfrm>
              <a:off x="4801800" y="2255500"/>
              <a:ext cx="121025" cy="15525"/>
            </a:xfrm>
            <a:custGeom>
              <a:avLst/>
              <a:gdLst/>
              <a:ahLst/>
              <a:cxnLst/>
              <a:rect l="l" t="t" r="r" b="b"/>
              <a:pathLst>
                <a:path w="4841" h="621" extrusionOk="0">
                  <a:moveTo>
                    <a:pt x="1" y="411"/>
                  </a:moveTo>
                  <a:lnTo>
                    <a:pt x="4207" y="621"/>
                  </a:lnTo>
                  <a:lnTo>
                    <a:pt x="4841" y="44"/>
                  </a:lnTo>
                  <a:lnTo>
                    <a:pt x="454"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130;p23"/>
            <p:cNvSpPr/>
            <p:nvPr/>
          </p:nvSpPr>
          <p:spPr>
            <a:xfrm>
              <a:off x="4832475" y="2216650"/>
              <a:ext cx="130900" cy="20500"/>
            </a:xfrm>
            <a:custGeom>
              <a:avLst/>
              <a:gdLst/>
              <a:ahLst/>
              <a:cxnLst/>
              <a:rect l="l" t="t" r="r" b="b"/>
              <a:pathLst>
                <a:path w="5236" h="820" extrusionOk="0">
                  <a:moveTo>
                    <a:pt x="1" y="820"/>
                  </a:moveTo>
                  <a:lnTo>
                    <a:pt x="4688" y="567"/>
                  </a:lnTo>
                  <a:lnTo>
                    <a:pt x="5235" y="0"/>
                  </a:lnTo>
                  <a:lnTo>
                    <a:pt x="398" y="414"/>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131;p23"/>
            <p:cNvSpPr/>
            <p:nvPr/>
          </p:nvSpPr>
          <p:spPr>
            <a:xfrm>
              <a:off x="4188300" y="2228625"/>
              <a:ext cx="635300" cy="249250"/>
            </a:xfrm>
            <a:custGeom>
              <a:avLst/>
              <a:gdLst/>
              <a:ahLst/>
              <a:cxnLst/>
              <a:rect l="l" t="t" r="r" b="b"/>
              <a:pathLst>
                <a:path w="25412" h="9970" extrusionOk="0">
                  <a:moveTo>
                    <a:pt x="2161" y="3292"/>
                  </a:moveTo>
                  <a:cubicBezTo>
                    <a:pt x="505" y="5327"/>
                    <a:pt x="0" y="7157"/>
                    <a:pt x="778" y="8313"/>
                  </a:cubicBezTo>
                  <a:cubicBezTo>
                    <a:pt x="1542" y="9507"/>
                    <a:pt x="3672" y="9970"/>
                    <a:pt x="6575" y="9589"/>
                  </a:cubicBezTo>
                  <a:cubicBezTo>
                    <a:pt x="9498" y="9225"/>
                    <a:pt x="13197" y="7990"/>
                    <a:pt x="16675" y="6213"/>
                  </a:cubicBezTo>
                  <a:cubicBezTo>
                    <a:pt x="20160" y="4450"/>
                    <a:pt x="23370" y="2170"/>
                    <a:pt x="25412" y="0"/>
                  </a:cubicBezTo>
                  <a:lnTo>
                    <a:pt x="24964" y="38"/>
                  </a:lnTo>
                  <a:cubicBezTo>
                    <a:pt x="23000" y="2122"/>
                    <a:pt x="19921" y="4310"/>
                    <a:pt x="16574" y="6003"/>
                  </a:cubicBezTo>
                  <a:cubicBezTo>
                    <a:pt x="13233" y="7709"/>
                    <a:pt x="9685" y="8896"/>
                    <a:pt x="6878" y="9245"/>
                  </a:cubicBezTo>
                  <a:cubicBezTo>
                    <a:pt x="4085" y="9614"/>
                    <a:pt x="2037" y="9174"/>
                    <a:pt x="1299" y="8028"/>
                  </a:cubicBezTo>
                  <a:cubicBezTo>
                    <a:pt x="546" y="6918"/>
                    <a:pt x="1027" y="5160"/>
                    <a:pt x="2617" y="3204"/>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132;p23"/>
            <p:cNvSpPr/>
            <p:nvPr/>
          </p:nvSpPr>
          <p:spPr>
            <a:xfrm>
              <a:off x="4632900" y="2172150"/>
              <a:ext cx="368600" cy="69175"/>
            </a:xfrm>
            <a:custGeom>
              <a:avLst/>
              <a:gdLst/>
              <a:ahLst/>
              <a:cxnLst/>
              <a:rect l="l" t="t" r="r" b="b"/>
              <a:pathLst>
                <a:path w="14744" h="2767" extrusionOk="0">
                  <a:moveTo>
                    <a:pt x="0" y="2767"/>
                  </a:moveTo>
                  <a:lnTo>
                    <a:pt x="13887" y="1041"/>
                  </a:lnTo>
                  <a:cubicBezTo>
                    <a:pt x="14180" y="692"/>
                    <a:pt x="14482" y="343"/>
                    <a:pt x="14743" y="1"/>
                  </a:cubicBezTo>
                  <a:lnTo>
                    <a:pt x="197" y="2544"/>
                  </a:lnTo>
                  <a:cubicBezTo>
                    <a:pt x="139" y="2616"/>
                    <a:pt x="57" y="2693"/>
                    <a:pt x="0" y="2767"/>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133;p23"/>
            <p:cNvSpPr/>
            <p:nvPr/>
          </p:nvSpPr>
          <p:spPr>
            <a:xfrm>
              <a:off x="4880050" y="2139925"/>
              <a:ext cx="143800" cy="41650"/>
            </a:xfrm>
            <a:custGeom>
              <a:avLst/>
              <a:gdLst/>
              <a:ahLst/>
              <a:cxnLst/>
              <a:rect l="l" t="t" r="r" b="b"/>
              <a:pathLst>
                <a:path w="5752" h="1666" extrusionOk="0">
                  <a:moveTo>
                    <a:pt x="0" y="1665"/>
                  </a:moveTo>
                  <a:lnTo>
                    <a:pt x="5398" y="532"/>
                  </a:lnTo>
                  <a:cubicBezTo>
                    <a:pt x="5520" y="354"/>
                    <a:pt x="5658" y="173"/>
                    <a:pt x="5751" y="1"/>
                  </a:cubicBezTo>
                  <a:lnTo>
                    <a:pt x="261" y="1284"/>
                  </a:lnTo>
                  <a:cubicBezTo>
                    <a:pt x="195" y="1406"/>
                    <a:pt x="89" y="1538"/>
                    <a:pt x="0" y="1665"/>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134;p23"/>
            <p:cNvSpPr/>
            <p:nvPr/>
          </p:nvSpPr>
          <p:spPr>
            <a:xfrm>
              <a:off x="4896350" y="2104325"/>
              <a:ext cx="146400" cy="51050"/>
            </a:xfrm>
            <a:custGeom>
              <a:avLst/>
              <a:gdLst/>
              <a:ahLst/>
              <a:cxnLst/>
              <a:rect l="l" t="t" r="r" b="b"/>
              <a:pathLst>
                <a:path w="5856" h="2042" extrusionOk="0">
                  <a:moveTo>
                    <a:pt x="0" y="2042"/>
                  </a:moveTo>
                  <a:lnTo>
                    <a:pt x="5628" y="497"/>
                  </a:lnTo>
                  <a:cubicBezTo>
                    <a:pt x="5723" y="325"/>
                    <a:pt x="5781" y="165"/>
                    <a:pt x="5855" y="1"/>
                  </a:cubicBezTo>
                  <a:lnTo>
                    <a:pt x="169" y="1686"/>
                  </a:lnTo>
                  <a:cubicBezTo>
                    <a:pt x="112" y="1805"/>
                    <a:pt x="74" y="1917"/>
                    <a:pt x="0" y="2042"/>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135;p23"/>
            <p:cNvSpPr/>
            <p:nvPr/>
          </p:nvSpPr>
          <p:spPr>
            <a:xfrm>
              <a:off x="4906875" y="2071350"/>
              <a:ext cx="147050" cy="59575"/>
            </a:xfrm>
            <a:custGeom>
              <a:avLst/>
              <a:gdLst/>
              <a:ahLst/>
              <a:cxnLst/>
              <a:rect l="l" t="t" r="r" b="b"/>
              <a:pathLst>
                <a:path w="5882" h="2383" extrusionOk="0">
                  <a:moveTo>
                    <a:pt x="1" y="2382"/>
                  </a:moveTo>
                  <a:lnTo>
                    <a:pt x="5764" y="456"/>
                  </a:lnTo>
                  <a:lnTo>
                    <a:pt x="5882" y="0"/>
                  </a:lnTo>
                  <a:lnTo>
                    <a:pt x="91" y="205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136;p23"/>
            <p:cNvSpPr/>
            <p:nvPr/>
          </p:nvSpPr>
          <p:spPr>
            <a:xfrm>
              <a:off x="4911725" y="2041475"/>
              <a:ext cx="145775" cy="67075"/>
            </a:xfrm>
            <a:custGeom>
              <a:avLst/>
              <a:gdLst/>
              <a:ahLst/>
              <a:cxnLst/>
              <a:rect l="l" t="t" r="r" b="b"/>
              <a:pathLst>
                <a:path w="5831" h="2683" extrusionOk="0">
                  <a:moveTo>
                    <a:pt x="0" y="2682"/>
                  </a:moveTo>
                  <a:lnTo>
                    <a:pt x="5810" y="414"/>
                  </a:lnTo>
                  <a:lnTo>
                    <a:pt x="5830" y="0"/>
                  </a:lnTo>
                  <a:lnTo>
                    <a:pt x="26" y="238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137;p23"/>
            <p:cNvSpPr/>
            <p:nvPr/>
          </p:nvSpPr>
          <p:spPr>
            <a:xfrm>
              <a:off x="4909825" y="2015225"/>
              <a:ext cx="145575" cy="73225"/>
            </a:xfrm>
            <a:custGeom>
              <a:avLst/>
              <a:gdLst/>
              <a:ahLst/>
              <a:cxnLst/>
              <a:rect l="l" t="t" r="r" b="b"/>
              <a:pathLst>
                <a:path w="5823" h="2929" extrusionOk="0">
                  <a:moveTo>
                    <a:pt x="57" y="2929"/>
                  </a:moveTo>
                  <a:lnTo>
                    <a:pt x="5823" y="360"/>
                  </a:lnTo>
                  <a:cubicBezTo>
                    <a:pt x="5797" y="238"/>
                    <a:pt x="5783" y="110"/>
                    <a:pt x="5730" y="0"/>
                  </a:cubicBezTo>
                  <a:lnTo>
                    <a:pt x="0" y="2664"/>
                  </a:lnTo>
                  <a:cubicBezTo>
                    <a:pt x="41" y="2742"/>
                    <a:pt x="42" y="2838"/>
                    <a:pt x="57" y="2929"/>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138;p23"/>
            <p:cNvSpPr/>
            <p:nvPr/>
          </p:nvSpPr>
          <p:spPr>
            <a:xfrm>
              <a:off x="4901775" y="1992900"/>
              <a:ext cx="144675" cy="77975"/>
            </a:xfrm>
            <a:custGeom>
              <a:avLst/>
              <a:gdLst/>
              <a:ahLst/>
              <a:cxnLst/>
              <a:rect l="l" t="t" r="r" b="b"/>
              <a:pathLst>
                <a:path w="5787" h="3119" extrusionOk="0">
                  <a:moveTo>
                    <a:pt x="149" y="3118"/>
                  </a:moveTo>
                  <a:lnTo>
                    <a:pt x="5787" y="296"/>
                  </a:lnTo>
                  <a:cubicBezTo>
                    <a:pt x="5727" y="192"/>
                    <a:pt x="5647" y="97"/>
                    <a:pt x="5574" y="0"/>
                  </a:cubicBezTo>
                  <a:lnTo>
                    <a:pt x="0" y="2901"/>
                  </a:lnTo>
                  <a:cubicBezTo>
                    <a:pt x="50" y="2974"/>
                    <a:pt x="108" y="3041"/>
                    <a:pt x="149" y="3118"/>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139;p23"/>
            <p:cNvSpPr/>
            <p:nvPr/>
          </p:nvSpPr>
          <p:spPr>
            <a:xfrm>
              <a:off x="4888675" y="1974500"/>
              <a:ext cx="141150" cy="81850"/>
            </a:xfrm>
            <a:custGeom>
              <a:avLst/>
              <a:gdLst/>
              <a:ahLst/>
              <a:cxnLst/>
              <a:rect l="l" t="t" r="r" b="b"/>
              <a:pathLst>
                <a:path w="5646" h="3274" extrusionOk="0">
                  <a:moveTo>
                    <a:pt x="214" y="3273"/>
                  </a:moveTo>
                  <a:lnTo>
                    <a:pt x="5645" y="242"/>
                  </a:lnTo>
                  <a:lnTo>
                    <a:pt x="5340" y="0"/>
                  </a:lnTo>
                  <a:lnTo>
                    <a:pt x="1" y="3094"/>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140;p23"/>
            <p:cNvSpPr/>
            <p:nvPr/>
          </p:nvSpPr>
          <p:spPr>
            <a:xfrm>
              <a:off x="4870800" y="1960275"/>
              <a:ext cx="135500" cy="84475"/>
            </a:xfrm>
            <a:custGeom>
              <a:avLst/>
              <a:gdLst/>
              <a:ahLst/>
              <a:cxnLst/>
              <a:rect l="l" t="t" r="r" b="b"/>
              <a:pathLst>
                <a:path w="5420" h="3379" extrusionOk="0">
                  <a:moveTo>
                    <a:pt x="271" y="3379"/>
                  </a:moveTo>
                  <a:lnTo>
                    <a:pt x="5420" y="188"/>
                  </a:lnTo>
                  <a:lnTo>
                    <a:pt x="5031" y="0"/>
                  </a:lnTo>
                  <a:lnTo>
                    <a:pt x="1" y="3235"/>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141;p23"/>
            <p:cNvSpPr/>
            <p:nvPr/>
          </p:nvSpPr>
          <p:spPr>
            <a:xfrm>
              <a:off x="4847875" y="1950675"/>
              <a:ext cx="128550" cy="85525"/>
            </a:xfrm>
            <a:custGeom>
              <a:avLst/>
              <a:gdLst/>
              <a:ahLst/>
              <a:cxnLst/>
              <a:rect l="l" t="t" r="r" b="b"/>
              <a:pathLst>
                <a:path w="5142" h="3421" extrusionOk="0">
                  <a:moveTo>
                    <a:pt x="345" y="3420"/>
                  </a:moveTo>
                  <a:lnTo>
                    <a:pt x="5142" y="119"/>
                  </a:lnTo>
                  <a:cubicBezTo>
                    <a:pt x="4982" y="67"/>
                    <a:pt x="4819" y="27"/>
                    <a:pt x="4654" y="0"/>
                  </a:cubicBezTo>
                  <a:lnTo>
                    <a:pt x="1" y="3331"/>
                  </a:lnTo>
                  <a:cubicBezTo>
                    <a:pt x="118" y="3350"/>
                    <a:pt x="233" y="3379"/>
                    <a:pt x="345" y="3420"/>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142;p23"/>
            <p:cNvSpPr/>
            <p:nvPr/>
          </p:nvSpPr>
          <p:spPr>
            <a:xfrm>
              <a:off x="4820675" y="1945525"/>
              <a:ext cx="119925" cy="85250"/>
            </a:xfrm>
            <a:custGeom>
              <a:avLst/>
              <a:gdLst/>
              <a:ahLst/>
              <a:cxnLst/>
              <a:rect l="l" t="t" r="r" b="b"/>
              <a:pathLst>
                <a:path w="4797" h="3410" extrusionOk="0">
                  <a:moveTo>
                    <a:pt x="418" y="3410"/>
                  </a:moveTo>
                  <a:lnTo>
                    <a:pt x="4796" y="46"/>
                  </a:lnTo>
                  <a:lnTo>
                    <a:pt x="4216" y="1"/>
                  </a:lnTo>
                  <a:lnTo>
                    <a:pt x="1" y="337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143;p23"/>
            <p:cNvSpPr/>
            <p:nvPr/>
          </p:nvSpPr>
          <p:spPr>
            <a:xfrm>
              <a:off x="4789725" y="1944525"/>
              <a:ext cx="109225" cy="84625"/>
            </a:xfrm>
            <a:custGeom>
              <a:avLst/>
              <a:gdLst/>
              <a:ahLst/>
              <a:cxnLst/>
              <a:rect l="l" t="t" r="r" b="b"/>
              <a:pathLst>
                <a:path w="4369" h="3385" extrusionOk="0">
                  <a:moveTo>
                    <a:pt x="462" y="3378"/>
                  </a:moveTo>
                  <a:lnTo>
                    <a:pt x="4369" y="1"/>
                  </a:lnTo>
                  <a:lnTo>
                    <a:pt x="3727" y="13"/>
                  </a:lnTo>
                  <a:lnTo>
                    <a:pt x="0" y="3384"/>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144;p23"/>
            <p:cNvSpPr/>
            <p:nvPr/>
          </p:nvSpPr>
          <p:spPr>
            <a:xfrm>
              <a:off x="4755550" y="1946800"/>
              <a:ext cx="97300" cy="84675"/>
            </a:xfrm>
            <a:custGeom>
              <a:avLst/>
              <a:gdLst/>
              <a:ahLst/>
              <a:cxnLst/>
              <a:rect l="l" t="t" r="r" b="b"/>
              <a:pathLst>
                <a:path w="3892" h="3387" extrusionOk="0">
                  <a:moveTo>
                    <a:pt x="500" y="3343"/>
                  </a:moveTo>
                  <a:lnTo>
                    <a:pt x="3892" y="0"/>
                  </a:lnTo>
                  <a:lnTo>
                    <a:pt x="3200" y="69"/>
                  </a:lnTo>
                  <a:lnTo>
                    <a:pt x="1" y="338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2" name="Google Shape;145;p23"/>
            <p:cNvSpPr/>
            <p:nvPr/>
          </p:nvSpPr>
          <p:spPr>
            <a:xfrm>
              <a:off x="4718500" y="1953275"/>
              <a:ext cx="84500" cy="83750"/>
            </a:xfrm>
            <a:custGeom>
              <a:avLst/>
              <a:gdLst/>
              <a:ahLst/>
              <a:cxnLst/>
              <a:rect l="l" t="t" r="r" b="b"/>
              <a:pathLst>
                <a:path w="3380" h="3350" extrusionOk="0">
                  <a:moveTo>
                    <a:pt x="537" y="3262"/>
                  </a:moveTo>
                  <a:lnTo>
                    <a:pt x="3379" y="0"/>
                  </a:lnTo>
                  <a:cubicBezTo>
                    <a:pt x="3133" y="41"/>
                    <a:pt x="2893" y="77"/>
                    <a:pt x="2639" y="127"/>
                  </a:cubicBezTo>
                  <a:lnTo>
                    <a:pt x="1" y="3349"/>
                  </a:lnTo>
                  <a:cubicBezTo>
                    <a:pt x="185" y="3313"/>
                    <a:pt x="358" y="3291"/>
                    <a:pt x="537" y="3262"/>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3" name="Google Shape;146;p23"/>
            <p:cNvSpPr/>
            <p:nvPr/>
          </p:nvSpPr>
          <p:spPr>
            <a:xfrm>
              <a:off x="4678950" y="1963850"/>
              <a:ext cx="70775" cy="81950"/>
            </a:xfrm>
            <a:custGeom>
              <a:avLst/>
              <a:gdLst/>
              <a:ahLst/>
              <a:cxnLst/>
              <a:rect l="l" t="t" r="r" b="b"/>
              <a:pathLst>
                <a:path w="2831" h="3278" extrusionOk="0">
                  <a:moveTo>
                    <a:pt x="574" y="3138"/>
                  </a:moveTo>
                  <a:lnTo>
                    <a:pt x="2831" y="1"/>
                  </a:lnTo>
                  <a:cubicBezTo>
                    <a:pt x="2575" y="54"/>
                    <a:pt x="2306" y="125"/>
                    <a:pt x="2039" y="195"/>
                  </a:cubicBezTo>
                  <a:lnTo>
                    <a:pt x="0" y="3278"/>
                  </a:lnTo>
                  <a:cubicBezTo>
                    <a:pt x="194" y="3226"/>
                    <a:pt x="390" y="3175"/>
                    <a:pt x="574" y="3138"/>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147;p23"/>
            <p:cNvSpPr/>
            <p:nvPr/>
          </p:nvSpPr>
          <p:spPr>
            <a:xfrm>
              <a:off x="4637575" y="1978575"/>
              <a:ext cx="56050" cy="78900"/>
            </a:xfrm>
            <a:custGeom>
              <a:avLst/>
              <a:gdLst/>
              <a:ahLst/>
              <a:cxnLst/>
              <a:rect l="l" t="t" r="r" b="b"/>
              <a:pathLst>
                <a:path w="2242" h="3156" extrusionOk="0">
                  <a:moveTo>
                    <a:pt x="2242" y="0"/>
                  </a:moveTo>
                  <a:lnTo>
                    <a:pt x="1416" y="255"/>
                  </a:lnTo>
                  <a:lnTo>
                    <a:pt x="1" y="3155"/>
                  </a:lnTo>
                  <a:lnTo>
                    <a:pt x="601" y="297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148;p23"/>
            <p:cNvSpPr/>
            <p:nvPr/>
          </p:nvSpPr>
          <p:spPr>
            <a:xfrm>
              <a:off x="4595075" y="1997325"/>
              <a:ext cx="40475" cy="74500"/>
            </a:xfrm>
            <a:custGeom>
              <a:avLst/>
              <a:gdLst/>
              <a:ahLst/>
              <a:cxnLst/>
              <a:rect l="l" t="t" r="r" b="b"/>
              <a:pathLst>
                <a:path w="1619" h="2980" extrusionOk="0">
                  <a:moveTo>
                    <a:pt x="1619" y="0"/>
                  </a:moveTo>
                  <a:lnTo>
                    <a:pt x="778" y="301"/>
                  </a:lnTo>
                  <a:lnTo>
                    <a:pt x="0" y="2979"/>
                  </a:lnTo>
                  <a:lnTo>
                    <a:pt x="612" y="276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149;p23"/>
            <p:cNvSpPr/>
            <p:nvPr/>
          </p:nvSpPr>
          <p:spPr>
            <a:xfrm>
              <a:off x="4551875" y="2019500"/>
              <a:ext cx="24650" cy="69200"/>
            </a:xfrm>
            <a:custGeom>
              <a:avLst/>
              <a:gdLst/>
              <a:ahLst/>
              <a:cxnLst/>
              <a:rect l="l" t="t" r="r" b="b"/>
              <a:pathLst>
                <a:path w="986" h="2768" extrusionOk="0">
                  <a:moveTo>
                    <a:pt x="986" y="1"/>
                  </a:moveTo>
                  <a:lnTo>
                    <a:pt x="140" y="343"/>
                  </a:lnTo>
                  <a:lnTo>
                    <a:pt x="1" y="2767"/>
                  </a:lnTo>
                  <a:lnTo>
                    <a:pt x="619" y="251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150;p23"/>
            <p:cNvSpPr/>
            <p:nvPr/>
          </p:nvSpPr>
          <p:spPr>
            <a:xfrm>
              <a:off x="4496225" y="2044775"/>
              <a:ext cx="27875" cy="63275"/>
            </a:xfrm>
            <a:custGeom>
              <a:avLst/>
              <a:gdLst/>
              <a:ahLst/>
              <a:cxnLst/>
              <a:rect l="l" t="t" r="r" b="b"/>
              <a:pathLst>
                <a:path w="1115" h="2531" extrusionOk="0">
                  <a:moveTo>
                    <a:pt x="1115" y="2245"/>
                  </a:moveTo>
                  <a:lnTo>
                    <a:pt x="843" y="1"/>
                  </a:lnTo>
                  <a:cubicBezTo>
                    <a:pt x="561" y="124"/>
                    <a:pt x="282" y="259"/>
                    <a:pt x="1" y="393"/>
                  </a:cubicBezTo>
                  <a:lnTo>
                    <a:pt x="500" y="2530"/>
                  </a:lnTo>
                  <a:cubicBezTo>
                    <a:pt x="704" y="2433"/>
                    <a:pt x="909" y="2332"/>
                    <a:pt x="1115" y="2245"/>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151;p23"/>
            <p:cNvSpPr/>
            <p:nvPr/>
          </p:nvSpPr>
          <p:spPr>
            <a:xfrm>
              <a:off x="4437875" y="2072975"/>
              <a:ext cx="43300" cy="56425"/>
            </a:xfrm>
            <a:custGeom>
              <a:avLst/>
              <a:gdLst/>
              <a:ahLst/>
              <a:cxnLst/>
              <a:rect l="l" t="t" r="r" b="b"/>
              <a:pathLst>
                <a:path w="1732" h="2257" extrusionOk="0">
                  <a:moveTo>
                    <a:pt x="1731" y="1940"/>
                  </a:moveTo>
                  <a:lnTo>
                    <a:pt x="829" y="1"/>
                  </a:lnTo>
                  <a:lnTo>
                    <a:pt x="0" y="431"/>
                  </a:lnTo>
                  <a:lnTo>
                    <a:pt x="1127" y="225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152;p23"/>
            <p:cNvSpPr/>
            <p:nvPr/>
          </p:nvSpPr>
          <p:spPr>
            <a:xfrm>
              <a:off x="4380875" y="2103775"/>
              <a:ext cx="58275" cy="48650"/>
            </a:xfrm>
            <a:custGeom>
              <a:avLst/>
              <a:gdLst/>
              <a:ahLst/>
              <a:cxnLst/>
              <a:rect l="l" t="t" r="r" b="b"/>
              <a:pathLst>
                <a:path w="2331" h="1946" extrusionOk="0">
                  <a:moveTo>
                    <a:pt x="2331" y="1610"/>
                  </a:moveTo>
                  <a:lnTo>
                    <a:pt x="808" y="1"/>
                  </a:lnTo>
                  <a:lnTo>
                    <a:pt x="0" y="460"/>
                  </a:lnTo>
                  <a:lnTo>
                    <a:pt x="1741" y="194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153;p23"/>
            <p:cNvSpPr/>
            <p:nvPr/>
          </p:nvSpPr>
          <p:spPr>
            <a:xfrm>
              <a:off x="4325925" y="2136700"/>
              <a:ext cx="72575" cy="40275"/>
            </a:xfrm>
            <a:custGeom>
              <a:avLst/>
              <a:gdLst/>
              <a:ahLst/>
              <a:cxnLst/>
              <a:rect l="l" t="t" r="r" b="b"/>
              <a:pathLst>
                <a:path w="2903" h="1611" extrusionOk="0">
                  <a:moveTo>
                    <a:pt x="2903" y="1255"/>
                  </a:moveTo>
                  <a:lnTo>
                    <a:pt x="777" y="0"/>
                  </a:lnTo>
                  <a:cubicBezTo>
                    <a:pt x="518" y="162"/>
                    <a:pt x="252" y="320"/>
                    <a:pt x="1" y="488"/>
                  </a:cubicBezTo>
                  <a:lnTo>
                    <a:pt x="2336" y="1610"/>
                  </a:lnTo>
                  <a:cubicBezTo>
                    <a:pt x="2517" y="1488"/>
                    <a:pt x="2714" y="1373"/>
                    <a:pt x="2903" y="1255"/>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154;p23"/>
            <p:cNvSpPr/>
            <p:nvPr/>
          </p:nvSpPr>
          <p:spPr>
            <a:xfrm>
              <a:off x="4273900" y="2171375"/>
              <a:ext cx="85825" cy="31375"/>
            </a:xfrm>
            <a:custGeom>
              <a:avLst/>
              <a:gdLst/>
              <a:ahLst/>
              <a:cxnLst/>
              <a:rect l="l" t="t" r="r" b="b"/>
              <a:pathLst>
                <a:path w="3433" h="1255" extrusionOk="0">
                  <a:moveTo>
                    <a:pt x="3433" y="881"/>
                  </a:moveTo>
                  <a:lnTo>
                    <a:pt x="726" y="1"/>
                  </a:lnTo>
                  <a:cubicBezTo>
                    <a:pt x="475" y="168"/>
                    <a:pt x="243" y="342"/>
                    <a:pt x="1" y="513"/>
                  </a:cubicBezTo>
                  <a:lnTo>
                    <a:pt x="2906" y="1254"/>
                  </a:lnTo>
                  <a:cubicBezTo>
                    <a:pt x="3082" y="1130"/>
                    <a:pt x="3248" y="1002"/>
                    <a:pt x="3433" y="881"/>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155;p23"/>
            <p:cNvSpPr/>
            <p:nvPr/>
          </p:nvSpPr>
          <p:spPr>
            <a:xfrm>
              <a:off x="4225375" y="2207500"/>
              <a:ext cx="98150" cy="21800"/>
            </a:xfrm>
            <a:custGeom>
              <a:avLst/>
              <a:gdLst/>
              <a:ahLst/>
              <a:cxnLst/>
              <a:rect l="l" t="t" r="r" b="b"/>
              <a:pathLst>
                <a:path w="3926" h="872" extrusionOk="0">
                  <a:moveTo>
                    <a:pt x="3926" y="489"/>
                  </a:moveTo>
                  <a:lnTo>
                    <a:pt x="672" y="1"/>
                  </a:lnTo>
                  <a:lnTo>
                    <a:pt x="1" y="526"/>
                  </a:lnTo>
                  <a:lnTo>
                    <a:pt x="3441" y="87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156;p23"/>
            <p:cNvSpPr/>
            <p:nvPr/>
          </p:nvSpPr>
          <p:spPr>
            <a:xfrm>
              <a:off x="4181100" y="2244450"/>
              <a:ext cx="109400" cy="13325"/>
            </a:xfrm>
            <a:custGeom>
              <a:avLst/>
              <a:gdLst/>
              <a:ahLst/>
              <a:cxnLst/>
              <a:rect l="l" t="t" r="r" b="b"/>
              <a:pathLst>
                <a:path w="4376" h="533" extrusionOk="0">
                  <a:moveTo>
                    <a:pt x="4375" y="87"/>
                  </a:moveTo>
                  <a:lnTo>
                    <a:pt x="613" y="0"/>
                  </a:lnTo>
                  <a:lnTo>
                    <a:pt x="1" y="532"/>
                  </a:lnTo>
                  <a:lnTo>
                    <a:pt x="3931" y="474"/>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157;p23"/>
            <p:cNvSpPr/>
            <p:nvPr/>
          </p:nvSpPr>
          <p:spPr>
            <a:xfrm>
              <a:off x="3874800" y="2335025"/>
              <a:ext cx="96450" cy="19875"/>
            </a:xfrm>
            <a:custGeom>
              <a:avLst/>
              <a:gdLst/>
              <a:ahLst/>
              <a:cxnLst/>
              <a:rect l="l" t="t" r="r" b="b"/>
              <a:pathLst>
                <a:path w="3858" h="795" extrusionOk="0">
                  <a:moveTo>
                    <a:pt x="3858" y="1"/>
                  </a:moveTo>
                  <a:lnTo>
                    <a:pt x="264" y="518"/>
                  </a:lnTo>
                  <a:lnTo>
                    <a:pt x="0" y="795"/>
                  </a:lnTo>
                  <a:lnTo>
                    <a:pt x="3631" y="24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158;p23"/>
            <p:cNvSpPr/>
            <p:nvPr/>
          </p:nvSpPr>
          <p:spPr>
            <a:xfrm>
              <a:off x="3849275" y="2359725"/>
              <a:ext cx="99425" cy="23675"/>
            </a:xfrm>
            <a:custGeom>
              <a:avLst/>
              <a:gdLst/>
              <a:ahLst/>
              <a:cxnLst/>
              <a:rect l="l" t="t" r="r" b="b"/>
              <a:pathLst>
                <a:path w="3977" h="947" extrusionOk="0">
                  <a:moveTo>
                    <a:pt x="1" y="946"/>
                  </a:moveTo>
                  <a:lnTo>
                    <a:pt x="3781" y="235"/>
                  </a:lnTo>
                  <a:lnTo>
                    <a:pt x="3976" y="1"/>
                  </a:lnTo>
                  <a:lnTo>
                    <a:pt x="231" y="674"/>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159;p23"/>
            <p:cNvSpPr/>
            <p:nvPr/>
          </p:nvSpPr>
          <p:spPr>
            <a:xfrm>
              <a:off x="3825500" y="2384125"/>
              <a:ext cx="102950" cy="27675"/>
            </a:xfrm>
            <a:custGeom>
              <a:avLst/>
              <a:gdLst/>
              <a:ahLst/>
              <a:cxnLst/>
              <a:rect l="l" t="t" r="r" b="b"/>
              <a:pathLst>
                <a:path w="4118" h="1107" extrusionOk="0">
                  <a:moveTo>
                    <a:pt x="1" y="1107"/>
                  </a:moveTo>
                  <a:lnTo>
                    <a:pt x="3921" y="238"/>
                  </a:lnTo>
                  <a:lnTo>
                    <a:pt x="4117" y="1"/>
                  </a:lnTo>
                  <a:lnTo>
                    <a:pt x="230" y="83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160;p23"/>
            <p:cNvSpPr/>
            <p:nvPr/>
          </p:nvSpPr>
          <p:spPr>
            <a:xfrm>
              <a:off x="3804850" y="2408225"/>
              <a:ext cx="105350" cy="31425"/>
            </a:xfrm>
            <a:custGeom>
              <a:avLst/>
              <a:gdLst/>
              <a:ahLst/>
              <a:cxnLst/>
              <a:rect l="l" t="t" r="r" b="b"/>
              <a:pathLst>
                <a:path w="4214" h="1257" extrusionOk="0">
                  <a:moveTo>
                    <a:pt x="0" y="1257"/>
                  </a:moveTo>
                  <a:lnTo>
                    <a:pt x="4050" y="231"/>
                  </a:lnTo>
                  <a:lnTo>
                    <a:pt x="4213" y="0"/>
                  </a:lnTo>
                  <a:lnTo>
                    <a:pt x="193" y="98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161;p23"/>
            <p:cNvSpPr/>
            <p:nvPr/>
          </p:nvSpPr>
          <p:spPr>
            <a:xfrm>
              <a:off x="3785550" y="2432150"/>
              <a:ext cx="107725" cy="35225"/>
            </a:xfrm>
            <a:custGeom>
              <a:avLst/>
              <a:gdLst/>
              <a:ahLst/>
              <a:cxnLst/>
              <a:rect l="l" t="t" r="r" b="b"/>
              <a:pathLst>
                <a:path w="4309" h="1409" extrusionOk="0">
                  <a:moveTo>
                    <a:pt x="0" y="1409"/>
                  </a:moveTo>
                  <a:lnTo>
                    <a:pt x="4169" y="226"/>
                  </a:lnTo>
                  <a:cubicBezTo>
                    <a:pt x="4214" y="151"/>
                    <a:pt x="4248" y="80"/>
                    <a:pt x="4308" y="1"/>
                  </a:cubicBezTo>
                  <a:lnTo>
                    <a:pt x="168" y="1146"/>
                  </a:lnTo>
                  <a:cubicBezTo>
                    <a:pt x="98" y="1237"/>
                    <a:pt x="54" y="1321"/>
                    <a:pt x="0" y="1409"/>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162;p23"/>
            <p:cNvSpPr/>
            <p:nvPr/>
          </p:nvSpPr>
          <p:spPr>
            <a:xfrm>
              <a:off x="3769575" y="2455300"/>
              <a:ext cx="110100" cy="39025"/>
            </a:xfrm>
            <a:custGeom>
              <a:avLst/>
              <a:gdLst/>
              <a:ahLst/>
              <a:cxnLst/>
              <a:rect l="l" t="t" r="r" b="b"/>
              <a:pathLst>
                <a:path w="4404" h="1561" extrusionOk="0">
                  <a:moveTo>
                    <a:pt x="0" y="1561"/>
                  </a:moveTo>
                  <a:lnTo>
                    <a:pt x="4276" y="224"/>
                  </a:lnTo>
                  <a:lnTo>
                    <a:pt x="4404" y="0"/>
                  </a:lnTo>
                  <a:lnTo>
                    <a:pt x="154" y="130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163;p23"/>
            <p:cNvSpPr/>
            <p:nvPr/>
          </p:nvSpPr>
          <p:spPr>
            <a:xfrm>
              <a:off x="3755800" y="2478175"/>
              <a:ext cx="111550" cy="42600"/>
            </a:xfrm>
            <a:custGeom>
              <a:avLst/>
              <a:gdLst/>
              <a:ahLst/>
              <a:cxnLst/>
              <a:rect l="l" t="t" r="r" b="b"/>
              <a:pathLst>
                <a:path w="4462" h="1704" extrusionOk="0">
                  <a:moveTo>
                    <a:pt x="4461" y="0"/>
                  </a:moveTo>
                  <a:lnTo>
                    <a:pt x="115" y="1454"/>
                  </a:lnTo>
                  <a:lnTo>
                    <a:pt x="0" y="1703"/>
                  </a:lnTo>
                  <a:lnTo>
                    <a:pt x="4368" y="21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164;p23"/>
            <p:cNvSpPr/>
            <p:nvPr/>
          </p:nvSpPr>
          <p:spPr>
            <a:xfrm>
              <a:off x="3744125" y="2500325"/>
              <a:ext cx="113550" cy="46375"/>
            </a:xfrm>
            <a:custGeom>
              <a:avLst/>
              <a:gdLst/>
              <a:ahLst/>
              <a:cxnLst/>
              <a:rect l="l" t="t" r="r" b="b"/>
              <a:pathLst>
                <a:path w="4542" h="1855" extrusionOk="0">
                  <a:moveTo>
                    <a:pt x="1" y="1854"/>
                  </a:moveTo>
                  <a:lnTo>
                    <a:pt x="4447" y="215"/>
                  </a:lnTo>
                  <a:lnTo>
                    <a:pt x="4542" y="0"/>
                  </a:lnTo>
                  <a:lnTo>
                    <a:pt x="112" y="1604"/>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165;p23"/>
            <p:cNvSpPr/>
            <p:nvPr/>
          </p:nvSpPr>
          <p:spPr>
            <a:xfrm>
              <a:off x="3736200" y="2521700"/>
              <a:ext cx="114250" cy="49725"/>
            </a:xfrm>
            <a:custGeom>
              <a:avLst/>
              <a:gdLst/>
              <a:ahLst/>
              <a:cxnLst/>
              <a:rect l="l" t="t" r="r" b="b"/>
              <a:pathLst>
                <a:path w="4570" h="1989" extrusionOk="0">
                  <a:moveTo>
                    <a:pt x="1" y="1988"/>
                  </a:moveTo>
                  <a:lnTo>
                    <a:pt x="4512" y="202"/>
                  </a:lnTo>
                  <a:lnTo>
                    <a:pt x="4569" y="0"/>
                  </a:lnTo>
                  <a:lnTo>
                    <a:pt x="71" y="175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166;p23"/>
            <p:cNvSpPr/>
            <p:nvPr/>
          </p:nvSpPr>
          <p:spPr>
            <a:xfrm>
              <a:off x="3730050" y="2542700"/>
              <a:ext cx="114550" cy="52925"/>
            </a:xfrm>
            <a:custGeom>
              <a:avLst/>
              <a:gdLst/>
              <a:ahLst/>
              <a:cxnLst/>
              <a:rect l="l" t="t" r="r" b="b"/>
              <a:pathLst>
                <a:path w="4582" h="2117" extrusionOk="0">
                  <a:moveTo>
                    <a:pt x="0" y="2116"/>
                  </a:moveTo>
                  <a:lnTo>
                    <a:pt x="4562" y="188"/>
                  </a:lnTo>
                  <a:lnTo>
                    <a:pt x="4581" y="0"/>
                  </a:lnTo>
                  <a:lnTo>
                    <a:pt x="30" y="1894"/>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167;p23"/>
            <p:cNvSpPr/>
            <p:nvPr/>
          </p:nvSpPr>
          <p:spPr>
            <a:xfrm>
              <a:off x="3727175" y="2562225"/>
              <a:ext cx="115450" cy="56425"/>
            </a:xfrm>
            <a:custGeom>
              <a:avLst/>
              <a:gdLst/>
              <a:ahLst/>
              <a:cxnLst/>
              <a:rect l="l" t="t" r="r" b="b"/>
              <a:pathLst>
                <a:path w="4618" h="2257" extrusionOk="0">
                  <a:moveTo>
                    <a:pt x="1" y="2257"/>
                  </a:moveTo>
                  <a:lnTo>
                    <a:pt x="4598" y="191"/>
                  </a:lnTo>
                  <a:lnTo>
                    <a:pt x="4617" y="1"/>
                  </a:lnTo>
                  <a:lnTo>
                    <a:pt x="27" y="203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168;p23"/>
            <p:cNvSpPr/>
            <p:nvPr/>
          </p:nvSpPr>
          <p:spPr>
            <a:xfrm>
              <a:off x="3726825" y="2581250"/>
              <a:ext cx="115850" cy="59300"/>
            </a:xfrm>
            <a:custGeom>
              <a:avLst/>
              <a:gdLst/>
              <a:ahLst/>
              <a:cxnLst/>
              <a:rect l="l" t="t" r="r" b="b"/>
              <a:pathLst>
                <a:path w="4634" h="2372" extrusionOk="0">
                  <a:moveTo>
                    <a:pt x="17" y="2372"/>
                  </a:moveTo>
                  <a:lnTo>
                    <a:pt x="4633" y="174"/>
                  </a:lnTo>
                  <a:lnTo>
                    <a:pt x="4614" y="0"/>
                  </a:lnTo>
                  <a:lnTo>
                    <a:pt x="1" y="216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169;p23"/>
            <p:cNvSpPr/>
            <p:nvPr/>
          </p:nvSpPr>
          <p:spPr>
            <a:xfrm>
              <a:off x="3728600" y="2599300"/>
              <a:ext cx="116125" cy="62475"/>
            </a:xfrm>
            <a:custGeom>
              <a:avLst/>
              <a:gdLst/>
              <a:ahLst/>
              <a:cxnLst/>
              <a:rect l="l" t="t" r="r" b="b"/>
              <a:pathLst>
                <a:path w="4645" h="2499" extrusionOk="0">
                  <a:moveTo>
                    <a:pt x="4645" y="173"/>
                  </a:moveTo>
                  <a:cubicBezTo>
                    <a:pt x="4629" y="120"/>
                    <a:pt x="4630" y="57"/>
                    <a:pt x="4621" y="1"/>
                  </a:cubicBezTo>
                  <a:lnTo>
                    <a:pt x="0" y="2295"/>
                  </a:lnTo>
                  <a:cubicBezTo>
                    <a:pt x="9" y="2363"/>
                    <a:pt x="8" y="2434"/>
                    <a:pt x="24" y="2498"/>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170;p23"/>
            <p:cNvSpPr/>
            <p:nvPr/>
          </p:nvSpPr>
          <p:spPr>
            <a:xfrm>
              <a:off x="3733925" y="2615925"/>
              <a:ext cx="116750" cy="65100"/>
            </a:xfrm>
            <a:custGeom>
              <a:avLst/>
              <a:gdLst/>
              <a:ahLst/>
              <a:cxnLst/>
              <a:rect l="l" t="t" r="r" b="b"/>
              <a:pathLst>
                <a:path w="4670" h="2604" extrusionOk="0">
                  <a:moveTo>
                    <a:pt x="4669" y="158"/>
                  </a:moveTo>
                  <a:lnTo>
                    <a:pt x="4613" y="0"/>
                  </a:lnTo>
                  <a:lnTo>
                    <a:pt x="0" y="2418"/>
                  </a:lnTo>
                  <a:lnTo>
                    <a:pt x="62" y="260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171;p23"/>
            <p:cNvSpPr/>
            <p:nvPr/>
          </p:nvSpPr>
          <p:spPr>
            <a:xfrm>
              <a:off x="3741175" y="2631900"/>
              <a:ext cx="117125" cy="67475"/>
            </a:xfrm>
            <a:custGeom>
              <a:avLst/>
              <a:gdLst/>
              <a:ahLst/>
              <a:cxnLst/>
              <a:rect l="l" t="t" r="r" b="b"/>
              <a:pathLst>
                <a:path w="4685" h="2699" extrusionOk="0">
                  <a:moveTo>
                    <a:pt x="4685" y="138"/>
                  </a:moveTo>
                  <a:lnTo>
                    <a:pt x="4588" y="0"/>
                  </a:lnTo>
                  <a:lnTo>
                    <a:pt x="1" y="2534"/>
                  </a:lnTo>
                  <a:lnTo>
                    <a:pt x="106" y="269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172;p23"/>
            <p:cNvSpPr/>
            <p:nvPr/>
          </p:nvSpPr>
          <p:spPr>
            <a:xfrm>
              <a:off x="3752250" y="2646225"/>
              <a:ext cx="116075" cy="70175"/>
            </a:xfrm>
            <a:custGeom>
              <a:avLst/>
              <a:gdLst/>
              <a:ahLst/>
              <a:cxnLst/>
              <a:rect l="l" t="t" r="r" b="b"/>
              <a:pathLst>
                <a:path w="4643" h="2807" extrusionOk="0">
                  <a:moveTo>
                    <a:pt x="0" y="2642"/>
                  </a:moveTo>
                  <a:lnTo>
                    <a:pt x="110" y="2807"/>
                  </a:lnTo>
                  <a:lnTo>
                    <a:pt x="4642" y="139"/>
                  </a:lnTo>
                  <a:lnTo>
                    <a:pt x="4545"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173;p23"/>
            <p:cNvSpPr/>
            <p:nvPr/>
          </p:nvSpPr>
          <p:spPr>
            <a:xfrm>
              <a:off x="3765975" y="2659350"/>
              <a:ext cx="115525" cy="72125"/>
            </a:xfrm>
            <a:custGeom>
              <a:avLst/>
              <a:gdLst/>
              <a:ahLst/>
              <a:cxnLst/>
              <a:rect l="l" t="t" r="r" b="b"/>
              <a:pathLst>
                <a:path w="4621" h="2885" extrusionOk="0">
                  <a:moveTo>
                    <a:pt x="154" y="2885"/>
                  </a:moveTo>
                  <a:lnTo>
                    <a:pt x="4621" y="119"/>
                  </a:lnTo>
                  <a:lnTo>
                    <a:pt x="4486" y="1"/>
                  </a:lnTo>
                  <a:lnTo>
                    <a:pt x="1" y="2745"/>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174;p23"/>
            <p:cNvSpPr/>
            <p:nvPr/>
          </p:nvSpPr>
          <p:spPr>
            <a:xfrm>
              <a:off x="3782000" y="2671575"/>
              <a:ext cx="114250" cy="74025"/>
            </a:xfrm>
            <a:custGeom>
              <a:avLst/>
              <a:gdLst/>
              <a:ahLst/>
              <a:cxnLst/>
              <a:rect l="l" t="t" r="r" b="b"/>
              <a:pathLst>
                <a:path w="4570" h="2961" extrusionOk="0">
                  <a:moveTo>
                    <a:pt x="184" y="2960"/>
                  </a:moveTo>
                  <a:lnTo>
                    <a:pt x="4569" y="102"/>
                  </a:lnTo>
                  <a:cubicBezTo>
                    <a:pt x="4515" y="69"/>
                    <a:pt x="4446" y="44"/>
                    <a:pt x="4406" y="0"/>
                  </a:cubicBezTo>
                  <a:lnTo>
                    <a:pt x="0" y="2838"/>
                  </a:lnTo>
                  <a:cubicBezTo>
                    <a:pt x="46" y="2889"/>
                    <a:pt x="122" y="2920"/>
                    <a:pt x="184" y="2960"/>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175;p23"/>
            <p:cNvSpPr/>
            <p:nvPr/>
          </p:nvSpPr>
          <p:spPr>
            <a:xfrm>
              <a:off x="3802175" y="2681575"/>
              <a:ext cx="112125" cy="75950"/>
            </a:xfrm>
            <a:custGeom>
              <a:avLst/>
              <a:gdLst/>
              <a:ahLst/>
              <a:cxnLst/>
              <a:rect l="l" t="t" r="r" b="b"/>
              <a:pathLst>
                <a:path w="4485" h="3038" extrusionOk="0">
                  <a:moveTo>
                    <a:pt x="201" y="3037"/>
                  </a:moveTo>
                  <a:lnTo>
                    <a:pt x="4485" y="96"/>
                  </a:lnTo>
                  <a:lnTo>
                    <a:pt x="4310" y="0"/>
                  </a:lnTo>
                  <a:lnTo>
                    <a:pt x="1" y="292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176;p23"/>
            <p:cNvSpPr/>
            <p:nvPr/>
          </p:nvSpPr>
          <p:spPr>
            <a:xfrm>
              <a:off x="3824300" y="2690700"/>
              <a:ext cx="110200" cy="77150"/>
            </a:xfrm>
            <a:custGeom>
              <a:avLst/>
              <a:gdLst/>
              <a:ahLst/>
              <a:cxnLst/>
              <a:rect l="l" t="t" r="r" b="b"/>
              <a:pathLst>
                <a:path w="4408" h="3086" extrusionOk="0">
                  <a:moveTo>
                    <a:pt x="243" y="3085"/>
                  </a:moveTo>
                  <a:lnTo>
                    <a:pt x="4407" y="72"/>
                  </a:lnTo>
                  <a:lnTo>
                    <a:pt x="4196" y="1"/>
                  </a:lnTo>
                  <a:lnTo>
                    <a:pt x="0" y="299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177;p23"/>
            <p:cNvSpPr/>
            <p:nvPr/>
          </p:nvSpPr>
          <p:spPr>
            <a:xfrm>
              <a:off x="5168425" y="2138975"/>
              <a:ext cx="115800" cy="23325"/>
            </a:xfrm>
            <a:custGeom>
              <a:avLst/>
              <a:gdLst/>
              <a:ahLst/>
              <a:cxnLst/>
              <a:rect l="l" t="t" r="r" b="b"/>
              <a:pathLst>
                <a:path w="4632" h="933" extrusionOk="0">
                  <a:moveTo>
                    <a:pt x="4631" y="1"/>
                  </a:moveTo>
                  <a:lnTo>
                    <a:pt x="212" y="676"/>
                  </a:lnTo>
                  <a:lnTo>
                    <a:pt x="1" y="933"/>
                  </a:lnTo>
                  <a:lnTo>
                    <a:pt x="4389" y="30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 name="Google Shape;178;p23"/>
            <p:cNvSpPr/>
            <p:nvPr/>
          </p:nvSpPr>
          <p:spPr>
            <a:xfrm>
              <a:off x="5189125" y="2108350"/>
              <a:ext cx="117750" cy="27600"/>
            </a:xfrm>
            <a:custGeom>
              <a:avLst/>
              <a:gdLst/>
              <a:ahLst/>
              <a:cxnLst/>
              <a:rect l="l" t="t" r="r" b="b"/>
              <a:pathLst>
                <a:path w="4710" h="1104" extrusionOk="0">
                  <a:moveTo>
                    <a:pt x="4710" y="1"/>
                  </a:moveTo>
                  <a:lnTo>
                    <a:pt x="171" y="855"/>
                  </a:lnTo>
                  <a:lnTo>
                    <a:pt x="0" y="1104"/>
                  </a:lnTo>
                  <a:lnTo>
                    <a:pt x="4512" y="29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 name="Google Shape;179;p23"/>
            <p:cNvSpPr/>
            <p:nvPr/>
          </p:nvSpPr>
          <p:spPr>
            <a:xfrm>
              <a:off x="5206775" y="2078400"/>
              <a:ext cx="120275" cy="31875"/>
            </a:xfrm>
            <a:custGeom>
              <a:avLst/>
              <a:gdLst/>
              <a:ahLst/>
              <a:cxnLst/>
              <a:rect l="l" t="t" r="r" b="b"/>
              <a:pathLst>
                <a:path w="4811" h="1275" extrusionOk="0">
                  <a:moveTo>
                    <a:pt x="4810" y="1"/>
                  </a:moveTo>
                  <a:lnTo>
                    <a:pt x="171" y="1028"/>
                  </a:lnTo>
                  <a:lnTo>
                    <a:pt x="0" y="1275"/>
                  </a:lnTo>
                  <a:lnTo>
                    <a:pt x="4617" y="28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 name="Google Shape;180;p23"/>
            <p:cNvSpPr/>
            <p:nvPr/>
          </p:nvSpPr>
          <p:spPr>
            <a:xfrm>
              <a:off x="5221850" y="2049550"/>
              <a:ext cx="121250" cy="35825"/>
            </a:xfrm>
            <a:custGeom>
              <a:avLst/>
              <a:gdLst/>
              <a:ahLst/>
              <a:cxnLst/>
              <a:rect l="l" t="t" r="r" b="b"/>
              <a:pathLst>
                <a:path w="4850" h="1433" extrusionOk="0">
                  <a:moveTo>
                    <a:pt x="4850" y="0"/>
                  </a:moveTo>
                  <a:lnTo>
                    <a:pt x="129" y="1197"/>
                  </a:lnTo>
                  <a:lnTo>
                    <a:pt x="0" y="1433"/>
                  </a:lnTo>
                  <a:lnTo>
                    <a:pt x="4703" y="27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 name="Google Shape;181;p23"/>
            <p:cNvSpPr/>
            <p:nvPr/>
          </p:nvSpPr>
          <p:spPr>
            <a:xfrm>
              <a:off x="5235150" y="2021375"/>
              <a:ext cx="122125" cy="39625"/>
            </a:xfrm>
            <a:custGeom>
              <a:avLst/>
              <a:gdLst/>
              <a:ahLst/>
              <a:cxnLst/>
              <a:rect l="l" t="t" r="r" b="b"/>
              <a:pathLst>
                <a:path w="4885" h="1585" extrusionOk="0">
                  <a:moveTo>
                    <a:pt x="0" y="1584"/>
                  </a:moveTo>
                  <a:lnTo>
                    <a:pt x="4771" y="266"/>
                  </a:lnTo>
                  <a:cubicBezTo>
                    <a:pt x="4824" y="172"/>
                    <a:pt x="4850" y="88"/>
                    <a:pt x="4884" y="1"/>
                  </a:cubicBezTo>
                  <a:lnTo>
                    <a:pt x="99" y="1358"/>
                  </a:lnTo>
                  <a:cubicBezTo>
                    <a:pt x="69" y="1433"/>
                    <a:pt x="50" y="1504"/>
                    <a:pt x="0" y="1584"/>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182;p23"/>
            <p:cNvSpPr/>
            <p:nvPr/>
          </p:nvSpPr>
          <p:spPr>
            <a:xfrm>
              <a:off x="5244400" y="1994600"/>
              <a:ext cx="122875" cy="43300"/>
            </a:xfrm>
            <a:custGeom>
              <a:avLst/>
              <a:gdLst/>
              <a:ahLst/>
              <a:cxnLst/>
              <a:rect l="l" t="t" r="r" b="b"/>
              <a:pathLst>
                <a:path w="4915" h="1732" extrusionOk="0">
                  <a:moveTo>
                    <a:pt x="4915" y="1"/>
                  </a:moveTo>
                  <a:lnTo>
                    <a:pt x="87" y="1511"/>
                  </a:lnTo>
                  <a:lnTo>
                    <a:pt x="1" y="1732"/>
                  </a:lnTo>
                  <a:lnTo>
                    <a:pt x="4820" y="25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183;p23"/>
            <p:cNvSpPr/>
            <p:nvPr/>
          </p:nvSpPr>
          <p:spPr>
            <a:xfrm>
              <a:off x="5252150" y="1968900"/>
              <a:ext cx="122425" cy="46550"/>
            </a:xfrm>
            <a:custGeom>
              <a:avLst/>
              <a:gdLst/>
              <a:ahLst/>
              <a:cxnLst/>
              <a:rect l="l" t="t" r="r" b="b"/>
              <a:pathLst>
                <a:path w="4897" h="1862" extrusionOk="0">
                  <a:moveTo>
                    <a:pt x="4896" y="1"/>
                  </a:moveTo>
                  <a:lnTo>
                    <a:pt x="45" y="1656"/>
                  </a:lnTo>
                  <a:lnTo>
                    <a:pt x="1" y="1862"/>
                  </a:lnTo>
                  <a:lnTo>
                    <a:pt x="4848" y="24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 name="Google Shape;184;p23"/>
            <p:cNvSpPr/>
            <p:nvPr/>
          </p:nvSpPr>
          <p:spPr>
            <a:xfrm>
              <a:off x="5256750" y="1944275"/>
              <a:ext cx="122550" cy="49900"/>
            </a:xfrm>
            <a:custGeom>
              <a:avLst/>
              <a:gdLst/>
              <a:ahLst/>
              <a:cxnLst/>
              <a:rect l="l" t="t" r="r" b="b"/>
              <a:pathLst>
                <a:path w="4902" h="1996" extrusionOk="0">
                  <a:moveTo>
                    <a:pt x="4902" y="0"/>
                  </a:moveTo>
                  <a:lnTo>
                    <a:pt x="45" y="1791"/>
                  </a:lnTo>
                  <a:lnTo>
                    <a:pt x="1" y="1996"/>
                  </a:lnTo>
                  <a:lnTo>
                    <a:pt x="4858" y="23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 name="Google Shape;185;p23"/>
            <p:cNvSpPr/>
            <p:nvPr/>
          </p:nvSpPr>
          <p:spPr>
            <a:xfrm>
              <a:off x="5258625" y="1921425"/>
              <a:ext cx="121225" cy="52650"/>
            </a:xfrm>
            <a:custGeom>
              <a:avLst/>
              <a:gdLst/>
              <a:ahLst/>
              <a:cxnLst/>
              <a:rect l="l" t="t" r="r" b="b"/>
              <a:pathLst>
                <a:path w="4849" h="2106" extrusionOk="0">
                  <a:moveTo>
                    <a:pt x="4848" y="0"/>
                  </a:moveTo>
                  <a:lnTo>
                    <a:pt x="4" y="1918"/>
                  </a:lnTo>
                  <a:lnTo>
                    <a:pt x="1" y="2105"/>
                  </a:lnTo>
                  <a:lnTo>
                    <a:pt x="4849" y="21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 name="Google Shape;186;p23"/>
            <p:cNvSpPr/>
            <p:nvPr/>
          </p:nvSpPr>
          <p:spPr>
            <a:xfrm>
              <a:off x="5258000" y="1899600"/>
              <a:ext cx="121525" cy="55125"/>
            </a:xfrm>
            <a:custGeom>
              <a:avLst/>
              <a:gdLst/>
              <a:ahLst/>
              <a:cxnLst/>
              <a:rect l="l" t="t" r="r" b="b"/>
              <a:pathLst>
                <a:path w="4861" h="2205" extrusionOk="0">
                  <a:moveTo>
                    <a:pt x="0" y="2035"/>
                  </a:moveTo>
                  <a:lnTo>
                    <a:pt x="38" y="2204"/>
                  </a:lnTo>
                  <a:lnTo>
                    <a:pt x="4860" y="197"/>
                  </a:lnTo>
                  <a:lnTo>
                    <a:pt x="4815"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 name="Google Shape;187;p23"/>
            <p:cNvSpPr/>
            <p:nvPr/>
          </p:nvSpPr>
          <p:spPr>
            <a:xfrm>
              <a:off x="5254250" y="1879425"/>
              <a:ext cx="120400" cy="57775"/>
            </a:xfrm>
            <a:custGeom>
              <a:avLst/>
              <a:gdLst/>
              <a:ahLst/>
              <a:cxnLst/>
              <a:rect l="l" t="t" r="r" b="b"/>
              <a:pathLst>
                <a:path w="4816" h="2311" extrusionOk="0">
                  <a:moveTo>
                    <a:pt x="1" y="2142"/>
                  </a:moveTo>
                  <a:lnTo>
                    <a:pt x="37" y="2311"/>
                  </a:lnTo>
                  <a:lnTo>
                    <a:pt x="4815" y="194"/>
                  </a:lnTo>
                  <a:lnTo>
                    <a:pt x="4767"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 name="Google Shape;188;p23"/>
            <p:cNvSpPr/>
            <p:nvPr/>
          </p:nvSpPr>
          <p:spPr>
            <a:xfrm>
              <a:off x="5247900" y="1860875"/>
              <a:ext cx="119900" cy="59700"/>
            </a:xfrm>
            <a:custGeom>
              <a:avLst/>
              <a:gdLst/>
              <a:ahLst/>
              <a:cxnLst/>
              <a:rect l="l" t="t" r="r" b="b"/>
              <a:pathLst>
                <a:path w="4796" h="2388" extrusionOk="0">
                  <a:moveTo>
                    <a:pt x="1" y="2239"/>
                  </a:moveTo>
                  <a:lnTo>
                    <a:pt x="76" y="2387"/>
                  </a:lnTo>
                  <a:lnTo>
                    <a:pt x="4796" y="171"/>
                  </a:lnTo>
                  <a:lnTo>
                    <a:pt x="4704"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 name="Google Shape;189;p23"/>
            <p:cNvSpPr/>
            <p:nvPr/>
          </p:nvSpPr>
          <p:spPr>
            <a:xfrm>
              <a:off x="5240100" y="1843350"/>
              <a:ext cx="118100" cy="61825"/>
            </a:xfrm>
            <a:custGeom>
              <a:avLst/>
              <a:gdLst/>
              <a:ahLst/>
              <a:cxnLst/>
              <a:rect l="l" t="t" r="r" b="b"/>
              <a:pathLst>
                <a:path w="4724" h="2473" extrusionOk="0">
                  <a:moveTo>
                    <a:pt x="0" y="2327"/>
                  </a:moveTo>
                  <a:cubicBezTo>
                    <a:pt x="34" y="2372"/>
                    <a:pt x="52" y="2425"/>
                    <a:pt x="79" y="2472"/>
                  </a:cubicBezTo>
                  <a:lnTo>
                    <a:pt x="4723" y="166"/>
                  </a:lnTo>
                  <a:cubicBezTo>
                    <a:pt x="4690" y="111"/>
                    <a:pt x="4665" y="51"/>
                    <a:pt x="4624" y="1"/>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 name="Google Shape;190;p23"/>
            <p:cNvSpPr/>
            <p:nvPr/>
          </p:nvSpPr>
          <p:spPr>
            <a:xfrm>
              <a:off x="5228450" y="1828175"/>
              <a:ext cx="116675" cy="63325"/>
            </a:xfrm>
            <a:custGeom>
              <a:avLst/>
              <a:gdLst/>
              <a:ahLst/>
              <a:cxnLst/>
              <a:rect l="l" t="t" r="r" b="b"/>
              <a:pathLst>
                <a:path w="4667" h="2533" extrusionOk="0">
                  <a:moveTo>
                    <a:pt x="4532" y="0"/>
                  </a:moveTo>
                  <a:lnTo>
                    <a:pt x="1" y="2404"/>
                  </a:lnTo>
                  <a:lnTo>
                    <a:pt x="112" y="2533"/>
                  </a:lnTo>
                  <a:lnTo>
                    <a:pt x="4667" y="145"/>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 name="Google Shape;191;p23"/>
            <p:cNvSpPr/>
            <p:nvPr/>
          </p:nvSpPr>
          <p:spPr>
            <a:xfrm>
              <a:off x="5215375" y="1814175"/>
              <a:ext cx="115000" cy="64500"/>
            </a:xfrm>
            <a:custGeom>
              <a:avLst/>
              <a:gdLst/>
              <a:ahLst/>
              <a:cxnLst/>
              <a:rect l="l" t="t" r="r" b="b"/>
              <a:pathLst>
                <a:path w="4600" h="2580" extrusionOk="0">
                  <a:moveTo>
                    <a:pt x="4423" y="1"/>
                  </a:moveTo>
                  <a:lnTo>
                    <a:pt x="0" y="2474"/>
                  </a:lnTo>
                  <a:lnTo>
                    <a:pt x="149" y="2580"/>
                  </a:lnTo>
                  <a:lnTo>
                    <a:pt x="4599" y="12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 name="Google Shape;192;p23"/>
            <p:cNvSpPr/>
            <p:nvPr/>
          </p:nvSpPr>
          <p:spPr>
            <a:xfrm>
              <a:off x="5200150" y="1801750"/>
              <a:ext cx="112000" cy="65950"/>
            </a:xfrm>
            <a:custGeom>
              <a:avLst/>
              <a:gdLst/>
              <a:ahLst/>
              <a:cxnLst/>
              <a:rect l="l" t="t" r="r" b="b"/>
              <a:pathLst>
                <a:path w="4480" h="2638" extrusionOk="0">
                  <a:moveTo>
                    <a:pt x="4479" y="120"/>
                  </a:moveTo>
                  <a:lnTo>
                    <a:pt x="4302" y="1"/>
                  </a:lnTo>
                  <a:lnTo>
                    <a:pt x="1" y="2532"/>
                  </a:lnTo>
                  <a:lnTo>
                    <a:pt x="147" y="263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 name="Google Shape;193;p23"/>
            <p:cNvSpPr/>
            <p:nvPr/>
          </p:nvSpPr>
          <p:spPr>
            <a:xfrm>
              <a:off x="5140875" y="1775200"/>
              <a:ext cx="102850" cy="67825"/>
            </a:xfrm>
            <a:custGeom>
              <a:avLst/>
              <a:gdLst/>
              <a:ahLst/>
              <a:cxnLst/>
              <a:rect l="l" t="t" r="r" b="b"/>
              <a:pathLst>
                <a:path w="4114" h="2713" extrusionOk="0">
                  <a:moveTo>
                    <a:pt x="0" y="2651"/>
                  </a:moveTo>
                  <a:lnTo>
                    <a:pt x="212" y="2712"/>
                  </a:lnTo>
                  <a:lnTo>
                    <a:pt x="4113" y="67"/>
                  </a:lnTo>
                  <a:lnTo>
                    <a:pt x="3863"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 name="Google Shape;194;p23"/>
            <p:cNvSpPr/>
            <p:nvPr/>
          </p:nvSpPr>
          <p:spPr>
            <a:xfrm>
              <a:off x="5117250" y="1769725"/>
              <a:ext cx="99475" cy="67750"/>
            </a:xfrm>
            <a:custGeom>
              <a:avLst/>
              <a:gdLst/>
              <a:ahLst/>
              <a:cxnLst/>
              <a:rect l="l" t="t" r="r" b="b"/>
              <a:pathLst>
                <a:path w="3979" h="2710" extrusionOk="0">
                  <a:moveTo>
                    <a:pt x="3694" y="0"/>
                  </a:moveTo>
                  <a:lnTo>
                    <a:pt x="1" y="2672"/>
                  </a:lnTo>
                  <a:lnTo>
                    <a:pt x="243" y="2710"/>
                  </a:lnTo>
                  <a:lnTo>
                    <a:pt x="3978" y="4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 name="Google Shape;195;p23"/>
            <p:cNvSpPr/>
            <p:nvPr/>
          </p:nvSpPr>
          <p:spPr>
            <a:xfrm>
              <a:off x="3519850" y="2366475"/>
              <a:ext cx="865575" cy="536825"/>
            </a:xfrm>
            <a:custGeom>
              <a:avLst/>
              <a:gdLst/>
              <a:ahLst/>
              <a:cxnLst/>
              <a:rect l="l" t="t" r="r" b="b"/>
              <a:pathLst>
                <a:path w="34623" h="21473" extrusionOk="0">
                  <a:moveTo>
                    <a:pt x="29702" y="18101"/>
                  </a:moveTo>
                  <a:lnTo>
                    <a:pt x="28495" y="18447"/>
                  </a:lnTo>
                  <a:lnTo>
                    <a:pt x="27890" y="18622"/>
                  </a:lnTo>
                  <a:lnTo>
                    <a:pt x="27315" y="18746"/>
                  </a:lnTo>
                  <a:lnTo>
                    <a:pt x="25009" y="19266"/>
                  </a:lnTo>
                  <a:cubicBezTo>
                    <a:pt x="24217" y="19478"/>
                    <a:pt x="23518" y="19554"/>
                    <a:pt x="22790" y="19677"/>
                  </a:cubicBezTo>
                  <a:lnTo>
                    <a:pt x="20613" y="20042"/>
                  </a:lnTo>
                  <a:lnTo>
                    <a:pt x="18596" y="20221"/>
                  </a:lnTo>
                  <a:cubicBezTo>
                    <a:pt x="17924" y="20284"/>
                    <a:pt x="17216" y="20386"/>
                    <a:pt x="16638" y="20354"/>
                  </a:cubicBezTo>
                  <a:cubicBezTo>
                    <a:pt x="15436" y="20347"/>
                    <a:pt x="14125" y="20444"/>
                    <a:pt x="13115" y="20280"/>
                  </a:cubicBezTo>
                  <a:cubicBezTo>
                    <a:pt x="12583" y="20224"/>
                    <a:pt x="12009" y="20207"/>
                    <a:pt x="11495" y="20139"/>
                  </a:cubicBezTo>
                  <a:lnTo>
                    <a:pt x="10095" y="19832"/>
                  </a:lnTo>
                  <a:lnTo>
                    <a:pt x="9381" y="19695"/>
                  </a:lnTo>
                  <a:cubicBezTo>
                    <a:pt x="9171" y="19628"/>
                    <a:pt x="8991" y="19539"/>
                    <a:pt x="8791" y="19466"/>
                  </a:cubicBezTo>
                  <a:lnTo>
                    <a:pt x="7599" y="19028"/>
                  </a:lnTo>
                  <a:cubicBezTo>
                    <a:pt x="7222" y="18870"/>
                    <a:pt x="6959" y="18633"/>
                    <a:pt x="6621" y="18451"/>
                  </a:cubicBezTo>
                  <a:cubicBezTo>
                    <a:pt x="6320" y="18247"/>
                    <a:pt x="5917" y="18109"/>
                    <a:pt x="5726" y="17833"/>
                  </a:cubicBezTo>
                  <a:cubicBezTo>
                    <a:pt x="1521" y="14357"/>
                    <a:pt x="3478" y="7422"/>
                    <a:pt x="10603" y="0"/>
                  </a:cubicBezTo>
                  <a:lnTo>
                    <a:pt x="9499" y="166"/>
                  </a:lnTo>
                  <a:cubicBezTo>
                    <a:pt x="2085" y="7869"/>
                    <a:pt x="1" y="15088"/>
                    <a:pt x="4328" y="18722"/>
                  </a:cubicBezTo>
                  <a:cubicBezTo>
                    <a:pt x="4526" y="19008"/>
                    <a:pt x="4939" y="19157"/>
                    <a:pt x="5249" y="19370"/>
                  </a:cubicBezTo>
                  <a:cubicBezTo>
                    <a:pt x="5598" y="19563"/>
                    <a:pt x="5871" y="19808"/>
                    <a:pt x="6260" y="19975"/>
                  </a:cubicBezTo>
                  <a:lnTo>
                    <a:pt x="7492" y="20437"/>
                  </a:lnTo>
                  <a:cubicBezTo>
                    <a:pt x="7700" y="20514"/>
                    <a:pt x="7887" y="20607"/>
                    <a:pt x="8105" y="20676"/>
                  </a:cubicBezTo>
                  <a:lnTo>
                    <a:pt x="8842" y="20824"/>
                  </a:lnTo>
                  <a:lnTo>
                    <a:pt x="10294" y="21147"/>
                  </a:lnTo>
                  <a:cubicBezTo>
                    <a:pt x="10827" y="21220"/>
                    <a:pt x="11420" y="21242"/>
                    <a:pt x="11972" y="21301"/>
                  </a:cubicBezTo>
                  <a:cubicBezTo>
                    <a:pt x="13024" y="21472"/>
                    <a:pt x="14379" y="21379"/>
                    <a:pt x="15630" y="21387"/>
                  </a:cubicBezTo>
                  <a:cubicBezTo>
                    <a:pt x="16233" y="21420"/>
                    <a:pt x="16965" y="21317"/>
                    <a:pt x="17663" y="21253"/>
                  </a:cubicBezTo>
                  <a:lnTo>
                    <a:pt x="19762" y="21070"/>
                  </a:lnTo>
                  <a:lnTo>
                    <a:pt x="22025" y="20695"/>
                  </a:lnTo>
                  <a:cubicBezTo>
                    <a:pt x="22783" y="20569"/>
                    <a:pt x="23513" y="20489"/>
                    <a:pt x="24336" y="20271"/>
                  </a:cubicBezTo>
                  <a:lnTo>
                    <a:pt x="26738" y="19731"/>
                  </a:lnTo>
                  <a:lnTo>
                    <a:pt x="27337" y="19601"/>
                  </a:lnTo>
                  <a:lnTo>
                    <a:pt x="27967" y="19421"/>
                  </a:lnTo>
                  <a:lnTo>
                    <a:pt x="29225" y="19062"/>
                  </a:lnTo>
                  <a:cubicBezTo>
                    <a:pt x="30071" y="18811"/>
                    <a:pt x="30889" y="18627"/>
                    <a:pt x="31755" y="18336"/>
                  </a:cubicBezTo>
                  <a:lnTo>
                    <a:pt x="34357" y="17465"/>
                  </a:lnTo>
                  <a:lnTo>
                    <a:pt x="34622" y="16566"/>
                  </a:lnTo>
                  <a:lnTo>
                    <a:pt x="32127" y="17403"/>
                  </a:lnTo>
                  <a:cubicBezTo>
                    <a:pt x="31298" y="17683"/>
                    <a:pt x="30514" y="17859"/>
                    <a:pt x="29702" y="18101"/>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196;p23"/>
            <p:cNvSpPr/>
            <p:nvPr/>
          </p:nvSpPr>
          <p:spPr>
            <a:xfrm>
              <a:off x="3632775" y="2354125"/>
              <a:ext cx="772150" cy="473200"/>
            </a:xfrm>
            <a:custGeom>
              <a:avLst/>
              <a:gdLst/>
              <a:ahLst/>
              <a:cxnLst/>
              <a:rect l="l" t="t" r="r" b="b"/>
              <a:pathLst>
                <a:path w="30886" h="18928" extrusionOk="0">
                  <a:moveTo>
                    <a:pt x="28700" y="15166"/>
                  </a:moveTo>
                  <a:cubicBezTo>
                    <a:pt x="27972" y="15415"/>
                    <a:pt x="27288" y="15564"/>
                    <a:pt x="26577" y="15778"/>
                  </a:cubicBezTo>
                  <a:lnTo>
                    <a:pt x="25517" y="16087"/>
                  </a:lnTo>
                  <a:lnTo>
                    <a:pt x="24986" y="16244"/>
                  </a:lnTo>
                  <a:lnTo>
                    <a:pt x="24484" y="16351"/>
                  </a:lnTo>
                  <a:cubicBezTo>
                    <a:pt x="23813" y="16498"/>
                    <a:pt x="23139" y="16651"/>
                    <a:pt x="22461" y="16815"/>
                  </a:cubicBezTo>
                  <a:cubicBezTo>
                    <a:pt x="21763" y="17008"/>
                    <a:pt x="21152" y="17071"/>
                    <a:pt x="20512" y="17181"/>
                  </a:cubicBezTo>
                  <a:lnTo>
                    <a:pt x="18593" y="17516"/>
                  </a:lnTo>
                  <a:cubicBezTo>
                    <a:pt x="18005" y="17562"/>
                    <a:pt x="17412" y="17617"/>
                    <a:pt x="16814" y="17679"/>
                  </a:cubicBezTo>
                  <a:cubicBezTo>
                    <a:pt x="16219" y="17739"/>
                    <a:pt x="15587" y="17839"/>
                    <a:pt x="15079" y="17809"/>
                  </a:cubicBezTo>
                  <a:cubicBezTo>
                    <a:pt x="14019" y="17805"/>
                    <a:pt x="12842" y="17912"/>
                    <a:pt x="11955" y="17768"/>
                  </a:cubicBezTo>
                  <a:cubicBezTo>
                    <a:pt x="11485" y="17721"/>
                    <a:pt x="10970" y="17715"/>
                    <a:pt x="10513" y="17661"/>
                  </a:cubicBezTo>
                  <a:cubicBezTo>
                    <a:pt x="10108" y="17566"/>
                    <a:pt x="9694" y="17478"/>
                    <a:pt x="9272" y="17400"/>
                  </a:cubicBezTo>
                  <a:lnTo>
                    <a:pt x="8630" y="17291"/>
                  </a:lnTo>
                  <a:cubicBezTo>
                    <a:pt x="8443" y="17234"/>
                    <a:pt x="8285" y="17156"/>
                    <a:pt x="8107" y="17093"/>
                  </a:cubicBezTo>
                  <a:cubicBezTo>
                    <a:pt x="7760" y="16961"/>
                    <a:pt x="7402" y="16839"/>
                    <a:pt x="7036" y="16724"/>
                  </a:cubicBezTo>
                  <a:cubicBezTo>
                    <a:pt x="6696" y="16591"/>
                    <a:pt x="6466" y="16381"/>
                    <a:pt x="6161" y="16226"/>
                  </a:cubicBezTo>
                  <a:cubicBezTo>
                    <a:pt x="5889" y="16049"/>
                    <a:pt x="5515" y="15941"/>
                    <a:pt x="5349" y="15696"/>
                  </a:cubicBezTo>
                  <a:cubicBezTo>
                    <a:pt x="1522" y="12680"/>
                    <a:pt x="3125" y="6582"/>
                    <a:pt x="9396" y="0"/>
                  </a:cubicBezTo>
                  <a:lnTo>
                    <a:pt x="8276" y="168"/>
                  </a:lnTo>
                  <a:cubicBezTo>
                    <a:pt x="1718" y="7033"/>
                    <a:pt x="0" y="13411"/>
                    <a:pt x="3958" y="16581"/>
                  </a:cubicBezTo>
                  <a:cubicBezTo>
                    <a:pt x="4133" y="16835"/>
                    <a:pt x="4517" y="16954"/>
                    <a:pt x="4798" y="17140"/>
                  </a:cubicBezTo>
                  <a:cubicBezTo>
                    <a:pt x="5115" y="17303"/>
                    <a:pt x="5355" y="17522"/>
                    <a:pt x="5708" y="17663"/>
                  </a:cubicBezTo>
                  <a:cubicBezTo>
                    <a:pt x="6088" y="17787"/>
                    <a:pt x="6459" y="17917"/>
                    <a:pt x="6820" y="18055"/>
                  </a:cubicBezTo>
                  <a:cubicBezTo>
                    <a:pt x="7006" y="18122"/>
                    <a:pt x="7172" y="18204"/>
                    <a:pt x="7367" y="18263"/>
                  </a:cubicBezTo>
                  <a:lnTo>
                    <a:pt x="8032" y="18382"/>
                  </a:lnTo>
                  <a:cubicBezTo>
                    <a:pt x="8472" y="18465"/>
                    <a:pt x="8904" y="18558"/>
                    <a:pt x="9327" y="18658"/>
                  </a:cubicBezTo>
                  <a:cubicBezTo>
                    <a:pt x="9804" y="18717"/>
                    <a:pt x="10339" y="18727"/>
                    <a:pt x="10829" y="18777"/>
                  </a:cubicBezTo>
                  <a:cubicBezTo>
                    <a:pt x="11759" y="18927"/>
                    <a:pt x="12979" y="18823"/>
                    <a:pt x="14088" y="18828"/>
                  </a:cubicBezTo>
                  <a:cubicBezTo>
                    <a:pt x="14619" y="18858"/>
                    <a:pt x="15276" y="18758"/>
                    <a:pt x="15897" y="18697"/>
                  </a:cubicBezTo>
                  <a:cubicBezTo>
                    <a:pt x="16523" y="18632"/>
                    <a:pt x="17142" y="18575"/>
                    <a:pt x="17757" y="18527"/>
                  </a:cubicBezTo>
                  <a:lnTo>
                    <a:pt x="19762" y="18182"/>
                  </a:lnTo>
                  <a:cubicBezTo>
                    <a:pt x="20432" y="18067"/>
                    <a:pt x="21072" y="18000"/>
                    <a:pt x="21803" y="17800"/>
                  </a:cubicBezTo>
                  <a:cubicBezTo>
                    <a:pt x="22513" y="17632"/>
                    <a:pt x="23218" y="17471"/>
                    <a:pt x="23920" y="17318"/>
                  </a:cubicBezTo>
                  <a:lnTo>
                    <a:pt x="24447" y="17204"/>
                  </a:lnTo>
                  <a:lnTo>
                    <a:pt x="25002" y="17041"/>
                  </a:lnTo>
                  <a:lnTo>
                    <a:pt x="26112" y="16721"/>
                  </a:lnTo>
                  <a:cubicBezTo>
                    <a:pt x="26857" y="16497"/>
                    <a:pt x="27573" y="16339"/>
                    <a:pt x="28336" y="16080"/>
                  </a:cubicBezTo>
                  <a:cubicBezTo>
                    <a:pt x="29102" y="15815"/>
                    <a:pt x="29864" y="15557"/>
                    <a:pt x="30626" y="15308"/>
                  </a:cubicBezTo>
                  <a:lnTo>
                    <a:pt x="30886" y="14427"/>
                  </a:lnTo>
                  <a:cubicBezTo>
                    <a:pt x="30158" y="14666"/>
                    <a:pt x="29429" y="14912"/>
                    <a:pt x="28700" y="15166"/>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 name="Google Shape;197;p23"/>
            <p:cNvSpPr/>
            <p:nvPr/>
          </p:nvSpPr>
          <p:spPr>
            <a:xfrm>
              <a:off x="4509100" y="1710675"/>
              <a:ext cx="1035800" cy="1044175"/>
            </a:xfrm>
            <a:custGeom>
              <a:avLst/>
              <a:gdLst/>
              <a:ahLst/>
              <a:cxnLst/>
              <a:rect l="l" t="t" r="r" b="b"/>
              <a:pathLst>
                <a:path w="41432" h="41767" extrusionOk="0">
                  <a:moveTo>
                    <a:pt x="37702" y="1935"/>
                  </a:moveTo>
                  <a:cubicBezTo>
                    <a:pt x="38102" y="2435"/>
                    <a:pt x="38735" y="2824"/>
                    <a:pt x="38954" y="3426"/>
                  </a:cubicBezTo>
                  <a:lnTo>
                    <a:pt x="39444" y="4258"/>
                  </a:lnTo>
                  <a:lnTo>
                    <a:pt x="39696" y="5212"/>
                  </a:lnTo>
                  <a:lnTo>
                    <a:pt x="39845" y="5683"/>
                  </a:lnTo>
                  <a:lnTo>
                    <a:pt x="39849" y="6217"/>
                  </a:lnTo>
                  <a:lnTo>
                    <a:pt x="39897" y="7277"/>
                  </a:lnTo>
                  <a:cubicBezTo>
                    <a:pt x="39649" y="10310"/>
                    <a:pt x="37751" y="13998"/>
                    <a:pt x="34375" y="18016"/>
                  </a:cubicBezTo>
                  <a:cubicBezTo>
                    <a:pt x="30855" y="22147"/>
                    <a:pt x="25795" y="26419"/>
                    <a:pt x="19869" y="30438"/>
                  </a:cubicBezTo>
                  <a:cubicBezTo>
                    <a:pt x="13831" y="34485"/>
                    <a:pt x="6904" y="38103"/>
                    <a:pt x="53" y="40944"/>
                  </a:cubicBezTo>
                  <a:lnTo>
                    <a:pt x="1" y="41766"/>
                  </a:lnTo>
                  <a:cubicBezTo>
                    <a:pt x="7144" y="38810"/>
                    <a:pt x="14364" y="35036"/>
                    <a:pt x="20658" y="30813"/>
                  </a:cubicBezTo>
                  <a:cubicBezTo>
                    <a:pt x="26834" y="26622"/>
                    <a:pt x="32099" y="22162"/>
                    <a:pt x="35747" y="17865"/>
                  </a:cubicBezTo>
                  <a:cubicBezTo>
                    <a:pt x="39244" y="13686"/>
                    <a:pt x="41200" y="9848"/>
                    <a:pt x="41432" y="6703"/>
                  </a:cubicBezTo>
                  <a:lnTo>
                    <a:pt x="41374" y="5604"/>
                  </a:lnTo>
                  <a:lnTo>
                    <a:pt x="41363" y="5051"/>
                  </a:lnTo>
                  <a:lnTo>
                    <a:pt x="41205" y="4562"/>
                  </a:lnTo>
                  <a:lnTo>
                    <a:pt x="40933" y="3575"/>
                  </a:lnTo>
                  <a:cubicBezTo>
                    <a:pt x="40780" y="3280"/>
                    <a:pt x="40579" y="3006"/>
                    <a:pt x="40417" y="2715"/>
                  </a:cubicBezTo>
                  <a:cubicBezTo>
                    <a:pt x="40178" y="2095"/>
                    <a:pt x="39524" y="1690"/>
                    <a:pt x="39098" y="1174"/>
                  </a:cubicBezTo>
                  <a:cubicBezTo>
                    <a:pt x="38866" y="929"/>
                    <a:pt x="38475" y="772"/>
                    <a:pt x="38186" y="561"/>
                  </a:cubicBezTo>
                  <a:cubicBezTo>
                    <a:pt x="37851" y="377"/>
                    <a:pt x="37637" y="122"/>
                    <a:pt x="37206" y="0"/>
                  </a:cubicBezTo>
                  <a:lnTo>
                    <a:pt x="35891" y="793"/>
                  </a:lnTo>
                  <a:cubicBezTo>
                    <a:pt x="36308" y="910"/>
                    <a:pt x="36506" y="1161"/>
                    <a:pt x="36828" y="1339"/>
                  </a:cubicBezTo>
                  <a:cubicBezTo>
                    <a:pt x="37103" y="1545"/>
                    <a:pt x="37483" y="1695"/>
                    <a:pt x="37702" y="1935"/>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 name="Google Shape;198;p23"/>
            <p:cNvSpPr/>
            <p:nvPr/>
          </p:nvSpPr>
          <p:spPr>
            <a:xfrm>
              <a:off x="4512975" y="1769675"/>
              <a:ext cx="918150" cy="924550"/>
            </a:xfrm>
            <a:custGeom>
              <a:avLst/>
              <a:gdLst/>
              <a:ahLst/>
              <a:cxnLst/>
              <a:rect l="l" t="t" r="r" b="b"/>
              <a:pathLst>
                <a:path w="36726" h="36982" extrusionOk="0">
                  <a:moveTo>
                    <a:pt x="33388" y="1830"/>
                  </a:moveTo>
                  <a:cubicBezTo>
                    <a:pt x="33716" y="2289"/>
                    <a:pt x="34284" y="2629"/>
                    <a:pt x="34451" y="3175"/>
                  </a:cubicBezTo>
                  <a:lnTo>
                    <a:pt x="34869" y="3920"/>
                  </a:lnTo>
                  <a:cubicBezTo>
                    <a:pt x="34920" y="4210"/>
                    <a:pt x="34986" y="4496"/>
                    <a:pt x="35062" y="4776"/>
                  </a:cubicBezTo>
                  <a:lnTo>
                    <a:pt x="35190" y="5194"/>
                  </a:lnTo>
                  <a:lnTo>
                    <a:pt x="35175" y="5673"/>
                  </a:lnTo>
                  <a:cubicBezTo>
                    <a:pt x="35171" y="5991"/>
                    <a:pt x="35179" y="6305"/>
                    <a:pt x="35200" y="6616"/>
                  </a:cubicBezTo>
                  <a:cubicBezTo>
                    <a:pt x="34913" y="9311"/>
                    <a:pt x="33194" y="12556"/>
                    <a:pt x="30186" y="16103"/>
                  </a:cubicBezTo>
                  <a:cubicBezTo>
                    <a:pt x="27044" y="19742"/>
                    <a:pt x="22594" y="23466"/>
                    <a:pt x="17405" y="26982"/>
                  </a:cubicBezTo>
                  <a:cubicBezTo>
                    <a:pt x="12116" y="30516"/>
                    <a:pt x="6045" y="33681"/>
                    <a:pt x="52" y="36178"/>
                  </a:cubicBezTo>
                  <a:lnTo>
                    <a:pt x="1" y="36982"/>
                  </a:lnTo>
                  <a:cubicBezTo>
                    <a:pt x="6280" y="34370"/>
                    <a:pt x="12637" y="31053"/>
                    <a:pt x="18176" y="27348"/>
                  </a:cubicBezTo>
                  <a:cubicBezTo>
                    <a:pt x="23612" y="23664"/>
                    <a:pt x="28267" y="19757"/>
                    <a:pt x="31536" y="15953"/>
                  </a:cubicBezTo>
                  <a:cubicBezTo>
                    <a:pt x="34669" y="12248"/>
                    <a:pt x="36449" y="8854"/>
                    <a:pt x="36725" y="6045"/>
                  </a:cubicBezTo>
                  <a:cubicBezTo>
                    <a:pt x="36703" y="5720"/>
                    <a:pt x="36692" y="5393"/>
                    <a:pt x="36694" y="5062"/>
                  </a:cubicBezTo>
                  <a:lnTo>
                    <a:pt x="36702" y="4565"/>
                  </a:lnTo>
                  <a:lnTo>
                    <a:pt x="36568" y="4128"/>
                  </a:lnTo>
                  <a:cubicBezTo>
                    <a:pt x="36485" y="3837"/>
                    <a:pt x="36415" y="3541"/>
                    <a:pt x="36356" y="3241"/>
                  </a:cubicBezTo>
                  <a:lnTo>
                    <a:pt x="35913" y="2465"/>
                  </a:lnTo>
                  <a:cubicBezTo>
                    <a:pt x="35729" y="1900"/>
                    <a:pt x="35139" y="1543"/>
                    <a:pt x="34788" y="1070"/>
                  </a:cubicBezTo>
                  <a:cubicBezTo>
                    <a:pt x="34593" y="845"/>
                    <a:pt x="34240" y="708"/>
                    <a:pt x="33993" y="514"/>
                  </a:cubicBezTo>
                  <a:cubicBezTo>
                    <a:pt x="33698" y="348"/>
                    <a:pt x="33528" y="108"/>
                    <a:pt x="33142" y="0"/>
                  </a:cubicBezTo>
                  <a:lnTo>
                    <a:pt x="31822" y="797"/>
                  </a:lnTo>
                  <a:cubicBezTo>
                    <a:pt x="32194" y="900"/>
                    <a:pt x="32349" y="1134"/>
                    <a:pt x="32630" y="1293"/>
                  </a:cubicBezTo>
                  <a:cubicBezTo>
                    <a:pt x="32865" y="1482"/>
                    <a:pt x="33205" y="1611"/>
                    <a:pt x="33388" y="1830"/>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199;p23"/>
            <p:cNvSpPr/>
            <p:nvPr/>
          </p:nvSpPr>
          <p:spPr>
            <a:xfrm>
              <a:off x="3827950" y="1673750"/>
              <a:ext cx="1552675" cy="627325"/>
            </a:xfrm>
            <a:custGeom>
              <a:avLst/>
              <a:gdLst/>
              <a:ahLst/>
              <a:cxnLst/>
              <a:rect l="l" t="t" r="r" b="b"/>
              <a:pathLst>
                <a:path w="62107" h="25093" extrusionOk="0">
                  <a:moveTo>
                    <a:pt x="14987" y="14620"/>
                  </a:moveTo>
                  <a:cubicBezTo>
                    <a:pt x="17602" y="12986"/>
                    <a:pt x="20411" y="11499"/>
                    <a:pt x="23206" y="10061"/>
                  </a:cubicBezTo>
                  <a:lnTo>
                    <a:pt x="25331" y="9039"/>
                  </a:lnTo>
                  <a:cubicBezTo>
                    <a:pt x="25685" y="8870"/>
                    <a:pt x="26038" y="8688"/>
                    <a:pt x="26394" y="8528"/>
                  </a:cubicBezTo>
                  <a:lnTo>
                    <a:pt x="27463" y="8059"/>
                  </a:lnTo>
                  <a:lnTo>
                    <a:pt x="29602" y="7105"/>
                  </a:lnTo>
                  <a:lnTo>
                    <a:pt x="31737" y="6251"/>
                  </a:lnTo>
                  <a:cubicBezTo>
                    <a:pt x="37475" y="3929"/>
                    <a:pt x="43061" y="2362"/>
                    <a:pt x="48083" y="1510"/>
                  </a:cubicBezTo>
                  <a:cubicBezTo>
                    <a:pt x="49419" y="1228"/>
                    <a:pt x="50536" y="1181"/>
                    <a:pt x="51779" y="1011"/>
                  </a:cubicBezTo>
                  <a:cubicBezTo>
                    <a:pt x="52426" y="905"/>
                    <a:pt x="52919" y="939"/>
                    <a:pt x="53498" y="899"/>
                  </a:cubicBezTo>
                  <a:cubicBezTo>
                    <a:pt x="54050" y="881"/>
                    <a:pt x="54649" y="827"/>
                    <a:pt x="55189" y="822"/>
                  </a:cubicBezTo>
                  <a:lnTo>
                    <a:pt x="56733" y="881"/>
                  </a:lnTo>
                  <a:lnTo>
                    <a:pt x="57526" y="899"/>
                  </a:lnTo>
                  <a:lnTo>
                    <a:pt x="58217" y="996"/>
                  </a:lnTo>
                  <a:lnTo>
                    <a:pt x="59637" y="1174"/>
                  </a:lnTo>
                  <a:cubicBezTo>
                    <a:pt x="60091" y="1250"/>
                    <a:pt x="60459" y="1387"/>
                    <a:pt x="60890" y="1483"/>
                  </a:cubicBezTo>
                  <a:lnTo>
                    <a:pt x="62106" y="667"/>
                  </a:lnTo>
                  <a:cubicBezTo>
                    <a:pt x="61659" y="570"/>
                    <a:pt x="61270" y="431"/>
                    <a:pt x="60799" y="353"/>
                  </a:cubicBezTo>
                  <a:lnTo>
                    <a:pt x="59320" y="172"/>
                  </a:lnTo>
                  <a:lnTo>
                    <a:pt x="58598" y="74"/>
                  </a:lnTo>
                  <a:lnTo>
                    <a:pt x="57774" y="57"/>
                  </a:lnTo>
                  <a:lnTo>
                    <a:pt x="56168" y="1"/>
                  </a:lnTo>
                  <a:cubicBezTo>
                    <a:pt x="55606" y="6"/>
                    <a:pt x="54987" y="62"/>
                    <a:pt x="54411" y="82"/>
                  </a:cubicBezTo>
                  <a:cubicBezTo>
                    <a:pt x="53811" y="125"/>
                    <a:pt x="53294" y="94"/>
                    <a:pt x="52625" y="202"/>
                  </a:cubicBezTo>
                  <a:cubicBezTo>
                    <a:pt x="51338" y="379"/>
                    <a:pt x="50174" y="434"/>
                    <a:pt x="48791" y="725"/>
                  </a:cubicBezTo>
                  <a:cubicBezTo>
                    <a:pt x="43586" y="1614"/>
                    <a:pt x="37790" y="3248"/>
                    <a:pt x="31849" y="5652"/>
                  </a:cubicBezTo>
                  <a:lnTo>
                    <a:pt x="29638" y="6538"/>
                  </a:lnTo>
                  <a:lnTo>
                    <a:pt x="27423" y="7525"/>
                  </a:lnTo>
                  <a:lnTo>
                    <a:pt x="26316" y="8011"/>
                  </a:lnTo>
                  <a:cubicBezTo>
                    <a:pt x="25947" y="8177"/>
                    <a:pt x="25582" y="8364"/>
                    <a:pt x="25215" y="8539"/>
                  </a:cubicBezTo>
                  <a:lnTo>
                    <a:pt x="23017" y="9598"/>
                  </a:lnTo>
                  <a:cubicBezTo>
                    <a:pt x="20123" y="11086"/>
                    <a:pt x="17216" y="12625"/>
                    <a:pt x="14507" y="14315"/>
                  </a:cubicBezTo>
                  <a:cubicBezTo>
                    <a:pt x="11716" y="15970"/>
                    <a:pt x="9180" y="17756"/>
                    <a:pt x="6686" y="19541"/>
                  </a:cubicBezTo>
                  <a:cubicBezTo>
                    <a:pt x="4321" y="21363"/>
                    <a:pt x="1949" y="23218"/>
                    <a:pt x="1" y="25092"/>
                  </a:cubicBezTo>
                  <a:lnTo>
                    <a:pt x="999" y="25024"/>
                  </a:lnTo>
                  <a:cubicBezTo>
                    <a:pt x="2874" y="23214"/>
                    <a:pt x="5164" y="21425"/>
                    <a:pt x="7440" y="19665"/>
                  </a:cubicBezTo>
                  <a:cubicBezTo>
                    <a:pt x="9849" y="17943"/>
                    <a:pt x="12291" y="16217"/>
                    <a:pt x="14987" y="14620"/>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 name="Google Shape;200;p23"/>
            <p:cNvSpPr/>
            <p:nvPr/>
          </p:nvSpPr>
          <p:spPr>
            <a:xfrm>
              <a:off x="3902475" y="1735025"/>
              <a:ext cx="1387625" cy="560975"/>
            </a:xfrm>
            <a:custGeom>
              <a:avLst/>
              <a:gdLst/>
              <a:ahLst/>
              <a:cxnLst/>
              <a:rect l="l" t="t" r="r" b="b"/>
              <a:pathLst>
                <a:path w="55505" h="22439" extrusionOk="0">
                  <a:moveTo>
                    <a:pt x="6726" y="17588"/>
                  </a:moveTo>
                  <a:cubicBezTo>
                    <a:pt x="8876" y="16052"/>
                    <a:pt x="11038" y="14509"/>
                    <a:pt x="13451" y="13083"/>
                  </a:cubicBezTo>
                  <a:cubicBezTo>
                    <a:pt x="15781" y="11619"/>
                    <a:pt x="18299" y="10293"/>
                    <a:pt x="20796" y="9003"/>
                  </a:cubicBezTo>
                  <a:cubicBezTo>
                    <a:pt x="21431" y="8702"/>
                    <a:pt x="22065" y="8399"/>
                    <a:pt x="22698" y="8090"/>
                  </a:cubicBezTo>
                  <a:cubicBezTo>
                    <a:pt x="23015" y="7938"/>
                    <a:pt x="23330" y="7774"/>
                    <a:pt x="23648" y="7631"/>
                  </a:cubicBezTo>
                  <a:lnTo>
                    <a:pt x="24604" y="7214"/>
                  </a:lnTo>
                  <a:cubicBezTo>
                    <a:pt x="25242" y="6935"/>
                    <a:pt x="25879" y="6649"/>
                    <a:pt x="26517" y="6360"/>
                  </a:cubicBezTo>
                  <a:cubicBezTo>
                    <a:pt x="27152" y="6112"/>
                    <a:pt x="27787" y="5860"/>
                    <a:pt x="28423" y="5602"/>
                  </a:cubicBezTo>
                  <a:cubicBezTo>
                    <a:pt x="33550" y="3528"/>
                    <a:pt x="38505" y="2157"/>
                    <a:pt x="42979" y="1413"/>
                  </a:cubicBezTo>
                  <a:cubicBezTo>
                    <a:pt x="44175" y="1157"/>
                    <a:pt x="45153" y="1136"/>
                    <a:pt x="46264" y="981"/>
                  </a:cubicBezTo>
                  <a:cubicBezTo>
                    <a:pt x="46846" y="884"/>
                    <a:pt x="47271" y="927"/>
                    <a:pt x="47783" y="893"/>
                  </a:cubicBezTo>
                  <a:cubicBezTo>
                    <a:pt x="48270" y="882"/>
                    <a:pt x="48804" y="831"/>
                    <a:pt x="49281" y="831"/>
                  </a:cubicBezTo>
                  <a:cubicBezTo>
                    <a:pt x="49724" y="860"/>
                    <a:pt x="50174" y="882"/>
                    <a:pt x="50636" y="897"/>
                  </a:cubicBezTo>
                  <a:lnTo>
                    <a:pt x="51338" y="913"/>
                  </a:lnTo>
                  <a:lnTo>
                    <a:pt x="51941" y="1009"/>
                  </a:lnTo>
                  <a:cubicBezTo>
                    <a:pt x="52346" y="1071"/>
                    <a:pt x="52763" y="1126"/>
                    <a:pt x="53189" y="1175"/>
                  </a:cubicBezTo>
                  <a:cubicBezTo>
                    <a:pt x="53587" y="1245"/>
                    <a:pt x="53902" y="1376"/>
                    <a:pt x="54280" y="1463"/>
                  </a:cubicBezTo>
                  <a:lnTo>
                    <a:pt x="55505" y="643"/>
                  </a:lnTo>
                  <a:cubicBezTo>
                    <a:pt x="55110" y="552"/>
                    <a:pt x="54776" y="420"/>
                    <a:pt x="54359" y="347"/>
                  </a:cubicBezTo>
                  <a:cubicBezTo>
                    <a:pt x="53913" y="296"/>
                    <a:pt x="53478" y="240"/>
                    <a:pt x="53053" y="177"/>
                  </a:cubicBezTo>
                  <a:lnTo>
                    <a:pt x="52421" y="80"/>
                  </a:lnTo>
                  <a:lnTo>
                    <a:pt x="51688" y="64"/>
                  </a:lnTo>
                  <a:cubicBezTo>
                    <a:pt x="51205" y="49"/>
                    <a:pt x="50732" y="28"/>
                    <a:pt x="50270" y="0"/>
                  </a:cubicBezTo>
                  <a:cubicBezTo>
                    <a:pt x="49772" y="3"/>
                    <a:pt x="49217" y="53"/>
                    <a:pt x="48706" y="67"/>
                  </a:cubicBezTo>
                  <a:cubicBezTo>
                    <a:pt x="48172" y="103"/>
                    <a:pt x="47724" y="63"/>
                    <a:pt x="47120" y="163"/>
                  </a:cubicBezTo>
                  <a:cubicBezTo>
                    <a:pt x="45965" y="323"/>
                    <a:pt x="44941" y="352"/>
                    <a:pt x="43697" y="616"/>
                  </a:cubicBezTo>
                  <a:cubicBezTo>
                    <a:pt x="39038" y="1397"/>
                    <a:pt x="33870" y="2834"/>
                    <a:pt x="28536" y="4992"/>
                  </a:cubicBezTo>
                  <a:cubicBezTo>
                    <a:pt x="27874" y="5260"/>
                    <a:pt x="27212" y="5524"/>
                    <a:pt x="26552" y="5783"/>
                  </a:cubicBezTo>
                  <a:cubicBezTo>
                    <a:pt x="25887" y="6083"/>
                    <a:pt x="25224" y="6379"/>
                    <a:pt x="24563" y="6671"/>
                  </a:cubicBezTo>
                  <a:lnTo>
                    <a:pt x="23568" y="7104"/>
                  </a:lnTo>
                  <a:cubicBezTo>
                    <a:pt x="23237" y="7254"/>
                    <a:pt x="22909" y="7425"/>
                    <a:pt x="22580" y="7581"/>
                  </a:cubicBezTo>
                  <a:cubicBezTo>
                    <a:pt x="21922" y="7903"/>
                    <a:pt x="21262" y="8219"/>
                    <a:pt x="20602" y="8531"/>
                  </a:cubicBezTo>
                  <a:cubicBezTo>
                    <a:pt x="18004" y="9872"/>
                    <a:pt x="15387" y="11252"/>
                    <a:pt x="12961" y="12774"/>
                  </a:cubicBezTo>
                  <a:cubicBezTo>
                    <a:pt x="10453" y="14258"/>
                    <a:pt x="8196" y="15863"/>
                    <a:pt x="5958" y="17461"/>
                  </a:cubicBezTo>
                  <a:cubicBezTo>
                    <a:pt x="3857" y="19096"/>
                    <a:pt x="1729" y="20755"/>
                    <a:pt x="1" y="22438"/>
                  </a:cubicBezTo>
                  <a:lnTo>
                    <a:pt x="1014" y="22369"/>
                  </a:lnTo>
                  <a:cubicBezTo>
                    <a:pt x="2669" y="20750"/>
                    <a:pt x="4715" y="19158"/>
                    <a:pt x="6726" y="17588"/>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 name="Google Shape;201;p23"/>
            <p:cNvSpPr/>
            <p:nvPr/>
          </p:nvSpPr>
          <p:spPr>
            <a:xfrm>
              <a:off x="3014650" y="2421650"/>
              <a:ext cx="82750" cy="17575"/>
            </a:xfrm>
            <a:custGeom>
              <a:avLst/>
              <a:gdLst/>
              <a:ahLst/>
              <a:cxnLst/>
              <a:rect l="l" t="t" r="r" b="b"/>
              <a:pathLst>
                <a:path w="3310" h="703" extrusionOk="0">
                  <a:moveTo>
                    <a:pt x="0" y="703"/>
                  </a:moveTo>
                  <a:lnTo>
                    <a:pt x="2943" y="345"/>
                  </a:lnTo>
                  <a:lnTo>
                    <a:pt x="3309" y="0"/>
                  </a:lnTo>
                  <a:lnTo>
                    <a:pt x="388" y="34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 name="Google Shape;202;p23"/>
            <p:cNvSpPr/>
            <p:nvPr/>
          </p:nvSpPr>
          <p:spPr>
            <a:xfrm>
              <a:off x="2993300" y="2440600"/>
              <a:ext cx="83925" cy="18600"/>
            </a:xfrm>
            <a:custGeom>
              <a:avLst/>
              <a:gdLst/>
              <a:ahLst/>
              <a:cxnLst/>
              <a:rect l="l" t="t" r="r" b="b"/>
              <a:pathLst>
                <a:path w="3357" h="744" extrusionOk="0">
                  <a:moveTo>
                    <a:pt x="0" y="743"/>
                  </a:moveTo>
                  <a:lnTo>
                    <a:pt x="2989" y="346"/>
                  </a:lnTo>
                  <a:lnTo>
                    <a:pt x="3356" y="1"/>
                  </a:lnTo>
                  <a:lnTo>
                    <a:pt x="389" y="38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 name="Google Shape;203;p23"/>
            <p:cNvSpPr/>
            <p:nvPr/>
          </p:nvSpPr>
          <p:spPr>
            <a:xfrm>
              <a:off x="2972400" y="2459650"/>
              <a:ext cx="84575" cy="19525"/>
            </a:xfrm>
            <a:custGeom>
              <a:avLst/>
              <a:gdLst/>
              <a:ahLst/>
              <a:cxnLst/>
              <a:rect l="l" t="t" r="r" b="b"/>
              <a:pathLst>
                <a:path w="3383" h="781" extrusionOk="0">
                  <a:moveTo>
                    <a:pt x="0" y="780"/>
                  </a:moveTo>
                  <a:lnTo>
                    <a:pt x="3035" y="344"/>
                  </a:lnTo>
                  <a:lnTo>
                    <a:pt x="3383" y="0"/>
                  </a:lnTo>
                  <a:lnTo>
                    <a:pt x="369" y="41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 name="Google Shape;204;p23"/>
            <p:cNvSpPr/>
            <p:nvPr/>
          </p:nvSpPr>
          <p:spPr>
            <a:xfrm>
              <a:off x="2952050" y="2478600"/>
              <a:ext cx="85800" cy="20550"/>
            </a:xfrm>
            <a:custGeom>
              <a:avLst/>
              <a:gdLst/>
              <a:ahLst/>
              <a:cxnLst/>
              <a:rect l="l" t="t" r="r" b="b"/>
              <a:pathLst>
                <a:path w="3432" h="822" extrusionOk="0">
                  <a:moveTo>
                    <a:pt x="0" y="822"/>
                  </a:moveTo>
                  <a:lnTo>
                    <a:pt x="3081" y="346"/>
                  </a:lnTo>
                  <a:lnTo>
                    <a:pt x="3431" y="0"/>
                  </a:lnTo>
                  <a:lnTo>
                    <a:pt x="371" y="45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2" name="Google Shape;205;p23"/>
            <p:cNvSpPr/>
            <p:nvPr/>
          </p:nvSpPr>
          <p:spPr>
            <a:xfrm>
              <a:off x="2931575" y="2497625"/>
              <a:ext cx="87025" cy="21600"/>
            </a:xfrm>
            <a:custGeom>
              <a:avLst/>
              <a:gdLst/>
              <a:ahLst/>
              <a:cxnLst/>
              <a:rect l="l" t="t" r="r" b="b"/>
              <a:pathLst>
                <a:path w="3481" h="864" extrusionOk="0">
                  <a:moveTo>
                    <a:pt x="1" y="863"/>
                  </a:moveTo>
                  <a:lnTo>
                    <a:pt x="3129" y="348"/>
                  </a:lnTo>
                  <a:lnTo>
                    <a:pt x="3480" y="1"/>
                  </a:lnTo>
                  <a:lnTo>
                    <a:pt x="373" y="49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3" name="Google Shape;206;p23"/>
            <p:cNvSpPr/>
            <p:nvPr/>
          </p:nvSpPr>
          <p:spPr>
            <a:xfrm>
              <a:off x="2911650" y="2516775"/>
              <a:ext cx="87625" cy="22500"/>
            </a:xfrm>
            <a:custGeom>
              <a:avLst/>
              <a:gdLst/>
              <a:ahLst/>
              <a:cxnLst/>
              <a:rect l="l" t="t" r="r" b="b"/>
              <a:pathLst>
                <a:path w="3505" h="900" extrusionOk="0">
                  <a:moveTo>
                    <a:pt x="1" y="900"/>
                  </a:moveTo>
                  <a:lnTo>
                    <a:pt x="3174" y="345"/>
                  </a:lnTo>
                  <a:lnTo>
                    <a:pt x="3504" y="0"/>
                  </a:lnTo>
                  <a:lnTo>
                    <a:pt x="351" y="53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 name="Google Shape;207;p23"/>
            <p:cNvSpPr/>
            <p:nvPr/>
          </p:nvSpPr>
          <p:spPr>
            <a:xfrm>
              <a:off x="2892250" y="2535750"/>
              <a:ext cx="88825" cy="23575"/>
            </a:xfrm>
            <a:custGeom>
              <a:avLst/>
              <a:gdLst/>
              <a:ahLst/>
              <a:cxnLst/>
              <a:rect l="l" t="t" r="r" b="b"/>
              <a:pathLst>
                <a:path w="3553" h="943" extrusionOk="0">
                  <a:moveTo>
                    <a:pt x="1" y="943"/>
                  </a:moveTo>
                  <a:lnTo>
                    <a:pt x="3220" y="347"/>
                  </a:lnTo>
                  <a:lnTo>
                    <a:pt x="3553" y="0"/>
                  </a:lnTo>
                  <a:lnTo>
                    <a:pt x="353" y="57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 name="Google Shape;208;p23"/>
            <p:cNvSpPr/>
            <p:nvPr/>
          </p:nvSpPr>
          <p:spPr>
            <a:xfrm>
              <a:off x="2872750" y="2554825"/>
              <a:ext cx="90000" cy="24650"/>
            </a:xfrm>
            <a:custGeom>
              <a:avLst/>
              <a:gdLst/>
              <a:ahLst/>
              <a:cxnLst/>
              <a:rect l="l" t="t" r="r" b="b"/>
              <a:pathLst>
                <a:path w="3600" h="986" extrusionOk="0">
                  <a:moveTo>
                    <a:pt x="0" y="986"/>
                  </a:moveTo>
                  <a:lnTo>
                    <a:pt x="3265" y="349"/>
                  </a:lnTo>
                  <a:lnTo>
                    <a:pt x="3600" y="1"/>
                  </a:lnTo>
                  <a:lnTo>
                    <a:pt x="355" y="61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 name="Google Shape;209;p23"/>
            <p:cNvSpPr/>
            <p:nvPr/>
          </p:nvSpPr>
          <p:spPr>
            <a:xfrm>
              <a:off x="2853900" y="2574000"/>
              <a:ext cx="90550" cy="25600"/>
            </a:xfrm>
            <a:custGeom>
              <a:avLst/>
              <a:gdLst/>
              <a:ahLst/>
              <a:cxnLst/>
              <a:rect l="l" t="t" r="r" b="b"/>
              <a:pathLst>
                <a:path w="3622" h="1024" extrusionOk="0">
                  <a:moveTo>
                    <a:pt x="0" y="1023"/>
                  </a:moveTo>
                  <a:lnTo>
                    <a:pt x="3310" y="346"/>
                  </a:lnTo>
                  <a:lnTo>
                    <a:pt x="3622" y="1"/>
                  </a:lnTo>
                  <a:lnTo>
                    <a:pt x="333" y="65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 name="Google Shape;210;p23"/>
            <p:cNvSpPr/>
            <p:nvPr/>
          </p:nvSpPr>
          <p:spPr>
            <a:xfrm>
              <a:off x="2835500" y="2593000"/>
              <a:ext cx="91750" cy="26700"/>
            </a:xfrm>
            <a:custGeom>
              <a:avLst/>
              <a:gdLst/>
              <a:ahLst/>
              <a:cxnLst/>
              <a:rect l="l" t="t" r="r" b="b"/>
              <a:pathLst>
                <a:path w="3670" h="1068" extrusionOk="0">
                  <a:moveTo>
                    <a:pt x="0" y="1068"/>
                  </a:moveTo>
                  <a:lnTo>
                    <a:pt x="3355" y="348"/>
                  </a:lnTo>
                  <a:lnTo>
                    <a:pt x="3669" y="1"/>
                  </a:lnTo>
                  <a:lnTo>
                    <a:pt x="335" y="70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 name="Google Shape;211;p23"/>
            <p:cNvSpPr/>
            <p:nvPr/>
          </p:nvSpPr>
          <p:spPr>
            <a:xfrm>
              <a:off x="2817000" y="2612125"/>
              <a:ext cx="92925" cy="27775"/>
            </a:xfrm>
            <a:custGeom>
              <a:avLst/>
              <a:gdLst/>
              <a:ahLst/>
              <a:cxnLst/>
              <a:rect l="l" t="t" r="r" b="b"/>
              <a:pathLst>
                <a:path w="3717" h="1111" extrusionOk="0">
                  <a:moveTo>
                    <a:pt x="1" y="1110"/>
                  </a:moveTo>
                  <a:lnTo>
                    <a:pt x="3399" y="350"/>
                  </a:lnTo>
                  <a:lnTo>
                    <a:pt x="3716" y="0"/>
                  </a:lnTo>
                  <a:lnTo>
                    <a:pt x="338" y="74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 name="Google Shape;212;p23"/>
            <p:cNvSpPr/>
            <p:nvPr/>
          </p:nvSpPr>
          <p:spPr>
            <a:xfrm>
              <a:off x="2799300" y="2631300"/>
              <a:ext cx="93450" cy="28700"/>
            </a:xfrm>
            <a:custGeom>
              <a:avLst/>
              <a:gdLst/>
              <a:ahLst/>
              <a:cxnLst/>
              <a:rect l="l" t="t" r="r" b="b"/>
              <a:pathLst>
                <a:path w="3738" h="1148" extrusionOk="0">
                  <a:moveTo>
                    <a:pt x="0" y="1148"/>
                  </a:moveTo>
                  <a:lnTo>
                    <a:pt x="3444" y="345"/>
                  </a:lnTo>
                  <a:lnTo>
                    <a:pt x="3738" y="0"/>
                  </a:lnTo>
                  <a:lnTo>
                    <a:pt x="314" y="784"/>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 name="Google Shape;213;p23"/>
            <p:cNvSpPr/>
            <p:nvPr/>
          </p:nvSpPr>
          <p:spPr>
            <a:xfrm>
              <a:off x="2781975" y="2650300"/>
              <a:ext cx="94575" cy="29825"/>
            </a:xfrm>
            <a:custGeom>
              <a:avLst/>
              <a:gdLst/>
              <a:ahLst/>
              <a:cxnLst/>
              <a:rect l="l" t="t" r="r" b="b"/>
              <a:pathLst>
                <a:path w="3783" h="1193" extrusionOk="0">
                  <a:moveTo>
                    <a:pt x="0" y="1192"/>
                  </a:moveTo>
                  <a:lnTo>
                    <a:pt x="3487" y="347"/>
                  </a:lnTo>
                  <a:lnTo>
                    <a:pt x="3783" y="0"/>
                  </a:lnTo>
                  <a:lnTo>
                    <a:pt x="316" y="82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 name="Google Shape;214;p23"/>
            <p:cNvSpPr/>
            <p:nvPr/>
          </p:nvSpPr>
          <p:spPr>
            <a:xfrm>
              <a:off x="2764525" y="2669400"/>
              <a:ext cx="95725" cy="30950"/>
            </a:xfrm>
            <a:custGeom>
              <a:avLst/>
              <a:gdLst/>
              <a:ahLst/>
              <a:cxnLst/>
              <a:rect l="l" t="t" r="r" b="b"/>
              <a:pathLst>
                <a:path w="3829" h="1238" extrusionOk="0">
                  <a:moveTo>
                    <a:pt x="0" y="1237"/>
                  </a:moveTo>
                  <a:lnTo>
                    <a:pt x="3530" y="349"/>
                  </a:lnTo>
                  <a:lnTo>
                    <a:pt x="3828" y="1"/>
                  </a:lnTo>
                  <a:lnTo>
                    <a:pt x="318" y="86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 name="Google Shape;215;p23"/>
            <p:cNvSpPr/>
            <p:nvPr/>
          </p:nvSpPr>
          <p:spPr>
            <a:xfrm>
              <a:off x="2748050" y="2688500"/>
              <a:ext cx="96200" cy="31900"/>
            </a:xfrm>
            <a:custGeom>
              <a:avLst/>
              <a:gdLst/>
              <a:ahLst/>
              <a:cxnLst/>
              <a:rect l="l" t="t" r="r" b="b"/>
              <a:pathLst>
                <a:path w="3848" h="1276" extrusionOk="0">
                  <a:moveTo>
                    <a:pt x="1" y="1276"/>
                  </a:moveTo>
                  <a:lnTo>
                    <a:pt x="3574" y="345"/>
                  </a:lnTo>
                  <a:lnTo>
                    <a:pt x="3848" y="0"/>
                  </a:lnTo>
                  <a:lnTo>
                    <a:pt x="295" y="91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 name="Google Shape;216;p23"/>
            <p:cNvSpPr/>
            <p:nvPr/>
          </p:nvSpPr>
          <p:spPr>
            <a:xfrm>
              <a:off x="2731825" y="2707475"/>
              <a:ext cx="97325" cy="33025"/>
            </a:xfrm>
            <a:custGeom>
              <a:avLst/>
              <a:gdLst/>
              <a:ahLst/>
              <a:cxnLst/>
              <a:rect l="l" t="t" r="r" b="b"/>
              <a:pathLst>
                <a:path w="3893" h="1321" extrusionOk="0">
                  <a:moveTo>
                    <a:pt x="0" y="1320"/>
                  </a:moveTo>
                  <a:lnTo>
                    <a:pt x="3615" y="347"/>
                  </a:lnTo>
                  <a:lnTo>
                    <a:pt x="3892" y="1"/>
                  </a:lnTo>
                  <a:lnTo>
                    <a:pt x="296" y="954"/>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 name="Google Shape;217;p23"/>
            <p:cNvSpPr/>
            <p:nvPr/>
          </p:nvSpPr>
          <p:spPr>
            <a:xfrm>
              <a:off x="2715500" y="2726575"/>
              <a:ext cx="98400" cy="34125"/>
            </a:xfrm>
            <a:custGeom>
              <a:avLst/>
              <a:gdLst/>
              <a:ahLst/>
              <a:cxnLst/>
              <a:rect l="l" t="t" r="r" b="b"/>
              <a:pathLst>
                <a:path w="3936" h="1365" extrusionOk="0">
                  <a:moveTo>
                    <a:pt x="0" y="1365"/>
                  </a:moveTo>
                  <a:lnTo>
                    <a:pt x="3657" y="348"/>
                  </a:lnTo>
                  <a:lnTo>
                    <a:pt x="3936" y="0"/>
                  </a:lnTo>
                  <a:lnTo>
                    <a:pt x="297" y="99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218;p23"/>
            <p:cNvSpPr/>
            <p:nvPr/>
          </p:nvSpPr>
          <p:spPr>
            <a:xfrm>
              <a:off x="2700350" y="2745575"/>
              <a:ext cx="98875" cy="35100"/>
            </a:xfrm>
            <a:custGeom>
              <a:avLst/>
              <a:gdLst/>
              <a:ahLst/>
              <a:cxnLst/>
              <a:rect l="l" t="t" r="r" b="b"/>
              <a:pathLst>
                <a:path w="3955" h="1404" extrusionOk="0">
                  <a:moveTo>
                    <a:pt x="1" y="1403"/>
                  </a:moveTo>
                  <a:lnTo>
                    <a:pt x="3699" y="343"/>
                  </a:lnTo>
                  <a:lnTo>
                    <a:pt x="3954" y="0"/>
                  </a:lnTo>
                  <a:lnTo>
                    <a:pt x="274" y="104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219;p23"/>
            <p:cNvSpPr/>
            <p:nvPr/>
          </p:nvSpPr>
          <p:spPr>
            <a:xfrm>
              <a:off x="2685275" y="2764450"/>
              <a:ext cx="99900" cy="36250"/>
            </a:xfrm>
            <a:custGeom>
              <a:avLst/>
              <a:gdLst/>
              <a:ahLst/>
              <a:cxnLst/>
              <a:rect l="l" t="t" r="r" b="b"/>
              <a:pathLst>
                <a:path w="3996" h="1450" extrusionOk="0">
                  <a:moveTo>
                    <a:pt x="0" y="1449"/>
                  </a:moveTo>
                  <a:lnTo>
                    <a:pt x="3740" y="346"/>
                  </a:lnTo>
                  <a:lnTo>
                    <a:pt x="3996" y="0"/>
                  </a:lnTo>
                  <a:lnTo>
                    <a:pt x="275" y="1084"/>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220;p23"/>
            <p:cNvSpPr/>
            <p:nvPr/>
          </p:nvSpPr>
          <p:spPr>
            <a:xfrm>
              <a:off x="2642500" y="2821125"/>
              <a:ext cx="102350" cy="39500"/>
            </a:xfrm>
            <a:custGeom>
              <a:avLst/>
              <a:gdLst/>
              <a:ahLst/>
              <a:cxnLst/>
              <a:rect l="l" t="t" r="r" b="b"/>
              <a:pathLst>
                <a:path w="4094" h="1580" extrusionOk="0">
                  <a:moveTo>
                    <a:pt x="4093" y="1"/>
                  </a:moveTo>
                  <a:lnTo>
                    <a:pt x="253" y="1216"/>
                  </a:lnTo>
                  <a:lnTo>
                    <a:pt x="0" y="1579"/>
                  </a:lnTo>
                  <a:lnTo>
                    <a:pt x="3859" y="344"/>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 name="Google Shape;221;p23"/>
            <p:cNvSpPr/>
            <p:nvPr/>
          </p:nvSpPr>
          <p:spPr>
            <a:xfrm>
              <a:off x="2628825" y="2840025"/>
              <a:ext cx="103075" cy="40575"/>
            </a:xfrm>
            <a:custGeom>
              <a:avLst/>
              <a:gdLst/>
              <a:ahLst/>
              <a:cxnLst/>
              <a:rect l="l" t="t" r="r" b="b"/>
              <a:pathLst>
                <a:path w="4123" h="1623" extrusionOk="0">
                  <a:moveTo>
                    <a:pt x="4122" y="1"/>
                  </a:moveTo>
                  <a:lnTo>
                    <a:pt x="243" y="1261"/>
                  </a:lnTo>
                  <a:cubicBezTo>
                    <a:pt x="155" y="1383"/>
                    <a:pt x="73" y="1505"/>
                    <a:pt x="1" y="1623"/>
                  </a:cubicBezTo>
                  <a:lnTo>
                    <a:pt x="3898" y="343"/>
                  </a:lnTo>
                  <a:cubicBezTo>
                    <a:pt x="3964" y="231"/>
                    <a:pt x="4041" y="117"/>
                    <a:pt x="4122" y="1"/>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 name="Google Shape;222;p23"/>
            <p:cNvSpPr/>
            <p:nvPr/>
          </p:nvSpPr>
          <p:spPr>
            <a:xfrm>
              <a:off x="2616300" y="2858700"/>
              <a:ext cx="103675" cy="41600"/>
            </a:xfrm>
            <a:custGeom>
              <a:avLst/>
              <a:gdLst/>
              <a:ahLst/>
              <a:cxnLst/>
              <a:rect l="l" t="t" r="r" b="b"/>
              <a:pathLst>
                <a:path w="4147" h="1664" extrusionOk="0">
                  <a:moveTo>
                    <a:pt x="4146" y="0"/>
                  </a:moveTo>
                  <a:lnTo>
                    <a:pt x="229" y="1305"/>
                  </a:lnTo>
                  <a:lnTo>
                    <a:pt x="0" y="1663"/>
                  </a:lnTo>
                  <a:lnTo>
                    <a:pt x="3936" y="34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 name="Google Shape;223;p23"/>
            <p:cNvSpPr/>
            <p:nvPr/>
          </p:nvSpPr>
          <p:spPr>
            <a:xfrm>
              <a:off x="2603650" y="2877375"/>
              <a:ext cx="104650" cy="42775"/>
            </a:xfrm>
            <a:custGeom>
              <a:avLst/>
              <a:gdLst/>
              <a:ahLst/>
              <a:cxnLst/>
              <a:rect l="l" t="t" r="r" b="b"/>
              <a:pathLst>
                <a:path w="4186" h="1711" extrusionOk="0">
                  <a:moveTo>
                    <a:pt x="4186" y="0"/>
                  </a:moveTo>
                  <a:lnTo>
                    <a:pt x="230" y="1349"/>
                  </a:lnTo>
                  <a:lnTo>
                    <a:pt x="1" y="1710"/>
                  </a:lnTo>
                  <a:lnTo>
                    <a:pt x="3973" y="34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 name="Google Shape;224;p23"/>
            <p:cNvSpPr/>
            <p:nvPr/>
          </p:nvSpPr>
          <p:spPr>
            <a:xfrm>
              <a:off x="2591525" y="2896125"/>
              <a:ext cx="105050" cy="43775"/>
            </a:xfrm>
            <a:custGeom>
              <a:avLst/>
              <a:gdLst/>
              <a:ahLst/>
              <a:cxnLst/>
              <a:rect l="l" t="t" r="r" b="b"/>
              <a:pathLst>
                <a:path w="4202" h="1751" extrusionOk="0">
                  <a:moveTo>
                    <a:pt x="4201" y="1"/>
                  </a:moveTo>
                  <a:lnTo>
                    <a:pt x="208" y="1395"/>
                  </a:lnTo>
                  <a:lnTo>
                    <a:pt x="0" y="1750"/>
                  </a:lnTo>
                  <a:lnTo>
                    <a:pt x="4009" y="337"/>
                  </a:lnTo>
                  <a:cubicBezTo>
                    <a:pt x="4074" y="224"/>
                    <a:pt x="4131" y="116"/>
                    <a:pt x="4201" y="1"/>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 name="Google Shape;225;p23"/>
            <p:cNvSpPr/>
            <p:nvPr/>
          </p:nvSpPr>
          <p:spPr>
            <a:xfrm>
              <a:off x="2580275" y="2914550"/>
              <a:ext cx="105875" cy="44875"/>
            </a:xfrm>
            <a:custGeom>
              <a:avLst/>
              <a:gdLst/>
              <a:ahLst/>
              <a:cxnLst/>
              <a:rect l="l" t="t" r="r" b="b"/>
              <a:pathLst>
                <a:path w="4235" h="1795" extrusionOk="0">
                  <a:moveTo>
                    <a:pt x="4234" y="0"/>
                  </a:moveTo>
                  <a:lnTo>
                    <a:pt x="205" y="1438"/>
                  </a:lnTo>
                  <a:lnTo>
                    <a:pt x="1" y="1794"/>
                  </a:lnTo>
                  <a:lnTo>
                    <a:pt x="4046" y="33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3" name="Google Shape;226;p23"/>
            <p:cNvSpPr/>
            <p:nvPr/>
          </p:nvSpPr>
          <p:spPr>
            <a:xfrm>
              <a:off x="2568925" y="2933025"/>
              <a:ext cx="106825" cy="46075"/>
            </a:xfrm>
            <a:custGeom>
              <a:avLst/>
              <a:gdLst/>
              <a:ahLst/>
              <a:cxnLst/>
              <a:rect l="l" t="t" r="r" b="b"/>
              <a:pathLst>
                <a:path w="4273" h="1843" extrusionOk="0">
                  <a:moveTo>
                    <a:pt x="4272" y="0"/>
                  </a:moveTo>
                  <a:lnTo>
                    <a:pt x="207" y="1484"/>
                  </a:lnTo>
                  <a:lnTo>
                    <a:pt x="1" y="1842"/>
                  </a:lnTo>
                  <a:lnTo>
                    <a:pt x="4082" y="33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4" name="Google Shape;227;p23"/>
            <p:cNvSpPr/>
            <p:nvPr/>
          </p:nvSpPr>
          <p:spPr>
            <a:xfrm>
              <a:off x="2558425" y="2951575"/>
              <a:ext cx="106975" cy="47000"/>
            </a:xfrm>
            <a:custGeom>
              <a:avLst/>
              <a:gdLst/>
              <a:ahLst/>
              <a:cxnLst/>
              <a:rect l="l" t="t" r="r" b="b"/>
              <a:pathLst>
                <a:path w="4279" h="1880" extrusionOk="0">
                  <a:moveTo>
                    <a:pt x="4278" y="1"/>
                  </a:moveTo>
                  <a:lnTo>
                    <a:pt x="180" y="1529"/>
                  </a:lnTo>
                  <a:lnTo>
                    <a:pt x="1" y="1879"/>
                  </a:lnTo>
                  <a:lnTo>
                    <a:pt x="4115" y="33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228;p23"/>
            <p:cNvSpPr/>
            <p:nvPr/>
          </p:nvSpPr>
          <p:spPr>
            <a:xfrm>
              <a:off x="2548525" y="2969725"/>
              <a:ext cx="107875" cy="48175"/>
            </a:xfrm>
            <a:custGeom>
              <a:avLst/>
              <a:gdLst/>
              <a:ahLst/>
              <a:cxnLst/>
              <a:rect l="l" t="t" r="r" b="b"/>
              <a:pathLst>
                <a:path w="4315" h="1927" extrusionOk="0">
                  <a:moveTo>
                    <a:pt x="4314" y="0"/>
                  </a:moveTo>
                  <a:lnTo>
                    <a:pt x="181" y="1575"/>
                  </a:lnTo>
                  <a:lnTo>
                    <a:pt x="1" y="1926"/>
                  </a:lnTo>
                  <a:lnTo>
                    <a:pt x="4149" y="33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229;p23"/>
            <p:cNvSpPr/>
            <p:nvPr/>
          </p:nvSpPr>
          <p:spPr>
            <a:xfrm>
              <a:off x="2538550" y="2988025"/>
              <a:ext cx="108725" cy="49350"/>
            </a:xfrm>
            <a:custGeom>
              <a:avLst/>
              <a:gdLst/>
              <a:ahLst/>
              <a:cxnLst/>
              <a:rect l="l" t="t" r="r" b="b"/>
              <a:pathLst>
                <a:path w="4349" h="1974" extrusionOk="0">
                  <a:moveTo>
                    <a:pt x="4349" y="0"/>
                  </a:moveTo>
                  <a:lnTo>
                    <a:pt x="182" y="1619"/>
                  </a:lnTo>
                  <a:lnTo>
                    <a:pt x="1" y="1974"/>
                  </a:lnTo>
                  <a:lnTo>
                    <a:pt x="4181" y="334"/>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230;p23"/>
            <p:cNvSpPr/>
            <p:nvPr/>
          </p:nvSpPr>
          <p:spPr>
            <a:xfrm>
              <a:off x="2529725" y="3006200"/>
              <a:ext cx="108850" cy="50300"/>
            </a:xfrm>
            <a:custGeom>
              <a:avLst/>
              <a:gdLst/>
              <a:ahLst/>
              <a:cxnLst/>
              <a:rect l="l" t="t" r="r" b="b"/>
              <a:pathLst>
                <a:path w="4354" h="2012" extrusionOk="0">
                  <a:moveTo>
                    <a:pt x="4353" y="1"/>
                  </a:moveTo>
                  <a:lnTo>
                    <a:pt x="155" y="1666"/>
                  </a:lnTo>
                  <a:lnTo>
                    <a:pt x="1" y="2011"/>
                  </a:lnTo>
                  <a:lnTo>
                    <a:pt x="4214" y="32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231;p23"/>
            <p:cNvSpPr/>
            <p:nvPr/>
          </p:nvSpPr>
          <p:spPr>
            <a:xfrm>
              <a:off x="2521225" y="3024100"/>
              <a:ext cx="109650" cy="51475"/>
            </a:xfrm>
            <a:custGeom>
              <a:avLst/>
              <a:gdLst/>
              <a:ahLst/>
              <a:cxnLst/>
              <a:rect l="l" t="t" r="r" b="b"/>
              <a:pathLst>
                <a:path w="4386" h="2059" extrusionOk="0">
                  <a:moveTo>
                    <a:pt x="1" y="2059"/>
                  </a:moveTo>
                  <a:lnTo>
                    <a:pt x="4245" y="328"/>
                  </a:lnTo>
                  <a:lnTo>
                    <a:pt x="4386" y="1"/>
                  </a:lnTo>
                  <a:lnTo>
                    <a:pt x="156" y="171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 name="Google Shape;232;p23"/>
            <p:cNvSpPr/>
            <p:nvPr/>
          </p:nvSpPr>
          <p:spPr>
            <a:xfrm>
              <a:off x="2512650" y="3042150"/>
              <a:ext cx="110475" cy="52650"/>
            </a:xfrm>
            <a:custGeom>
              <a:avLst/>
              <a:gdLst/>
              <a:ahLst/>
              <a:cxnLst/>
              <a:rect l="l" t="t" r="r" b="b"/>
              <a:pathLst>
                <a:path w="4419" h="2106" extrusionOk="0">
                  <a:moveTo>
                    <a:pt x="0" y="2105"/>
                  </a:moveTo>
                  <a:lnTo>
                    <a:pt x="4275" y="330"/>
                  </a:lnTo>
                  <a:lnTo>
                    <a:pt x="4418" y="0"/>
                  </a:lnTo>
                  <a:lnTo>
                    <a:pt x="156" y="175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 name="Google Shape;233;p23"/>
            <p:cNvSpPr/>
            <p:nvPr/>
          </p:nvSpPr>
          <p:spPr>
            <a:xfrm>
              <a:off x="2505600" y="3059975"/>
              <a:ext cx="110475" cy="53550"/>
            </a:xfrm>
            <a:custGeom>
              <a:avLst/>
              <a:gdLst/>
              <a:ahLst/>
              <a:cxnLst/>
              <a:rect l="l" t="t" r="r" b="b"/>
              <a:pathLst>
                <a:path w="4419" h="2142" extrusionOk="0">
                  <a:moveTo>
                    <a:pt x="0" y="2141"/>
                  </a:moveTo>
                  <a:lnTo>
                    <a:pt x="4305" y="319"/>
                  </a:lnTo>
                  <a:lnTo>
                    <a:pt x="4419" y="0"/>
                  </a:lnTo>
                  <a:lnTo>
                    <a:pt x="128" y="180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234;p23"/>
            <p:cNvSpPr/>
            <p:nvPr/>
          </p:nvSpPr>
          <p:spPr>
            <a:xfrm>
              <a:off x="2498550" y="3077575"/>
              <a:ext cx="111250" cy="54725"/>
            </a:xfrm>
            <a:custGeom>
              <a:avLst/>
              <a:gdLst/>
              <a:ahLst/>
              <a:cxnLst/>
              <a:rect l="l" t="t" r="r" b="b"/>
              <a:pathLst>
                <a:path w="4450" h="2189" extrusionOk="0">
                  <a:moveTo>
                    <a:pt x="0" y="2189"/>
                  </a:moveTo>
                  <a:lnTo>
                    <a:pt x="4333" y="322"/>
                  </a:lnTo>
                  <a:lnTo>
                    <a:pt x="4449" y="1"/>
                  </a:lnTo>
                  <a:lnTo>
                    <a:pt x="128" y="184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 name="Google Shape;235;p23"/>
            <p:cNvSpPr/>
            <p:nvPr/>
          </p:nvSpPr>
          <p:spPr>
            <a:xfrm>
              <a:off x="2491725" y="3095325"/>
              <a:ext cx="111700" cy="55800"/>
            </a:xfrm>
            <a:custGeom>
              <a:avLst/>
              <a:gdLst/>
              <a:ahLst/>
              <a:cxnLst/>
              <a:rect l="l" t="t" r="r" b="b"/>
              <a:pathLst>
                <a:path w="4468" h="2232" extrusionOk="0">
                  <a:moveTo>
                    <a:pt x="0" y="2232"/>
                  </a:moveTo>
                  <a:lnTo>
                    <a:pt x="4361" y="319"/>
                  </a:lnTo>
                  <a:cubicBezTo>
                    <a:pt x="4386" y="217"/>
                    <a:pt x="4428" y="108"/>
                    <a:pt x="4467" y="0"/>
                  </a:cubicBezTo>
                  <a:lnTo>
                    <a:pt x="118" y="1892"/>
                  </a:lnTo>
                  <a:cubicBezTo>
                    <a:pt x="76" y="2007"/>
                    <a:pt x="29" y="2123"/>
                    <a:pt x="0" y="2232"/>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 name="Google Shape;236;p23"/>
            <p:cNvSpPr/>
            <p:nvPr/>
          </p:nvSpPr>
          <p:spPr>
            <a:xfrm>
              <a:off x="2486225" y="3112675"/>
              <a:ext cx="111900" cy="56800"/>
            </a:xfrm>
            <a:custGeom>
              <a:avLst/>
              <a:gdLst/>
              <a:ahLst/>
              <a:cxnLst/>
              <a:rect l="l" t="t" r="r" b="b"/>
              <a:pathLst>
                <a:path w="4476" h="2272" extrusionOk="0">
                  <a:moveTo>
                    <a:pt x="0" y="2272"/>
                  </a:moveTo>
                  <a:lnTo>
                    <a:pt x="4387" y="313"/>
                  </a:lnTo>
                  <a:lnTo>
                    <a:pt x="4476" y="0"/>
                  </a:lnTo>
                  <a:lnTo>
                    <a:pt x="100" y="193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237;p23"/>
            <p:cNvSpPr/>
            <p:nvPr/>
          </p:nvSpPr>
          <p:spPr>
            <a:xfrm>
              <a:off x="2480650" y="3129950"/>
              <a:ext cx="112600" cy="58000"/>
            </a:xfrm>
            <a:custGeom>
              <a:avLst/>
              <a:gdLst/>
              <a:ahLst/>
              <a:cxnLst/>
              <a:rect l="l" t="t" r="r" b="b"/>
              <a:pathLst>
                <a:path w="4504" h="2320" extrusionOk="0">
                  <a:moveTo>
                    <a:pt x="1" y="2319"/>
                  </a:moveTo>
                  <a:lnTo>
                    <a:pt x="4414" y="316"/>
                  </a:lnTo>
                  <a:lnTo>
                    <a:pt x="4504" y="0"/>
                  </a:lnTo>
                  <a:lnTo>
                    <a:pt x="102" y="198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 name="Google Shape;238;p23"/>
            <p:cNvSpPr/>
            <p:nvPr/>
          </p:nvSpPr>
          <p:spPr>
            <a:xfrm>
              <a:off x="2475725" y="3147350"/>
              <a:ext cx="112600" cy="58900"/>
            </a:xfrm>
            <a:custGeom>
              <a:avLst/>
              <a:gdLst/>
              <a:ahLst/>
              <a:cxnLst/>
              <a:rect l="l" t="t" r="r" b="b"/>
              <a:pathLst>
                <a:path w="4504" h="2356" extrusionOk="0">
                  <a:moveTo>
                    <a:pt x="0" y="2356"/>
                  </a:moveTo>
                  <a:lnTo>
                    <a:pt x="4438" y="307"/>
                  </a:lnTo>
                  <a:cubicBezTo>
                    <a:pt x="4461" y="205"/>
                    <a:pt x="4472" y="107"/>
                    <a:pt x="4504" y="0"/>
                  </a:cubicBezTo>
                  <a:lnTo>
                    <a:pt x="77" y="2028"/>
                  </a:lnTo>
                  <a:cubicBezTo>
                    <a:pt x="42" y="2142"/>
                    <a:pt x="26" y="2246"/>
                    <a:pt x="0" y="2356"/>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 name="Google Shape;239;p23"/>
            <p:cNvSpPr/>
            <p:nvPr/>
          </p:nvSpPr>
          <p:spPr>
            <a:xfrm>
              <a:off x="2473400" y="3157300"/>
              <a:ext cx="112825" cy="59550"/>
            </a:xfrm>
            <a:custGeom>
              <a:avLst/>
              <a:gdLst/>
              <a:ahLst/>
              <a:cxnLst/>
              <a:rect l="l" t="t" r="r" b="b"/>
              <a:pathLst>
                <a:path w="4513" h="2382" extrusionOk="0">
                  <a:moveTo>
                    <a:pt x="0" y="2381"/>
                  </a:moveTo>
                  <a:lnTo>
                    <a:pt x="4453" y="306"/>
                  </a:lnTo>
                  <a:lnTo>
                    <a:pt x="4513" y="0"/>
                  </a:lnTo>
                  <a:lnTo>
                    <a:pt x="72" y="205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 name="Google Shape;240;p23"/>
            <p:cNvSpPr/>
            <p:nvPr/>
          </p:nvSpPr>
          <p:spPr>
            <a:xfrm>
              <a:off x="2469425" y="3174125"/>
              <a:ext cx="113450" cy="60775"/>
            </a:xfrm>
            <a:custGeom>
              <a:avLst/>
              <a:gdLst/>
              <a:ahLst/>
              <a:cxnLst/>
              <a:rect l="l" t="t" r="r" b="b"/>
              <a:pathLst>
                <a:path w="4538" h="2431" extrusionOk="0">
                  <a:moveTo>
                    <a:pt x="0" y="2431"/>
                  </a:moveTo>
                  <a:lnTo>
                    <a:pt x="4476" y="309"/>
                  </a:lnTo>
                  <a:lnTo>
                    <a:pt x="4538" y="0"/>
                  </a:lnTo>
                  <a:lnTo>
                    <a:pt x="73" y="210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241;p23"/>
            <p:cNvSpPr/>
            <p:nvPr/>
          </p:nvSpPr>
          <p:spPr>
            <a:xfrm>
              <a:off x="2465725" y="3191100"/>
              <a:ext cx="113750" cy="61825"/>
            </a:xfrm>
            <a:custGeom>
              <a:avLst/>
              <a:gdLst/>
              <a:ahLst/>
              <a:cxnLst/>
              <a:rect l="l" t="t" r="r" b="b"/>
              <a:pathLst>
                <a:path w="4550" h="2473" extrusionOk="0">
                  <a:moveTo>
                    <a:pt x="1" y="2472"/>
                  </a:moveTo>
                  <a:lnTo>
                    <a:pt x="4497" y="305"/>
                  </a:lnTo>
                  <a:cubicBezTo>
                    <a:pt x="4504" y="209"/>
                    <a:pt x="4528" y="104"/>
                    <a:pt x="4549" y="0"/>
                  </a:cubicBezTo>
                  <a:lnTo>
                    <a:pt x="62" y="2147"/>
                  </a:lnTo>
                  <a:cubicBezTo>
                    <a:pt x="38" y="2257"/>
                    <a:pt x="10" y="2369"/>
                    <a:pt x="1" y="2472"/>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 name="Google Shape;242;p23"/>
            <p:cNvSpPr/>
            <p:nvPr/>
          </p:nvSpPr>
          <p:spPr>
            <a:xfrm>
              <a:off x="2463425" y="3207600"/>
              <a:ext cx="113800" cy="62800"/>
            </a:xfrm>
            <a:custGeom>
              <a:avLst/>
              <a:gdLst/>
              <a:ahLst/>
              <a:cxnLst/>
              <a:rect l="l" t="t" r="r" b="b"/>
              <a:pathLst>
                <a:path w="4552" h="2512" extrusionOk="0">
                  <a:moveTo>
                    <a:pt x="0" y="2511"/>
                  </a:moveTo>
                  <a:lnTo>
                    <a:pt x="4519" y="299"/>
                  </a:lnTo>
                  <a:lnTo>
                    <a:pt x="4552" y="1"/>
                  </a:lnTo>
                  <a:lnTo>
                    <a:pt x="42" y="219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 name="Google Shape;243;p23"/>
            <p:cNvSpPr/>
            <p:nvPr/>
          </p:nvSpPr>
          <p:spPr>
            <a:xfrm>
              <a:off x="2461075" y="3224025"/>
              <a:ext cx="114325" cy="63950"/>
            </a:xfrm>
            <a:custGeom>
              <a:avLst/>
              <a:gdLst/>
              <a:ahLst/>
              <a:cxnLst/>
              <a:rect l="l" t="t" r="r" b="b"/>
              <a:pathLst>
                <a:path w="4573" h="2558" extrusionOk="0">
                  <a:moveTo>
                    <a:pt x="1" y="2558"/>
                  </a:moveTo>
                  <a:lnTo>
                    <a:pt x="4538" y="300"/>
                  </a:lnTo>
                  <a:lnTo>
                    <a:pt x="4573" y="1"/>
                  </a:lnTo>
                  <a:lnTo>
                    <a:pt x="44" y="223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 name="Google Shape;244;p23"/>
            <p:cNvSpPr/>
            <p:nvPr/>
          </p:nvSpPr>
          <p:spPr>
            <a:xfrm>
              <a:off x="2459375" y="3240575"/>
              <a:ext cx="114150" cy="64800"/>
            </a:xfrm>
            <a:custGeom>
              <a:avLst/>
              <a:gdLst/>
              <a:ahLst/>
              <a:cxnLst/>
              <a:rect l="l" t="t" r="r" b="b"/>
              <a:pathLst>
                <a:path w="4566" h="2592" extrusionOk="0">
                  <a:moveTo>
                    <a:pt x="4565" y="0"/>
                  </a:moveTo>
                  <a:lnTo>
                    <a:pt x="17" y="2282"/>
                  </a:lnTo>
                  <a:cubicBezTo>
                    <a:pt x="3" y="2390"/>
                    <a:pt x="6" y="2489"/>
                    <a:pt x="0" y="2592"/>
                  </a:cubicBezTo>
                  <a:lnTo>
                    <a:pt x="4557" y="289"/>
                  </a:lnTo>
                  <a:cubicBezTo>
                    <a:pt x="4561" y="192"/>
                    <a:pt x="4555" y="100"/>
                    <a:pt x="4565" y="0"/>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 name="Google Shape;245;p23"/>
            <p:cNvSpPr/>
            <p:nvPr/>
          </p:nvSpPr>
          <p:spPr>
            <a:xfrm>
              <a:off x="2458725" y="3256425"/>
              <a:ext cx="114475" cy="65950"/>
            </a:xfrm>
            <a:custGeom>
              <a:avLst/>
              <a:gdLst/>
              <a:ahLst/>
              <a:cxnLst/>
              <a:rect l="l" t="t" r="r" b="b"/>
              <a:pathLst>
                <a:path w="4579" h="2638" extrusionOk="0">
                  <a:moveTo>
                    <a:pt x="4578" y="0"/>
                  </a:moveTo>
                  <a:lnTo>
                    <a:pt x="12" y="2328"/>
                  </a:lnTo>
                  <a:lnTo>
                    <a:pt x="1" y="2637"/>
                  </a:lnTo>
                  <a:lnTo>
                    <a:pt x="4574" y="28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 name="Google Shape;246;p23"/>
            <p:cNvSpPr/>
            <p:nvPr/>
          </p:nvSpPr>
          <p:spPr>
            <a:xfrm>
              <a:off x="2458050" y="3272350"/>
              <a:ext cx="114900" cy="67125"/>
            </a:xfrm>
            <a:custGeom>
              <a:avLst/>
              <a:gdLst/>
              <a:ahLst/>
              <a:cxnLst/>
              <a:rect l="l" t="t" r="r" b="b"/>
              <a:pathLst>
                <a:path w="4596" h="2685" extrusionOk="0">
                  <a:moveTo>
                    <a:pt x="4596" y="0"/>
                  </a:moveTo>
                  <a:lnTo>
                    <a:pt x="13" y="2373"/>
                  </a:lnTo>
                  <a:lnTo>
                    <a:pt x="0" y="2685"/>
                  </a:lnTo>
                  <a:lnTo>
                    <a:pt x="4592" y="29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 name="Google Shape;247;p23"/>
            <p:cNvSpPr/>
            <p:nvPr/>
          </p:nvSpPr>
          <p:spPr>
            <a:xfrm>
              <a:off x="2457950" y="3288275"/>
              <a:ext cx="115650" cy="67925"/>
            </a:xfrm>
            <a:custGeom>
              <a:avLst/>
              <a:gdLst/>
              <a:ahLst/>
              <a:cxnLst/>
              <a:rect l="l" t="t" r="r" b="b"/>
              <a:pathLst>
                <a:path w="4626" h="2717" extrusionOk="0">
                  <a:moveTo>
                    <a:pt x="4599" y="0"/>
                  </a:moveTo>
                  <a:lnTo>
                    <a:pt x="0" y="2418"/>
                  </a:lnTo>
                  <a:lnTo>
                    <a:pt x="19" y="2716"/>
                  </a:lnTo>
                  <a:lnTo>
                    <a:pt x="4625" y="27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 name="Google Shape;248;p23"/>
            <p:cNvSpPr/>
            <p:nvPr/>
          </p:nvSpPr>
          <p:spPr>
            <a:xfrm>
              <a:off x="2459025" y="3303550"/>
              <a:ext cx="116000" cy="69075"/>
            </a:xfrm>
            <a:custGeom>
              <a:avLst/>
              <a:gdLst/>
              <a:ahLst/>
              <a:cxnLst/>
              <a:rect l="l" t="t" r="r" b="b"/>
              <a:pathLst>
                <a:path w="4640" h="2763" extrusionOk="0">
                  <a:moveTo>
                    <a:pt x="0" y="2463"/>
                  </a:moveTo>
                  <a:lnTo>
                    <a:pt x="19" y="2762"/>
                  </a:lnTo>
                  <a:lnTo>
                    <a:pt x="4639" y="279"/>
                  </a:lnTo>
                  <a:lnTo>
                    <a:pt x="4613"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249;p23"/>
            <p:cNvSpPr/>
            <p:nvPr/>
          </p:nvSpPr>
          <p:spPr>
            <a:xfrm>
              <a:off x="2464625" y="3348800"/>
              <a:ext cx="117625" cy="72125"/>
            </a:xfrm>
            <a:custGeom>
              <a:avLst/>
              <a:gdLst/>
              <a:ahLst/>
              <a:cxnLst/>
              <a:rect l="l" t="t" r="r" b="b"/>
              <a:pathLst>
                <a:path w="4705" h="2885" extrusionOk="0">
                  <a:moveTo>
                    <a:pt x="4649" y="0"/>
                  </a:moveTo>
                  <a:lnTo>
                    <a:pt x="1" y="2596"/>
                  </a:lnTo>
                  <a:lnTo>
                    <a:pt x="52" y="2885"/>
                  </a:lnTo>
                  <a:lnTo>
                    <a:pt x="4705" y="26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 name="Google Shape;250;p23"/>
            <p:cNvSpPr/>
            <p:nvPr/>
          </p:nvSpPr>
          <p:spPr>
            <a:xfrm>
              <a:off x="2467500" y="3363600"/>
              <a:ext cx="117825" cy="73275"/>
            </a:xfrm>
            <a:custGeom>
              <a:avLst/>
              <a:gdLst/>
              <a:ahLst/>
              <a:cxnLst/>
              <a:rect l="l" t="t" r="r" b="b"/>
              <a:pathLst>
                <a:path w="4713" h="2931" extrusionOk="0">
                  <a:moveTo>
                    <a:pt x="4657" y="0"/>
                  </a:moveTo>
                  <a:lnTo>
                    <a:pt x="0" y="2640"/>
                  </a:lnTo>
                  <a:lnTo>
                    <a:pt x="52" y="2931"/>
                  </a:lnTo>
                  <a:lnTo>
                    <a:pt x="4713" y="27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 name="Google Shape;251;p23"/>
            <p:cNvSpPr/>
            <p:nvPr/>
          </p:nvSpPr>
          <p:spPr>
            <a:xfrm>
              <a:off x="2471350" y="3377975"/>
              <a:ext cx="118825" cy="73975"/>
            </a:xfrm>
            <a:custGeom>
              <a:avLst/>
              <a:gdLst/>
              <a:ahLst/>
              <a:cxnLst/>
              <a:rect l="l" t="t" r="r" b="b"/>
              <a:pathLst>
                <a:path w="4753" h="2959" extrusionOk="0">
                  <a:moveTo>
                    <a:pt x="4664" y="0"/>
                  </a:moveTo>
                  <a:lnTo>
                    <a:pt x="0" y="2684"/>
                  </a:lnTo>
                  <a:lnTo>
                    <a:pt x="85" y="2958"/>
                  </a:lnTo>
                  <a:lnTo>
                    <a:pt x="4753" y="255"/>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 name="Google Shape;252;p23"/>
            <p:cNvSpPr/>
            <p:nvPr/>
          </p:nvSpPr>
          <p:spPr>
            <a:xfrm>
              <a:off x="2476025" y="3392000"/>
              <a:ext cx="118975" cy="75100"/>
            </a:xfrm>
            <a:custGeom>
              <a:avLst/>
              <a:gdLst/>
              <a:ahLst/>
              <a:cxnLst/>
              <a:rect l="l" t="t" r="r" b="b"/>
              <a:pathLst>
                <a:path w="4759" h="3004" extrusionOk="0">
                  <a:moveTo>
                    <a:pt x="4671" y="0"/>
                  </a:moveTo>
                  <a:lnTo>
                    <a:pt x="1" y="2728"/>
                  </a:lnTo>
                  <a:lnTo>
                    <a:pt x="86" y="3004"/>
                  </a:lnTo>
                  <a:lnTo>
                    <a:pt x="4758" y="25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 name="Google Shape;253;p23"/>
            <p:cNvSpPr/>
            <p:nvPr/>
          </p:nvSpPr>
          <p:spPr>
            <a:xfrm>
              <a:off x="2480750" y="3406125"/>
              <a:ext cx="119450" cy="76050"/>
            </a:xfrm>
            <a:custGeom>
              <a:avLst/>
              <a:gdLst/>
              <a:ahLst/>
              <a:cxnLst/>
              <a:rect l="l" t="t" r="r" b="b"/>
              <a:pathLst>
                <a:path w="4778" h="3042" extrusionOk="0">
                  <a:moveTo>
                    <a:pt x="4675" y="1"/>
                  </a:moveTo>
                  <a:lnTo>
                    <a:pt x="0" y="2773"/>
                  </a:lnTo>
                  <a:cubicBezTo>
                    <a:pt x="24" y="2865"/>
                    <a:pt x="58" y="2956"/>
                    <a:pt x="101" y="3041"/>
                  </a:cubicBezTo>
                  <a:lnTo>
                    <a:pt x="4778" y="251"/>
                  </a:lnTo>
                  <a:cubicBezTo>
                    <a:pt x="4734" y="172"/>
                    <a:pt x="4700" y="88"/>
                    <a:pt x="4675" y="1"/>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 name="Google Shape;254;p23"/>
            <p:cNvSpPr/>
            <p:nvPr/>
          </p:nvSpPr>
          <p:spPr>
            <a:xfrm>
              <a:off x="2486850" y="3419625"/>
              <a:ext cx="119950" cy="76900"/>
            </a:xfrm>
            <a:custGeom>
              <a:avLst/>
              <a:gdLst/>
              <a:ahLst/>
              <a:cxnLst/>
              <a:rect l="l" t="t" r="r" b="b"/>
              <a:pathLst>
                <a:path w="4798" h="3076" extrusionOk="0">
                  <a:moveTo>
                    <a:pt x="4677" y="0"/>
                  </a:moveTo>
                  <a:lnTo>
                    <a:pt x="0" y="2814"/>
                  </a:lnTo>
                  <a:lnTo>
                    <a:pt x="119" y="3075"/>
                  </a:lnTo>
                  <a:lnTo>
                    <a:pt x="4797" y="24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 name="Google Shape;255;p23"/>
            <p:cNvSpPr/>
            <p:nvPr/>
          </p:nvSpPr>
          <p:spPr>
            <a:xfrm>
              <a:off x="2493400" y="3432925"/>
              <a:ext cx="120000" cy="78025"/>
            </a:xfrm>
            <a:custGeom>
              <a:avLst/>
              <a:gdLst/>
              <a:ahLst/>
              <a:cxnLst/>
              <a:rect l="l" t="t" r="r" b="b"/>
              <a:pathLst>
                <a:path w="4800" h="3121" extrusionOk="0">
                  <a:moveTo>
                    <a:pt x="4679" y="1"/>
                  </a:moveTo>
                  <a:lnTo>
                    <a:pt x="1" y="2857"/>
                  </a:lnTo>
                  <a:lnTo>
                    <a:pt x="121" y="3120"/>
                  </a:lnTo>
                  <a:lnTo>
                    <a:pt x="4799" y="245"/>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 name="Google Shape;256;p23"/>
            <p:cNvSpPr/>
            <p:nvPr/>
          </p:nvSpPr>
          <p:spPr>
            <a:xfrm>
              <a:off x="2500000" y="3446400"/>
              <a:ext cx="120750" cy="78625"/>
            </a:xfrm>
            <a:custGeom>
              <a:avLst/>
              <a:gdLst/>
              <a:ahLst/>
              <a:cxnLst/>
              <a:rect l="l" t="t" r="r" b="b"/>
              <a:pathLst>
                <a:path w="4830" h="3145" extrusionOk="0">
                  <a:moveTo>
                    <a:pt x="4680" y="0"/>
                  </a:moveTo>
                  <a:lnTo>
                    <a:pt x="1" y="2898"/>
                  </a:lnTo>
                  <a:lnTo>
                    <a:pt x="152" y="3145"/>
                  </a:lnTo>
                  <a:lnTo>
                    <a:pt x="4829" y="22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 name="Google Shape;257;p23"/>
            <p:cNvSpPr/>
            <p:nvPr/>
          </p:nvSpPr>
          <p:spPr>
            <a:xfrm>
              <a:off x="2508400" y="3458875"/>
              <a:ext cx="120775" cy="79675"/>
            </a:xfrm>
            <a:custGeom>
              <a:avLst/>
              <a:gdLst/>
              <a:ahLst/>
              <a:cxnLst/>
              <a:rect l="l" t="t" r="r" b="b"/>
              <a:pathLst>
                <a:path w="4831" h="3187" extrusionOk="0">
                  <a:moveTo>
                    <a:pt x="4677" y="0"/>
                  </a:moveTo>
                  <a:lnTo>
                    <a:pt x="1" y="2940"/>
                  </a:lnTo>
                  <a:lnTo>
                    <a:pt x="156" y="3187"/>
                  </a:lnTo>
                  <a:lnTo>
                    <a:pt x="4830" y="22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 name="Google Shape;258;p23"/>
            <p:cNvSpPr/>
            <p:nvPr/>
          </p:nvSpPr>
          <p:spPr>
            <a:xfrm>
              <a:off x="2516925" y="3471425"/>
              <a:ext cx="120675" cy="80800"/>
            </a:xfrm>
            <a:custGeom>
              <a:avLst/>
              <a:gdLst/>
              <a:ahLst/>
              <a:cxnLst/>
              <a:rect l="l" t="t" r="r" b="b"/>
              <a:pathLst>
                <a:path w="4827" h="3232" extrusionOk="0">
                  <a:moveTo>
                    <a:pt x="4673" y="1"/>
                  </a:moveTo>
                  <a:lnTo>
                    <a:pt x="0" y="2982"/>
                  </a:lnTo>
                  <a:lnTo>
                    <a:pt x="156" y="3231"/>
                  </a:lnTo>
                  <a:lnTo>
                    <a:pt x="4826" y="23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 name="Google Shape;259;p23"/>
            <p:cNvSpPr/>
            <p:nvPr/>
          </p:nvSpPr>
          <p:spPr>
            <a:xfrm>
              <a:off x="2525750" y="3483925"/>
              <a:ext cx="121375" cy="81325"/>
            </a:xfrm>
            <a:custGeom>
              <a:avLst/>
              <a:gdLst/>
              <a:ahLst/>
              <a:cxnLst/>
              <a:rect l="l" t="t" r="r" b="b"/>
              <a:pathLst>
                <a:path w="4855" h="3253" extrusionOk="0">
                  <a:moveTo>
                    <a:pt x="4668" y="1"/>
                  </a:moveTo>
                  <a:lnTo>
                    <a:pt x="1" y="3023"/>
                  </a:lnTo>
                  <a:lnTo>
                    <a:pt x="190" y="3253"/>
                  </a:lnTo>
                  <a:lnTo>
                    <a:pt x="4854" y="21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260;p23"/>
            <p:cNvSpPr/>
            <p:nvPr/>
          </p:nvSpPr>
          <p:spPr>
            <a:xfrm>
              <a:off x="2536175" y="3495550"/>
              <a:ext cx="121225" cy="82375"/>
            </a:xfrm>
            <a:custGeom>
              <a:avLst/>
              <a:gdLst/>
              <a:ahLst/>
              <a:cxnLst/>
              <a:rect l="l" t="t" r="r" b="b"/>
              <a:pathLst>
                <a:path w="4849" h="3295" extrusionOk="0">
                  <a:moveTo>
                    <a:pt x="4661" y="0"/>
                  </a:moveTo>
                  <a:lnTo>
                    <a:pt x="1" y="3064"/>
                  </a:lnTo>
                  <a:lnTo>
                    <a:pt x="193" y="3294"/>
                  </a:lnTo>
                  <a:lnTo>
                    <a:pt x="4848" y="21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261;p23"/>
            <p:cNvSpPr/>
            <p:nvPr/>
          </p:nvSpPr>
          <p:spPr>
            <a:xfrm>
              <a:off x="2546725" y="3507250"/>
              <a:ext cx="120950" cy="83425"/>
            </a:xfrm>
            <a:custGeom>
              <a:avLst/>
              <a:gdLst/>
              <a:ahLst/>
              <a:cxnLst/>
              <a:rect l="l" t="t" r="r" b="b"/>
              <a:pathLst>
                <a:path w="4838" h="3337" extrusionOk="0">
                  <a:moveTo>
                    <a:pt x="4650" y="1"/>
                  </a:moveTo>
                  <a:lnTo>
                    <a:pt x="0" y="3104"/>
                  </a:lnTo>
                  <a:lnTo>
                    <a:pt x="192" y="3337"/>
                  </a:lnTo>
                  <a:lnTo>
                    <a:pt x="4838" y="21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 name="Google Shape;262;p23"/>
            <p:cNvSpPr/>
            <p:nvPr/>
          </p:nvSpPr>
          <p:spPr>
            <a:xfrm>
              <a:off x="2557875" y="3518700"/>
              <a:ext cx="121525" cy="83875"/>
            </a:xfrm>
            <a:custGeom>
              <a:avLst/>
              <a:gdLst/>
              <a:ahLst/>
              <a:cxnLst/>
              <a:rect l="l" t="t" r="r" b="b"/>
              <a:pathLst>
                <a:path w="4861" h="3355" extrusionOk="0">
                  <a:moveTo>
                    <a:pt x="4640" y="1"/>
                  </a:moveTo>
                  <a:lnTo>
                    <a:pt x="1" y="3143"/>
                  </a:lnTo>
                  <a:lnTo>
                    <a:pt x="227" y="3355"/>
                  </a:lnTo>
                  <a:lnTo>
                    <a:pt x="4861" y="195"/>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 name="Google Shape;263;p23"/>
            <p:cNvSpPr/>
            <p:nvPr/>
          </p:nvSpPr>
          <p:spPr>
            <a:xfrm>
              <a:off x="2570325" y="3529425"/>
              <a:ext cx="121250" cy="84875"/>
            </a:xfrm>
            <a:custGeom>
              <a:avLst/>
              <a:gdLst/>
              <a:ahLst/>
              <a:cxnLst/>
              <a:rect l="l" t="t" r="r" b="b"/>
              <a:pathLst>
                <a:path w="4850" h="3395" extrusionOk="0">
                  <a:moveTo>
                    <a:pt x="4628" y="0"/>
                  </a:moveTo>
                  <a:lnTo>
                    <a:pt x="1" y="3181"/>
                  </a:lnTo>
                  <a:lnTo>
                    <a:pt x="229" y="3395"/>
                  </a:lnTo>
                  <a:lnTo>
                    <a:pt x="4849" y="19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264;p23"/>
            <p:cNvSpPr/>
            <p:nvPr/>
          </p:nvSpPr>
          <p:spPr>
            <a:xfrm>
              <a:off x="2582900" y="3540250"/>
              <a:ext cx="120875" cy="85875"/>
            </a:xfrm>
            <a:custGeom>
              <a:avLst/>
              <a:gdLst/>
              <a:ahLst/>
              <a:cxnLst/>
              <a:rect l="l" t="t" r="r" b="b"/>
              <a:pathLst>
                <a:path w="4835" h="3435" extrusionOk="0">
                  <a:moveTo>
                    <a:pt x="4612" y="0"/>
                  </a:moveTo>
                  <a:lnTo>
                    <a:pt x="0" y="3220"/>
                  </a:lnTo>
                  <a:lnTo>
                    <a:pt x="229" y="3434"/>
                  </a:lnTo>
                  <a:lnTo>
                    <a:pt x="4835" y="19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2" name="Google Shape;265;p23"/>
            <p:cNvSpPr/>
            <p:nvPr/>
          </p:nvSpPr>
          <p:spPr>
            <a:xfrm>
              <a:off x="2596425" y="3550550"/>
              <a:ext cx="121300" cy="86250"/>
            </a:xfrm>
            <a:custGeom>
              <a:avLst/>
              <a:gdLst/>
              <a:ahLst/>
              <a:cxnLst/>
              <a:rect l="l" t="t" r="r" b="b"/>
              <a:pathLst>
                <a:path w="4852" h="3450" extrusionOk="0">
                  <a:moveTo>
                    <a:pt x="4596" y="0"/>
                  </a:moveTo>
                  <a:lnTo>
                    <a:pt x="0" y="3256"/>
                  </a:lnTo>
                  <a:lnTo>
                    <a:pt x="264" y="3450"/>
                  </a:lnTo>
                  <a:lnTo>
                    <a:pt x="4852" y="17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3" name="Google Shape;266;p23"/>
            <p:cNvSpPr/>
            <p:nvPr/>
          </p:nvSpPr>
          <p:spPr>
            <a:xfrm>
              <a:off x="2610950" y="3560300"/>
              <a:ext cx="120875" cy="87225"/>
            </a:xfrm>
            <a:custGeom>
              <a:avLst/>
              <a:gdLst/>
              <a:ahLst/>
              <a:cxnLst/>
              <a:rect l="l" t="t" r="r" b="b"/>
              <a:pathLst>
                <a:path w="4835" h="3489" extrusionOk="0">
                  <a:moveTo>
                    <a:pt x="4577" y="1"/>
                  </a:moveTo>
                  <a:lnTo>
                    <a:pt x="1" y="3294"/>
                  </a:lnTo>
                  <a:lnTo>
                    <a:pt x="266" y="3488"/>
                  </a:lnTo>
                  <a:lnTo>
                    <a:pt x="4834" y="17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4" name="Google Shape;267;p23"/>
            <p:cNvSpPr/>
            <p:nvPr/>
          </p:nvSpPr>
          <p:spPr>
            <a:xfrm>
              <a:off x="2625575" y="3570150"/>
              <a:ext cx="120600" cy="88025"/>
            </a:xfrm>
            <a:custGeom>
              <a:avLst/>
              <a:gdLst/>
              <a:ahLst/>
              <a:cxnLst/>
              <a:rect l="l" t="t" r="r" b="b"/>
              <a:pathLst>
                <a:path w="4824" h="3521" extrusionOk="0">
                  <a:moveTo>
                    <a:pt x="4557" y="1"/>
                  </a:moveTo>
                  <a:lnTo>
                    <a:pt x="0" y="3330"/>
                  </a:lnTo>
                  <a:cubicBezTo>
                    <a:pt x="93" y="3394"/>
                    <a:pt x="171" y="3467"/>
                    <a:pt x="276" y="3521"/>
                  </a:cubicBezTo>
                  <a:lnTo>
                    <a:pt x="4823" y="175"/>
                  </a:lnTo>
                  <a:cubicBezTo>
                    <a:pt x="4721" y="127"/>
                    <a:pt x="4646" y="58"/>
                    <a:pt x="4557" y="1"/>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268;p23"/>
            <p:cNvSpPr/>
            <p:nvPr/>
          </p:nvSpPr>
          <p:spPr>
            <a:xfrm>
              <a:off x="2641500" y="3579225"/>
              <a:ext cx="120625" cy="88525"/>
            </a:xfrm>
            <a:custGeom>
              <a:avLst/>
              <a:gdLst/>
              <a:ahLst/>
              <a:cxnLst/>
              <a:rect l="l" t="t" r="r" b="b"/>
              <a:pathLst>
                <a:path w="4825" h="3541" extrusionOk="0">
                  <a:moveTo>
                    <a:pt x="4534" y="1"/>
                  </a:moveTo>
                  <a:lnTo>
                    <a:pt x="0" y="3365"/>
                  </a:lnTo>
                  <a:lnTo>
                    <a:pt x="302" y="3540"/>
                  </a:lnTo>
                  <a:lnTo>
                    <a:pt x="4824" y="15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6" name="Google Shape;269;p23"/>
            <p:cNvSpPr/>
            <p:nvPr/>
          </p:nvSpPr>
          <p:spPr>
            <a:xfrm>
              <a:off x="2658100" y="3587975"/>
              <a:ext cx="120075" cy="89375"/>
            </a:xfrm>
            <a:custGeom>
              <a:avLst/>
              <a:gdLst/>
              <a:ahLst/>
              <a:cxnLst/>
              <a:rect l="l" t="t" r="r" b="b"/>
              <a:pathLst>
                <a:path w="4803" h="3575" extrusionOk="0">
                  <a:moveTo>
                    <a:pt x="4510" y="0"/>
                  </a:moveTo>
                  <a:lnTo>
                    <a:pt x="1" y="3400"/>
                  </a:lnTo>
                  <a:lnTo>
                    <a:pt x="305" y="3575"/>
                  </a:lnTo>
                  <a:lnTo>
                    <a:pt x="4803" y="15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7" name="Google Shape;270;p23"/>
            <p:cNvSpPr/>
            <p:nvPr/>
          </p:nvSpPr>
          <p:spPr>
            <a:xfrm>
              <a:off x="2674850" y="3596800"/>
              <a:ext cx="119900" cy="89925"/>
            </a:xfrm>
            <a:custGeom>
              <a:avLst/>
              <a:gdLst/>
              <a:ahLst/>
              <a:cxnLst/>
              <a:rect l="l" t="t" r="r" b="b"/>
              <a:pathLst>
                <a:path w="4796" h="3597" extrusionOk="0">
                  <a:moveTo>
                    <a:pt x="4483" y="0"/>
                  </a:moveTo>
                  <a:lnTo>
                    <a:pt x="0" y="3434"/>
                  </a:lnTo>
                  <a:cubicBezTo>
                    <a:pt x="98" y="3495"/>
                    <a:pt x="211" y="3546"/>
                    <a:pt x="325" y="3596"/>
                  </a:cubicBezTo>
                  <a:lnTo>
                    <a:pt x="4795" y="148"/>
                  </a:lnTo>
                  <a:cubicBezTo>
                    <a:pt x="4686" y="102"/>
                    <a:pt x="4576" y="57"/>
                    <a:pt x="4483" y="0"/>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8" name="Google Shape;271;p23"/>
            <p:cNvSpPr/>
            <p:nvPr/>
          </p:nvSpPr>
          <p:spPr>
            <a:xfrm>
              <a:off x="2693150" y="3604575"/>
              <a:ext cx="119525" cy="90525"/>
            </a:xfrm>
            <a:custGeom>
              <a:avLst/>
              <a:gdLst/>
              <a:ahLst/>
              <a:cxnLst/>
              <a:rect l="l" t="t" r="r" b="b"/>
              <a:pathLst>
                <a:path w="4781" h="3621" extrusionOk="0">
                  <a:moveTo>
                    <a:pt x="4454" y="1"/>
                  </a:moveTo>
                  <a:lnTo>
                    <a:pt x="0" y="3468"/>
                  </a:lnTo>
                  <a:lnTo>
                    <a:pt x="340" y="3620"/>
                  </a:lnTo>
                  <a:lnTo>
                    <a:pt x="4780" y="14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 name="Google Shape;272;p23"/>
            <p:cNvSpPr/>
            <p:nvPr/>
          </p:nvSpPr>
          <p:spPr>
            <a:xfrm>
              <a:off x="2711900" y="3612250"/>
              <a:ext cx="118775" cy="91325"/>
            </a:xfrm>
            <a:custGeom>
              <a:avLst/>
              <a:gdLst/>
              <a:ahLst/>
              <a:cxnLst/>
              <a:rect l="l" t="t" r="r" b="b"/>
              <a:pathLst>
                <a:path w="4751" h="3653" extrusionOk="0">
                  <a:moveTo>
                    <a:pt x="4423" y="0"/>
                  </a:moveTo>
                  <a:lnTo>
                    <a:pt x="0" y="3498"/>
                  </a:lnTo>
                  <a:lnTo>
                    <a:pt x="342" y="3652"/>
                  </a:lnTo>
                  <a:lnTo>
                    <a:pt x="4750" y="13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273;p23"/>
            <p:cNvSpPr/>
            <p:nvPr/>
          </p:nvSpPr>
          <p:spPr>
            <a:xfrm>
              <a:off x="2730775" y="3619950"/>
              <a:ext cx="118675" cy="91600"/>
            </a:xfrm>
            <a:custGeom>
              <a:avLst/>
              <a:gdLst/>
              <a:ahLst/>
              <a:cxnLst/>
              <a:rect l="l" t="t" r="r" b="b"/>
              <a:pathLst>
                <a:path w="4747" h="3664" extrusionOk="0">
                  <a:moveTo>
                    <a:pt x="4389" y="1"/>
                  </a:moveTo>
                  <a:lnTo>
                    <a:pt x="0" y="3530"/>
                  </a:lnTo>
                  <a:lnTo>
                    <a:pt x="373" y="3664"/>
                  </a:lnTo>
                  <a:lnTo>
                    <a:pt x="4746" y="12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274;p23"/>
            <p:cNvSpPr/>
            <p:nvPr/>
          </p:nvSpPr>
          <p:spPr>
            <a:xfrm>
              <a:off x="2751400" y="3626450"/>
              <a:ext cx="117950" cy="92250"/>
            </a:xfrm>
            <a:custGeom>
              <a:avLst/>
              <a:gdLst/>
              <a:ahLst/>
              <a:cxnLst/>
              <a:rect l="l" t="t" r="r" b="b"/>
              <a:pathLst>
                <a:path w="4718" h="3690" extrusionOk="0">
                  <a:moveTo>
                    <a:pt x="4355" y="0"/>
                  </a:moveTo>
                  <a:lnTo>
                    <a:pt x="1" y="3559"/>
                  </a:lnTo>
                  <a:lnTo>
                    <a:pt x="380" y="3690"/>
                  </a:lnTo>
                  <a:lnTo>
                    <a:pt x="4717" y="11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275;p23"/>
            <p:cNvSpPr/>
            <p:nvPr/>
          </p:nvSpPr>
          <p:spPr>
            <a:xfrm>
              <a:off x="2772300" y="3632925"/>
              <a:ext cx="117025" cy="93025"/>
            </a:xfrm>
            <a:custGeom>
              <a:avLst/>
              <a:gdLst/>
              <a:ahLst/>
              <a:cxnLst/>
              <a:rect l="l" t="t" r="r" b="b"/>
              <a:pathLst>
                <a:path w="4681" h="3721" extrusionOk="0">
                  <a:moveTo>
                    <a:pt x="4317" y="0"/>
                  </a:moveTo>
                  <a:lnTo>
                    <a:pt x="1" y="3589"/>
                  </a:lnTo>
                  <a:lnTo>
                    <a:pt x="382" y="3721"/>
                  </a:lnTo>
                  <a:lnTo>
                    <a:pt x="4681" y="11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276;p23"/>
            <p:cNvSpPr/>
            <p:nvPr/>
          </p:nvSpPr>
          <p:spPr>
            <a:xfrm>
              <a:off x="2793425" y="3639400"/>
              <a:ext cx="116850" cy="93075"/>
            </a:xfrm>
            <a:custGeom>
              <a:avLst/>
              <a:gdLst/>
              <a:ahLst/>
              <a:cxnLst/>
              <a:rect l="l" t="t" r="r" b="b"/>
              <a:pathLst>
                <a:path w="4674" h="3723" extrusionOk="0">
                  <a:moveTo>
                    <a:pt x="4277" y="0"/>
                  </a:moveTo>
                  <a:lnTo>
                    <a:pt x="0" y="3616"/>
                  </a:lnTo>
                  <a:lnTo>
                    <a:pt x="415" y="3723"/>
                  </a:lnTo>
                  <a:lnTo>
                    <a:pt x="4674" y="95"/>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277;p23"/>
            <p:cNvSpPr/>
            <p:nvPr/>
          </p:nvSpPr>
          <p:spPr>
            <a:xfrm>
              <a:off x="2816300" y="3644600"/>
              <a:ext cx="115875" cy="93775"/>
            </a:xfrm>
            <a:custGeom>
              <a:avLst/>
              <a:gdLst/>
              <a:ahLst/>
              <a:cxnLst/>
              <a:rect l="l" t="t" r="r" b="b"/>
              <a:pathLst>
                <a:path w="4635" h="3751" extrusionOk="0">
                  <a:moveTo>
                    <a:pt x="4236" y="1"/>
                  </a:moveTo>
                  <a:lnTo>
                    <a:pt x="1" y="3643"/>
                  </a:lnTo>
                  <a:lnTo>
                    <a:pt x="419" y="3751"/>
                  </a:lnTo>
                  <a:lnTo>
                    <a:pt x="4634" y="95"/>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278;p23"/>
            <p:cNvSpPr/>
            <p:nvPr/>
          </p:nvSpPr>
          <p:spPr>
            <a:xfrm>
              <a:off x="2829875" y="3647675"/>
              <a:ext cx="115275" cy="94175"/>
            </a:xfrm>
            <a:custGeom>
              <a:avLst/>
              <a:gdLst/>
              <a:ahLst/>
              <a:cxnLst/>
              <a:rect l="l" t="t" r="r" b="b"/>
              <a:pathLst>
                <a:path w="4611" h="3767" extrusionOk="0">
                  <a:moveTo>
                    <a:pt x="4211" y="1"/>
                  </a:moveTo>
                  <a:lnTo>
                    <a:pt x="1" y="3659"/>
                  </a:lnTo>
                  <a:lnTo>
                    <a:pt x="420" y="3767"/>
                  </a:lnTo>
                  <a:lnTo>
                    <a:pt x="4610" y="9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 name="Google Shape;279;p23"/>
            <p:cNvSpPr/>
            <p:nvPr/>
          </p:nvSpPr>
          <p:spPr>
            <a:xfrm>
              <a:off x="2853000" y="3653000"/>
              <a:ext cx="114500" cy="94550"/>
            </a:xfrm>
            <a:custGeom>
              <a:avLst/>
              <a:gdLst/>
              <a:ahLst/>
              <a:cxnLst/>
              <a:rect l="l" t="t" r="r" b="b"/>
              <a:pathLst>
                <a:path w="4580" h="3782" extrusionOk="0">
                  <a:moveTo>
                    <a:pt x="4165" y="1"/>
                  </a:moveTo>
                  <a:lnTo>
                    <a:pt x="1" y="3683"/>
                  </a:lnTo>
                  <a:cubicBezTo>
                    <a:pt x="144" y="3724"/>
                    <a:pt x="289" y="3757"/>
                    <a:pt x="435" y="3781"/>
                  </a:cubicBezTo>
                  <a:lnTo>
                    <a:pt x="4579" y="86"/>
                  </a:lnTo>
                  <a:cubicBezTo>
                    <a:pt x="4439" y="65"/>
                    <a:pt x="4301" y="36"/>
                    <a:pt x="4165" y="1"/>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280;p23"/>
            <p:cNvSpPr/>
            <p:nvPr/>
          </p:nvSpPr>
          <p:spPr>
            <a:xfrm>
              <a:off x="2877500" y="3657275"/>
              <a:ext cx="113800" cy="94750"/>
            </a:xfrm>
            <a:custGeom>
              <a:avLst/>
              <a:gdLst/>
              <a:ahLst/>
              <a:cxnLst/>
              <a:rect l="l" t="t" r="r" b="b"/>
              <a:pathLst>
                <a:path w="4552" h="3790" extrusionOk="0">
                  <a:moveTo>
                    <a:pt x="4117" y="0"/>
                  </a:moveTo>
                  <a:lnTo>
                    <a:pt x="1" y="3708"/>
                  </a:lnTo>
                  <a:lnTo>
                    <a:pt x="456" y="3789"/>
                  </a:lnTo>
                  <a:lnTo>
                    <a:pt x="4551" y="7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281;p23"/>
            <p:cNvSpPr/>
            <p:nvPr/>
          </p:nvSpPr>
          <p:spPr>
            <a:xfrm>
              <a:off x="2902600" y="3661225"/>
              <a:ext cx="112600" cy="95350"/>
            </a:xfrm>
            <a:custGeom>
              <a:avLst/>
              <a:gdLst/>
              <a:ahLst/>
              <a:cxnLst/>
              <a:rect l="l" t="t" r="r" b="b"/>
              <a:pathLst>
                <a:path w="4504" h="3814" extrusionOk="0">
                  <a:moveTo>
                    <a:pt x="4067" y="0"/>
                  </a:moveTo>
                  <a:lnTo>
                    <a:pt x="0" y="3730"/>
                  </a:lnTo>
                  <a:lnTo>
                    <a:pt x="459" y="3813"/>
                  </a:lnTo>
                  <a:lnTo>
                    <a:pt x="4503" y="7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282;p23"/>
            <p:cNvSpPr/>
            <p:nvPr/>
          </p:nvSpPr>
          <p:spPr>
            <a:xfrm>
              <a:off x="2927850" y="3665250"/>
              <a:ext cx="111750" cy="95475"/>
            </a:xfrm>
            <a:custGeom>
              <a:avLst/>
              <a:gdLst/>
              <a:ahLst/>
              <a:cxnLst/>
              <a:rect l="l" t="t" r="r" b="b"/>
              <a:pathLst>
                <a:path w="4470" h="3819" extrusionOk="0">
                  <a:moveTo>
                    <a:pt x="4016" y="0"/>
                  </a:moveTo>
                  <a:lnTo>
                    <a:pt x="0" y="3751"/>
                  </a:lnTo>
                  <a:cubicBezTo>
                    <a:pt x="150" y="3783"/>
                    <a:pt x="313" y="3802"/>
                    <a:pt x="478" y="3819"/>
                  </a:cubicBezTo>
                  <a:lnTo>
                    <a:pt x="4470" y="57"/>
                  </a:lnTo>
                  <a:cubicBezTo>
                    <a:pt x="4313" y="43"/>
                    <a:pt x="4158" y="28"/>
                    <a:pt x="4016" y="0"/>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283;p23"/>
            <p:cNvSpPr/>
            <p:nvPr/>
          </p:nvSpPr>
          <p:spPr>
            <a:xfrm>
              <a:off x="2954575" y="3668075"/>
              <a:ext cx="110775" cy="95725"/>
            </a:xfrm>
            <a:custGeom>
              <a:avLst/>
              <a:gdLst/>
              <a:ahLst/>
              <a:cxnLst/>
              <a:rect l="l" t="t" r="r" b="b"/>
              <a:pathLst>
                <a:path w="4431" h="3829" extrusionOk="0">
                  <a:moveTo>
                    <a:pt x="3962" y="1"/>
                  </a:moveTo>
                  <a:lnTo>
                    <a:pt x="0" y="3773"/>
                  </a:lnTo>
                  <a:lnTo>
                    <a:pt x="493" y="3829"/>
                  </a:lnTo>
                  <a:lnTo>
                    <a:pt x="4430" y="4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284;p23"/>
            <p:cNvSpPr/>
            <p:nvPr/>
          </p:nvSpPr>
          <p:spPr>
            <a:xfrm>
              <a:off x="2981775" y="3670700"/>
              <a:ext cx="109425" cy="96225"/>
            </a:xfrm>
            <a:custGeom>
              <a:avLst/>
              <a:gdLst/>
              <a:ahLst/>
              <a:cxnLst/>
              <a:rect l="l" t="t" r="r" b="b"/>
              <a:pathLst>
                <a:path w="4377" h="3849" extrusionOk="0">
                  <a:moveTo>
                    <a:pt x="3906" y="0"/>
                  </a:moveTo>
                  <a:lnTo>
                    <a:pt x="0" y="3791"/>
                  </a:lnTo>
                  <a:lnTo>
                    <a:pt x="496" y="3848"/>
                  </a:lnTo>
                  <a:lnTo>
                    <a:pt x="4377" y="4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285;p23"/>
            <p:cNvSpPr/>
            <p:nvPr/>
          </p:nvSpPr>
          <p:spPr>
            <a:xfrm>
              <a:off x="3009125" y="3673375"/>
              <a:ext cx="108500" cy="96200"/>
            </a:xfrm>
            <a:custGeom>
              <a:avLst/>
              <a:gdLst/>
              <a:ahLst/>
              <a:cxnLst/>
              <a:rect l="l" t="t" r="r" b="b"/>
              <a:pathLst>
                <a:path w="4340" h="3848" extrusionOk="0">
                  <a:moveTo>
                    <a:pt x="3848" y="1"/>
                  </a:moveTo>
                  <a:lnTo>
                    <a:pt x="0" y="3810"/>
                  </a:lnTo>
                  <a:cubicBezTo>
                    <a:pt x="162" y="3833"/>
                    <a:pt x="342" y="3837"/>
                    <a:pt x="518" y="3847"/>
                  </a:cubicBezTo>
                  <a:lnTo>
                    <a:pt x="4340" y="31"/>
                  </a:lnTo>
                  <a:cubicBezTo>
                    <a:pt x="4174" y="23"/>
                    <a:pt x="4003" y="21"/>
                    <a:pt x="3848" y="1"/>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286;p23"/>
            <p:cNvSpPr/>
            <p:nvPr/>
          </p:nvSpPr>
          <p:spPr>
            <a:xfrm>
              <a:off x="3037975" y="3674800"/>
              <a:ext cx="107300" cy="96375"/>
            </a:xfrm>
            <a:custGeom>
              <a:avLst/>
              <a:gdLst/>
              <a:ahLst/>
              <a:cxnLst/>
              <a:rect l="l" t="t" r="r" b="b"/>
              <a:pathLst>
                <a:path w="4292" h="3855" extrusionOk="0">
                  <a:moveTo>
                    <a:pt x="3788" y="1"/>
                  </a:moveTo>
                  <a:lnTo>
                    <a:pt x="0" y="3825"/>
                  </a:lnTo>
                  <a:lnTo>
                    <a:pt x="531" y="3855"/>
                  </a:lnTo>
                  <a:lnTo>
                    <a:pt x="4292" y="2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287;p23"/>
            <p:cNvSpPr/>
            <p:nvPr/>
          </p:nvSpPr>
          <p:spPr>
            <a:xfrm>
              <a:off x="3067225" y="3676025"/>
              <a:ext cx="105825" cy="96750"/>
            </a:xfrm>
            <a:custGeom>
              <a:avLst/>
              <a:gdLst/>
              <a:ahLst/>
              <a:cxnLst/>
              <a:rect l="l" t="t" r="r" b="b"/>
              <a:pathLst>
                <a:path w="4233" h="3870" extrusionOk="0">
                  <a:moveTo>
                    <a:pt x="3727" y="1"/>
                  </a:moveTo>
                  <a:lnTo>
                    <a:pt x="0" y="3840"/>
                  </a:lnTo>
                  <a:lnTo>
                    <a:pt x="534" y="3870"/>
                  </a:lnTo>
                  <a:lnTo>
                    <a:pt x="4233" y="2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288;p23"/>
            <p:cNvSpPr/>
            <p:nvPr/>
          </p:nvSpPr>
          <p:spPr>
            <a:xfrm>
              <a:off x="3096650" y="3677300"/>
              <a:ext cx="104725" cy="96725"/>
            </a:xfrm>
            <a:custGeom>
              <a:avLst/>
              <a:gdLst/>
              <a:ahLst/>
              <a:cxnLst/>
              <a:rect l="l" t="t" r="r" b="b"/>
              <a:pathLst>
                <a:path w="4189" h="3869" extrusionOk="0">
                  <a:moveTo>
                    <a:pt x="3663" y="1"/>
                  </a:moveTo>
                  <a:lnTo>
                    <a:pt x="1" y="3855"/>
                  </a:lnTo>
                  <a:cubicBezTo>
                    <a:pt x="175" y="3868"/>
                    <a:pt x="369" y="3863"/>
                    <a:pt x="556" y="3865"/>
                  </a:cubicBezTo>
                  <a:lnTo>
                    <a:pt x="4189" y="6"/>
                  </a:lnTo>
                  <a:cubicBezTo>
                    <a:pt x="4012" y="6"/>
                    <a:pt x="3829" y="12"/>
                    <a:pt x="3663" y="1"/>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289;p23"/>
            <p:cNvSpPr/>
            <p:nvPr/>
          </p:nvSpPr>
          <p:spPr>
            <a:xfrm>
              <a:off x="3127500" y="3677200"/>
              <a:ext cx="103375" cy="96800"/>
            </a:xfrm>
            <a:custGeom>
              <a:avLst/>
              <a:gdLst/>
              <a:ahLst/>
              <a:cxnLst/>
              <a:rect l="l" t="t" r="r" b="b"/>
              <a:pathLst>
                <a:path w="4135" h="3872" extrusionOk="0">
                  <a:moveTo>
                    <a:pt x="3597" y="5"/>
                  </a:moveTo>
                  <a:lnTo>
                    <a:pt x="1" y="3870"/>
                  </a:lnTo>
                  <a:lnTo>
                    <a:pt x="568" y="3871"/>
                  </a:lnTo>
                  <a:lnTo>
                    <a:pt x="4134"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290;p23"/>
            <p:cNvSpPr/>
            <p:nvPr/>
          </p:nvSpPr>
          <p:spPr>
            <a:xfrm>
              <a:off x="3158775" y="3677000"/>
              <a:ext cx="101675" cy="97075"/>
            </a:xfrm>
            <a:custGeom>
              <a:avLst/>
              <a:gdLst/>
              <a:ahLst/>
              <a:cxnLst/>
              <a:rect l="l" t="t" r="r" b="b"/>
              <a:pathLst>
                <a:path w="4067" h="3883" extrusionOk="0">
                  <a:moveTo>
                    <a:pt x="3529" y="4"/>
                  </a:moveTo>
                  <a:lnTo>
                    <a:pt x="1" y="3882"/>
                  </a:lnTo>
                  <a:lnTo>
                    <a:pt x="572" y="3883"/>
                  </a:lnTo>
                  <a:lnTo>
                    <a:pt x="4067"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291;p23"/>
            <p:cNvSpPr/>
            <p:nvPr/>
          </p:nvSpPr>
          <p:spPr>
            <a:xfrm>
              <a:off x="3190225" y="3676400"/>
              <a:ext cx="100400" cy="97850"/>
            </a:xfrm>
            <a:custGeom>
              <a:avLst/>
              <a:gdLst/>
              <a:ahLst/>
              <a:cxnLst/>
              <a:rect l="l" t="t" r="r" b="b"/>
              <a:pathLst>
                <a:path w="4016" h="3914" extrusionOk="0">
                  <a:moveTo>
                    <a:pt x="3457" y="22"/>
                  </a:moveTo>
                  <a:lnTo>
                    <a:pt x="0" y="3910"/>
                  </a:lnTo>
                  <a:cubicBezTo>
                    <a:pt x="188" y="3914"/>
                    <a:pt x="393" y="3898"/>
                    <a:pt x="592" y="3891"/>
                  </a:cubicBezTo>
                  <a:lnTo>
                    <a:pt x="4016" y="1"/>
                  </a:lnTo>
                  <a:cubicBezTo>
                    <a:pt x="3828" y="8"/>
                    <a:pt x="3633" y="26"/>
                    <a:pt x="3457" y="22"/>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 name="Google Shape;292;p23"/>
            <p:cNvSpPr/>
            <p:nvPr/>
          </p:nvSpPr>
          <p:spPr>
            <a:xfrm>
              <a:off x="3223025" y="3674725"/>
              <a:ext cx="98825" cy="98125"/>
            </a:xfrm>
            <a:custGeom>
              <a:avLst/>
              <a:gdLst/>
              <a:ahLst/>
              <a:cxnLst/>
              <a:rect l="l" t="t" r="r" b="b"/>
              <a:pathLst>
                <a:path w="3953" h="3925" extrusionOk="0">
                  <a:moveTo>
                    <a:pt x="3384" y="30"/>
                  </a:moveTo>
                  <a:lnTo>
                    <a:pt x="0" y="3924"/>
                  </a:lnTo>
                  <a:lnTo>
                    <a:pt x="604" y="3898"/>
                  </a:lnTo>
                  <a:lnTo>
                    <a:pt x="3953"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 name="Google Shape;293;p23"/>
            <p:cNvSpPr/>
            <p:nvPr/>
          </p:nvSpPr>
          <p:spPr>
            <a:xfrm>
              <a:off x="3256225" y="3673075"/>
              <a:ext cx="96975" cy="98275"/>
            </a:xfrm>
            <a:custGeom>
              <a:avLst/>
              <a:gdLst/>
              <a:ahLst/>
              <a:cxnLst/>
              <a:rect l="l" t="t" r="r" b="b"/>
              <a:pathLst>
                <a:path w="3879" h="3931" extrusionOk="0">
                  <a:moveTo>
                    <a:pt x="3308" y="29"/>
                  </a:moveTo>
                  <a:lnTo>
                    <a:pt x="0" y="3930"/>
                  </a:lnTo>
                  <a:lnTo>
                    <a:pt x="606" y="3904"/>
                  </a:lnTo>
                  <a:lnTo>
                    <a:pt x="3879"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294;p23"/>
            <p:cNvSpPr/>
            <p:nvPr/>
          </p:nvSpPr>
          <p:spPr>
            <a:xfrm>
              <a:off x="3289575" y="3670900"/>
              <a:ext cx="95575" cy="98975"/>
            </a:xfrm>
            <a:custGeom>
              <a:avLst/>
              <a:gdLst/>
              <a:ahLst/>
              <a:cxnLst/>
              <a:rect l="l" t="t" r="r" b="b"/>
              <a:pathLst>
                <a:path w="3823" h="3959" extrusionOk="0">
                  <a:moveTo>
                    <a:pt x="3230" y="52"/>
                  </a:moveTo>
                  <a:lnTo>
                    <a:pt x="1" y="3958"/>
                  </a:lnTo>
                  <a:cubicBezTo>
                    <a:pt x="201" y="3953"/>
                    <a:pt x="420" y="3924"/>
                    <a:pt x="628" y="3909"/>
                  </a:cubicBezTo>
                  <a:lnTo>
                    <a:pt x="3822" y="1"/>
                  </a:lnTo>
                  <a:cubicBezTo>
                    <a:pt x="3625" y="16"/>
                    <a:pt x="3419" y="45"/>
                    <a:pt x="3230" y="52"/>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 name="Google Shape;295;p23"/>
            <p:cNvSpPr/>
            <p:nvPr/>
          </p:nvSpPr>
          <p:spPr>
            <a:xfrm>
              <a:off x="3324300" y="3667750"/>
              <a:ext cx="93725" cy="99175"/>
            </a:xfrm>
            <a:custGeom>
              <a:avLst/>
              <a:gdLst/>
              <a:ahLst/>
              <a:cxnLst/>
              <a:rect l="l" t="t" r="r" b="b"/>
              <a:pathLst>
                <a:path w="3749" h="3967" extrusionOk="0">
                  <a:moveTo>
                    <a:pt x="3149" y="57"/>
                  </a:moveTo>
                  <a:lnTo>
                    <a:pt x="1" y="3966"/>
                  </a:lnTo>
                  <a:lnTo>
                    <a:pt x="637" y="3909"/>
                  </a:lnTo>
                  <a:lnTo>
                    <a:pt x="3748"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3" name="Google Shape;296;p23"/>
            <p:cNvSpPr/>
            <p:nvPr/>
          </p:nvSpPr>
          <p:spPr>
            <a:xfrm>
              <a:off x="3359350" y="3664600"/>
              <a:ext cx="91675" cy="99200"/>
            </a:xfrm>
            <a:custGeom>
              <a:avLst/>
              <a:gdLst/>
              <a:ahLst/>
              <a:cxnLst/>
              <a:rect l="l" t="t" r="r" b="b"/>
              <a:pathLst>
                <a:path w="3667" h="3968" extrusionOk="0">
                  <a:moveTo>
                    <a:pt x="3066" y="58"/>
                  </a:moveTo>
                  <a:lnTo>
                    <a:pt x="0" y="3968"/>
                  </a:lnTo>
                  <a:lnTo>
                    <a:pt x="638" y="3912"/>
                  </a:lnTo>
                  <a:lnTo>
                    <a:pt x="3667"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4" name="Google Shape;297;p23"/>
            <p:cNvSpPr/>
            <p:nvPr/>
          </p:nvSpPr>
          <p:spPr>
            <a:xfrm>
              <a:off x="3394550" y="3660850"/>
              <a:ext cx="90125" cy="99850"/>
            </a:xfrm>
            <a:custGeom>
              <a:avLst/>
              <a:gdLst/>
              <a:ahLst/>
              <a:cxnLst/>
              <a:rect l="l" t="t" r="r" b="b"/>
              <a:pathLst>
                <a:path w="3605" h="3994" extrusionOk="0">
                  <a:moveTo>
                    <a:pt x="2981" y="83"/>
                  </a:moveTo>
                  <a:lnTo>
                    <a:pt x="0" y="3994"/>
                  </a:lnTo>
                  <a:lnTo>
                    <a:pt x="662" y="3910"/>
                  </a:lnTo>
                  <a:lnTo>
                    <a:pt x="3605"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5" name="Google Shape;298;p23"/>
            <p:cNvSpPr/>
            <p:nvPr/>
          </p:nvSpPr>
          <p:spPr>
            <a:xfrm>
              <a:off x="3431075" y="3656175"/>
              <a:ext cx="88050" cy="99875"/>
            </a:xfrm>
            <a:custGeom>
              <a:avLst/>
              <a:gdLst/>
              <a:ahLst/>
              <a:cxnLst/>
              <a:rect l="l" t="t" r="r" b="b"/>
              <a:pathLst>
                <a:path w="3522" h="3995" extrusionOk="0">
                  <a:moveTo>
                    <a:pt x="2895" y="86"/>
                  </a:moveTo>
                  <a:lnTo>
                    <a:pt x="1" y="3994"/>
                  </a:lnTo>
                  <a:lnTo>
                    <a:pt x="668" y="3909"/>
                  </a:lnTo>
                  <a:lnTo>
                    <a:pt x="3521"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 name="Google Shape;299;p23"/>
            <p:cNvSpPr/>
            <p:nvPr/>
          </p:nvSpPr>
          <p:spPr>
            <a:xfrm>
              <a:off x="3467825" y="3651550"/>
              <a:ext cx="85875" cy="99775"/>
            </a:xfrm>
            <a:custGeom>
              <a:avLst/>
              <a:gdLst/>
              <a:ahLst/>
              <a:cxnLst/>
              <a:rect l="l" t="t" r="r" b="b"/>
              <a:pathLst>
                <a:path w="3435" h="3991" extrusionOk="0">
                  <a:moveTo>
                    <a:pt x="2805" y="85"/>
                  </a:moveTo>
                  <a:lnTo>
                    <a:pt x="1" y="3991"/>
                  </a:lnTo>
                  <a:lnTo>
                    <a:pt x="672" y="3904"/>
                  </a:lnTo>
                  <a:lnTo>
                    <a:pt x="3435"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 name="Google Shape;300;p23"/>
            <p:cNvSpPr/>
            <p:nvPr/>
          </p:nvSpPr>
          <p:spPr>
            <a:xfrm>
              <a:off x="3504825" y="3646150"/>
              <a:ext cx="84125" cy="100325"/>
            </a:xfrm>
            <a:custGeom>
              <a:avLst/>
              <a:gdLst/>
              <a:ahLst/>
              <a:cxnLst/>
              <a:rect l="l" t="t" r="r" b="b"/>
              <a:pathLst>
                <a:path w="3365" h="4013" extrusionOk="0">
                  <a:moveTo>
                    <a:pt x="2714" y="112"/>
                  </a:moveTo>
                  <a:lnTo>
                    <a:pt x="0" y="4013"/>
                  </a:lnTo>
                  <a:lnTo>
                    <a:pt x="694" y="3898"/>
                  </a:lnTo>
                  <a:lnTo>
                    <a:pt x="3365"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8" name="Google Shape;301;p23"/>
            <p:cNvSpPr/>
            <p:nvPr/>
          </p:nvSpPr>
          <p:spPr>
            <a:xfrm>
              <a:off x="3543025" y="3640000"/>
              <a:ext cx="81850" cy="100150"/>
            </a:xfrm>
            <a:custGeom>
              <a:avLst/>
              <a:gdLst/>
              <a:ahLst/>
              <a:cxnLst/>
              <a:rect l="l" t="t" r="r" b="b"/>
              <a:pathLst>
                <a:path w="3274" h="4006" extrusionOk="0">
                  <a:moveTo>
                    <a:pt x="2620" y="112"/>
                  </a:moveTo>
                  <a:lnTo>
                    <a:pt x="0" y="4005"/>
                  </a:lnTo>
                  <a:lnTo>
                    <a:pt x="698" y="3890"/>
                  </a:lnTo>
                  <a:lnTo>
                    <a:pt x="3273"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9" name="Google Shape;302;p23"/>
            <p:cNvSpPr/>
            <p:nvPr/>
          </p:nvSpPr>
          <p:spPr>
            <a:xfrm>
              <a:off x="3581400" y="3633850"/>
              <a:ext cx="79500" cy="99950"/>
            </a:xfrm>
            <a:custGeom>
              <a:avLst/>
              <a:gdLst/>
              <a:ahLst/>
              <a:cxnLst/>
              <a:rect l="l" t="t" r="r" b="b"/>
              <a:pathLst>
                <a:path w="3180" h="3998" extrusionOk="0">
                  <a:moveTo>
                    <a:pt x="2525" y="113"/>
                  </a:moveTo>
                  <a:lnTo>
                    <a:pt x="1" y="3997"/>
                  </a:lnTo>
                  <a:lnTo>
                    <a:pt x="701" y="3882"/>
                  </a:lnTo>
                  <a:lnTo>
                    <a:pt x="3180"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 name="Google Shape;303;p23"/>
            <p:cNvSpPr/>
            <p:nvPr/>
          </p:nvSpPr>
          <p:spPr>
            <a:xfrm>
              <a:off x="3620100" y="3626775"/>
              <a:ext cx="77600" cy="100375"/>
            </a:xfrm>
            <a:custGeom>
              <a:avLst/>
              <a:gdLst/>
              <a:ahLst/>
              <a:cxnLst/>
              <a:rect l="l" t="t" r="r" b="b"/>
              <a:pathLst>
                <a:path w="3104" h="4015" extrusionOk="0">
                  <a:moveTo>
                    <a:pt x="2427" y="140"/>
                  </a:moveTo>
                  <a:lnTo>
                    <a:pt x="1" y="4015"/>
                  </a:lnTo>
                  <a:lnTo>
                    <a:pt x="722" y="3870"/>
                  </a:lnTo>
                  <a:lnTo>
                    <a:pt x="3103"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 name="Google Shape;304;p23"/>
            <p:cNvSpPr/>
            <p:nvPr/>
          </p:nvSpPr>
          <p:spPr>
            <a:xfrm>
              <a:off x="3659800" y="3619125"/>
              <a:ext cx="75150" cy="100050"/>
            </a:xfrm>
            <a:custGeom>
              <a:avLst/>
              <a:gdLst/>
              <a:ahLst/>
              <a:cxnLst/>
              <a:rect l="l" t="t" r="r" b="b"/>
              <a:pathLst>
                <a:path w="3006" h="4002" extrusionOk="0">
                  <a:moveTo>
                    <a:pt x="2328" y="139"/>
                  </a:moveTo>
                  <a:lnTo>
                    <a:pt x="1" y="4002"/>
                  </a:lnTo>
                  <a:lnTo>
                    <a:pt x="725" y="3857"/>
                  </a:lnTo>
                  <a:lnTo>
                    <a:pt x="3005"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2" name="Google Shape;305;p23"/>
            <p:cNvSpPr/>
            <p:nvPr/>
          </p:nvSpPr>
          <p:spPr>
            <a:xfrm>
              <a:off x="3699675" y="3611475"/>
              <a:ext cx="72650" cy="99725"/>
            </a:xfrm>
            <a:custGeom>
              <a:avLst/>
              <a:gdLst/>
              <a:ahLst/>
              <a:cxnLst/>
              <a:rect l="l" t="t" r="r" b="b"/>
              <a:pathLst>
                <a:path w="2906" h="3989" extrusionOk="0">
                  <a:moveTo>
                    <a:pt x="2225" y="140"/>
                  </a:moveTo>
                  <a:lnTo>
                    <a:pt x="0" y="3989"/>
                  </a:lnTo>
                  <a:lnTo>
                    <a:pt x="728" y="3842"/>
                  </a:lnTo>
                  <a:lnTo>
                    <a:pt x="2906"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3" name="Google Shape;306;p23"/>
            <p:cNvSpPr/>
            <p:nvPr/>
          </p:nvSpPr>
          <p:spPr>
            <a:xfrm>
              <a:off x="3739975" y="3602725"/>
              <a:ext cx="70500" cy="99975"/>
            </a:xfrm>
            <a:custGeom>
              <a:avLst/>
              <a:gdLst/>
              <a:ahLst/>
              <a:cxnLst/>
              <a:rect l="l" t="t" r="r" b="b"/>
              <a:pathLst>
                <a:path w="2820" h="3999" extrusionOk="0">
                  <a:moveTo>
                    <a:pt x="2121" y="167"/>
                  </a:moveTo>
                  <a:lnTo>
                    <a:pt x="0" y="3999"/>
                  </a:lnTo>
                  <a:lnTo>
                    <a:pt x="746" y="3825"/>
                  </a:lnTo>
                  <a:lnTo>
                    <a:pt x="2819"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307;p23"/>
            <p:cNvSpPr/>
            <p:nvPr/>
          </p:nvSpPr>
          <p:spPr>
            <a:xfrm>
              <a:off x="3781025" y="3593575"/>
              <a:ext cx="67950" cy="99550"/>
            </a:xfrm>
            <a:custGeom>
              <a:avLst/>
              <a:gdLst/>
              <a:ahLst/>
              <a:cxnLst/>
              <a:rect l="l" t="t" r="r" b="b"/>
              <a:pathLst>
                <a:path w="2718" h="3982" extrusionOk="0">
                  <a:moveTo>
                    <a:pt x="2017" y="167"/>
                  </a:moveTo>
                  <a:lnTo>
                    <a:pt x="0" y="3981"/>
                  </a:lnTo>
                  <a:lnTo>
                    <a:pt x="748" y="3808"/>
                  </a:lnTo>
                  <a:lnTo>
                    <a:pt x="2717"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5" name="Google Shape;308;p23"/>
            <p:cNvSpPr/>
            <p:nvPr/>
          </p:nvSpPr>
          <p:spPr>
            <a:xfrm>
              <a:off x="3822225" y="3584450"/>
              <a:ext cx="65300" cy="99075"/>
            </a:xfrm>
            <a:custGeom>
              <a:avLst/>
              <a:gdLst/>
              <a:ahLst/>
              <a:cxnLst/>
              <a:rect l="l" t="t" r="r" b="b"/>
              <a:pathLst>
                <a:path w="2612" h="3963" extrusionOk="0">
                  <a:moveTo>
                    <a:pt x="1909" y="167"/>
                  </a:moveTo>
                  <a:lnTo>
                    <a:pt x="0" y="3962"/>
                  </a:lnTo>
                  <a:lnTo>
                    <a:pt x="751" y="3787"/>
                  </a:lnTo>
                  <a:lnTo>
                    <a:pt x="2612"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6" name="Google Shape;309;p23"/>
            <p:cNvSpPr/>
            <p:nvPr/>
          </p:nvSpPr>
          <p:spPr>
            <a:xfrm>
              <a:off x="3863900" y="3574000"/>
              <a:ext cx="63025" cy="99200"/>
            </a:xfrm>
            <a:custGeom>
              <a:avLst/>
              <a:gdLst/>
              <a:ahLst/>
              <a:cxnLst/>
              <a:rect l="l" t="t" r="r" b="b"/>
              <a:pathLst>
                <a:path w="2521" h="3968" extrusionOk="0">
                  <a:moveTo>
                    <a:pt x="1802" y="193"/>
                  </a:moveTo>
                  <a:lnTo>
                    <a:pt x="0" y="3967"/>
                  </a:lnTo>
                  <a:lnTo>
                    <a:pt x="768" y="3764"/>
                  </a:lnTo>
                  <a:lnTo>
                    <a:pt x="2520"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7" name="Google Shape;310;p23"/>
            <p:cNvSpPr/>
            <p:nvPr/>
          </p:nvSpPr>
          <p:spPr>
            <a:xfrm>
              <a:off x="3906150" y="3563375"/>
              <a:ext cx="60300" cy="98625"/>
            </a:xfrm>
            <a:custGeom>
              <a:avLst/>
              <a:gdLst/>
              <a:ahLst/>
              <a:cxnLst/>
              <a:rect l="l" t="t" r="r" b="b"/>
              <a:pathLst>
                <a:path w="2412" h="3945" extrusionOk="0">
                  <a:moveTo>
                    <a:pt x="1692" y="194"/>
                  </a:moveTo>
                  <a:lnTo>
                    <a:pt x="0" y="3945"/>
                  </a:lnTo>
                  <a:lnTo>
                    <a:pt x="770" y="3741"/>
                  </a:lnTo>
                  <a:lnTo>
                    <a:pt x="2412"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8" name="Google Shape;311;p23"/>
            <p:cNvSpPr/>
            <p:nvPr/>
          </p:nvSpPr>
          <p:spPr>
            <a:xfrm>
              <a:off x="3948525" y="3552700"/>
              <a:ext cx="57600" cy="98100"/>
            </a:xfrm>
            <a:custGeom>
              <a:avLst/>
              <a:gdLst/>
              <a:ahLst/>
              <a:cxnLst/>
              <a:rect l="l" t="t" r="r" b="b"/>
              <a:pathLst>
                <a:path w="2304" h="3924" extrusionOk="0">
                  <a:moveTo>
                    <a:pt x="1581" y="196"/>
                  </a:moveTo>
                  <a:lnTo>
                    <a:pt x="1" y="3923"/>
                  </a:lnTo>
                  <a:lnTo>
                    <a:pt x="775" y="3716"/>
                  </a:lnTo>
                  <a:lnTo>
                    <a:pt x="2304" y="0"/>
                  </a:lnTo>
                  <a:cubicBezTo>
                    <a:pt x="2061" y="72"/>
                    <a:pt x="1823" y="131"/>
                    <a:pt x="1581" y="196"/>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 name="Google Shape;312;p23"/>
            <p:cNvSpPr/>
            <p:nvPr/>
          </p:nvSpPr>
          <p:spPr>
            <a:xfrm>
              <a:off x="3991425" y="3540650"/>
              <a:ext cx="55100" cy="98000"/>
            </a:xfrm>
            <a:custGeom>
              <a:avLst/>
              <a:gdLst/>
              <a:ahLst/>
              <a:cxnLst/>
              <a:rect l="l" t="t" r="r" b="b"/>
              <a:pathLst>
                <a:path w="2204" h="3920" extrusionOk="0">
                  <a:moveTo>
                    <a:pt x="1469" y="219"/>
                  </a:moveTo>
                  <a:lnTo>
                    <a:pt x="0" y="3920"/>
                  </a:lnTo>
                  <a:lnTo>
                    <a:pt x="787" y="3688"/>
                  </a:lnTo>
                  <a:lnTo>
                    <a:pt x="2203"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 name="Google Shape;313;p23"/>
            <p:cNvSpPr/>
            <p:nvPr/>
          </p:nvSpPr>
          <p:spPr>
            <a:xfrm>
              <a:off x="4034700" y="3528600"/>
              <a:ext cx="52275" cy="97300"/>
            </a:xfrm>
            <a:custGeom>
              <a:avLst/>
              <a:gdLst/>
              <a:ahLst/>
              <a:cxnLst/>
              <a:rect l="l" t="t" r="r" b="b"/>
              <a:pathLst>
                <a:path w="2091" h="3892" extrusionOk="0">
                  <a:moveTo>
                    <a:pt x="1355" y="220"/>
                  </a:moveTo>
                  <a:lnTo>
                    <a:pt x="0" y="3892"/>
                  </a:lnTo>
                  <a:lnTo>
                    <a:pt x="789" y="3659"/>
                  </a:lnTo>
                  <a:lnTo>
                    <a:pt x="2091"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 name="Google Shape;314;p23"/>
            <p:cNvSpPr/>
            <p:nvPr/>
          </p:nvSpPr>
          <p:spPr>
            <a:xfrm>
              <a:off x="4078100" y="3516225"/>
              <a:ext cx="49575" cy="96900"/>
            </a:xfrm>
            <a:custGeom>
              <a:avLst/>
              <a:gdLst/>
              <a:ahLst/>
              <a:cxnLst/>
              <a:rect l="l" t="t" r="r" b="b"/>
              <a:pathLst>
                <a:path w="1983" h="3876" extrusionOk="0">
                  <a:moveTo>
                    <a:pt x="1240" y="234"/>
                  </a:moveTo>
                  <a:lnTo>
                    <a:pt x="1" y="3875"/>
                  </a:lnTo>
                  <a:cubicBezTo>
                    <a:pt x="263" y="3800"/>
                    <a:pt x="529" y="3717"/>
                    <a:pt x="796" y="3629"/>
                  </a:cubicBezTo>
                  <a:lnTo>
                    <a:pt x="1983" y="1"/>
                  </a:lnTo>
                  <a:cubicBezTo>
                    <a:pt x="1734" y="84"/>
                    <a:pt x="1485" y="163"/>
                    <a:pt x="1240" y="234"/>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 name="Google Shape;315;p23"/>
            <p:cNvSpPr/>
            <p:nvPr/>
          </p:nvSpPr>
          <p:spPr>
            <a:xfrm>
              <a:off x="4122025" y="3502775"/>
              <a:ext cx="46800" cy="96425"/>
            </a:xfrm>
            <a:custGeom>
              <a:avLst/>
              <a:gdLst/>
              <a:ahLst/>
              <a:cxnLst/>
              <a:rect l="l" t="t" r="r" b="b"/>
              <a:pathLst>
                <a:path w="1872" h="3857" extrusionOk="0">
                  <a:moveTo>
                    <a:pt x="1123" y="246"/>
                  </a:moveTo>
                  <a:lnTo>
                    <a:pt x="1" y="3856"/>
                  </a:lnTo>
                  <a:lnTo>
                    <a:pt x="802" y="3596"/>
                  </a:lnTo>
                  <a:lnTo>
                    <a:pt x="1872"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 name="Google Shape;316;p23"/>
            <p:cNvSpPr/>
            <p:nvPr/>
          </p:nvSpPr>
          <p:spPr>
            <a:xfrm>
              <a:off x="4166175" y="3489350"/>
              <a:ext cx="43900" cy="95550"/>
            </a:xfrm>
            <a:custGeom>
              <a:avLst/>
              <a:gdLst/>
              <a:ahLst/>
              <a:cxnLst/>
              <a:rect l="l" t="t" r="r" b="b"/>
              <a:pathLst>
                <a:path w="1756" h="3822" extrusionOk="0">
                  <a:moveTo>
                    <a:pt x="1" y="3821"/>
                  </a:moveTo>
                  <a:lnTo>
                    <a:pt x="804" y="3561"/>
                  </a:lnTo>
                  <a:lnTo>
                    <a:pt x="1756" y="1"/>
                  </a:lnTo>
                  <a:lnTo>
                    <a:pt x="1005" y="245"/>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 name="Google Shape;317;p23"/>
            <p:cNvSpPr/>
            <p:nvPr/>
          </p:nvSpPr>
          <p:spPr>
            <a:xfrm>
              <a:off x="4210425" y="3475350"/>
              <a:ext cx="41150" cy="95225"/>
            </a:xfrm>
            <a:custGeom>
              <a:avLst/>
              <a:gdLst/>
              <a:ahLst/>
              <a:cxnLst/>
              <a:rect l="l" t="t" r="r" b="b"/>
              <a:pathLst>
                <a:path w="1646" h="3809" extrusionOk="0">
                  <a:moveTo>
                    <a:pt x="1" y="3808"/>
                  </a:moveTo>
                  <a:lnTo>
                    <a:pt x="813" y="3524"/>
                  </a:lnTo>
                  <a:lnTo>
                    <a:pt x="1646" y="0"/>
                  </a:lnTo>
                  <a:lnTo>
                    <a:pt x="887" y="26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 name="Google Shape;318;p23"/>
            <p:cNvSpPr/>
            <p:nvPr/>
          </p:nvSpPr>
          <p:spPr>
            <a:xfrm>
              <a:off x="4326475" y="3436750"/>
              <a:ext cx="33550" cy="93050"/>
            </a:xfrm>
            <a:custGeom>
              <a:avLst/>
              <a:gdLst/>
              <a:ahLst/>
              <a:cxnLst/>
              <a:rect l="l" t="t" r="r" b="b"/>
              <a:pathLst>
                <a:path w="1342" h="3722" extrusionOk="0">
                  <a:moveTo>
                    <a:pt x="1" y="3721"/>
                  </a:moveTo>
                  <a:cubicBezTo>
                    <a:pt x="272" y="3627"/>
                    <a:pt x="545" y="3529"/>
                    <a:pt x="820" y="3423"/>
                  </a:cubicBezTo>
                  <a:lnTo>
                    <a:pt x="1341" y="1"/>
                  </a:lnTo>
                  <a:cubicBezTo>
                    <a:pt x="1085" y="101"/>
                    <a:pt x="830" y="192"/>
                    <a:pt x="578" y="280"/>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 name="Google Shape;319;p23"/>
            <p:cNvSpPr/>
            <p:nvPr/>
          </p:nvSpPr>
          <p:spPr>
            <a:xfrm>
              <a:off x="4371625" y="3420650"/>
              <a:ext cx="30600" cy="92325"/>
            </a:xfrm>
            <a:custGeom>
              <a:avLst/>
              <a:gdLst/>
              <a:ahLst/>
              <a:cxnLst/>
              <a:rect l="l" t="t" r="r" b="b"/>
              <a:pathLst>
                <a:path w="1224" h="3693" extrusionOk="0">
                  <a:moveTo>
                    <a:pt x="1" y="3692"/>
                  </a:moveTo>
                  <a:lnTo>
                    <a:pt x="823" y="3381"/>
                  </a:lnTo>
                  <a:lnTo>
                    <a:pt x="1223" y="0"/>
                  </a:lnTo>
                  <a:lnTo>
                    <a:pt x="456" y="29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 name="Google Shape;320;p23"/>
            <p:cNvSpPr/>
            <p:nvPr/>
          </p:nvSpPr>
          <p:spPr>
            <a:xfrm>
              <a:off x="4416900" y="3404525"/>
              <a:ext cx="27600" cy="91275"/>
            </a:xfrm>
            <a:custGeom>
              <a:avLst/>
              <a:gdLst/>
              <a:ahLst/>
              <a:cxnLst/>
              <a:rect l="l" t="t" r="r" b="b"/>
              <a:pathLst>
                <a:path w="1104" h="3651" extrusionOk="0">
                  <a:moveTo>
                    <a:pt x="825" y="3338"/>
                  </a:moveTo>
                  <a:lnTo>
                    <a:pt x="1103" y="1"/>
                  </a:lnTo>
                  <a:lnTo>
                    <a:pt x="334" y="293"/>
                  </a:lnTo>
                  <a:lnTo>
                    <a:pt x="1" y="365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 name="Google Shape;321;p23"/>
            <p:cNvSpPr/>
            <p:nvPr/>
          </p:nvSpPr>
          <p:spPr>
            <a:xfrm>
              <a:off x="4462275" y="3387950"/>
              <a:ext cx="24575" cy="90625"/>
            </a:xfrm>
            <a:custGeom>
              <a:avLst/>
              <a:gdLst/>
              <a:ahLst/>
              <a:cxnLst/>
              <a:rect l="l" t="t" r="r" b="b"/>
              <a:pathLst>
                <a:path w="983" h="3625" extrusionOk="0">
                  <a:moveTo>
                    <a:pt x="0" y="3625"/>
                  </a:moveTo>
                  <a:lnTo>
                    <a:pt x="828" y="3291"/>
                  </a:lnTo>
                  <a:lnTo>
                    <a:pt x="983" y="0"/>
                  </a:lnTo>
                  <a:lnTo>
                    <a:pt x="212" y="31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9" name="Google Shape;322;p23"/>
            <p:cNvSpPr/>
            <p:nvPr/>
          </p:nvSpPr>
          <p:spPr>
            <a:xfrm>
              <a:off x="4507825" y="3370600"/>
              <a:ext cx="21525" cy="89525"/>
            </a:xfrm>
            <a:custGeom>
              <a:avLst/>
              <a:gdLst/>
              <a:ahLst/>
              <a:cxnLst/>
              <a:rect l="l" t="t" r="r" b="b"/>
              <a:pathLst>
                <a:path w="861" h="3581" extrusionOk="0">
                  <a:moveTo>
                    <a:pt x="829" y="3244"/>
                  </a:moveTo>
                  <a:lnTo>
                    <a:pt x="861" y="0"/>
                  </a:lnTo>
                  <a:lnTo>
                    <a:pt x="88" y="315"/>
                  </a:lnTo>
                  <a:lnTo>
                    <a:pt x="0" y="358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0" name="Google Shape;323;p23"/>
            <p:cNvSpPr/>
            <p:nvPr/>
          </p:nvSpPr>
          <p:spPr>
            <a:xfrm>
              <a:off x="4552550" y="3353250"/>
              <a:ext cx="21625" cy="88350"/>
            </a:xfrm>
            <a:custGeom>
              <a:avLst/>
              <a:gdLst/>
              <a:ahLst/>
              <a:cxnLst/>
              <a:rect l="l" t="t" r="r" b="b"/>
              <a:pathLst>
                <a:path w="865" h="3534" extrusionOk="0">
                  <a:moveTo>
                    <a:pt x="35" y="3533"/>
                  </a:moveTo>
                  <a:lnTo>
                    <a:pt x="865" y="3196"/>
                  </a:lnTo>
                  <a:lnTo>
                    <a:pt x="773" y="0"/>
                  </a:lnTo>
                  <a:lnTo>
                    <a:pt x="0" y="315"/>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1" name="Google Shape;324;p23"/>
            <p:cNvSpPr/>
            <p:nvPr/>
          </p:nvSpPr>
          <p:spPr>
            <a:xfrm>
              <a:off x="4595125" y="3335175"/>
              <a:ext cx="24700" cy="87675"/>
            </a:xfrm>
            <a:custGeom>
              <a:avLst/>
              <a:gdLst/>
              <a:ahLst/>
              <a:cxnLst/>
              <a:rect l="l" t="t" r="r" b="b"/>
              <a:pathLst>
                <a:path w="988" h="3507" extrusionOk="0">
                  <a:moveTo>
                    <a:pt x="158" y="3507"/>
                  </a:moveTo>
                  <a:lnTo>
                    <a:pt x="988" y="3146"/>
                  </a:lnTo>
                  <a:lnTo>
                    <a:pt x="774" y="1"/>
                  </a:lnTo>
                  <a:lnTo>
                    <a:pt x="0" y="33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325;p23"/>
            <p:cNvSpPr/>
            <p:nvPr/>
          </p:nvSpPr>
          <p:spPr>
            <a:xfrm>
              <a:off x="4637675" y="3316650"/>
              <a:ext cx="27875" cy="86400"/>
            </a:xfrm>
            <a:custGeom>
              <a:avLst/>
              <a:gdLst/>
              <a:ahLst/>
              <a:cxnLst/>
              <a:rect l="l" t="t" r="r" b="b"/>
              <a:pathLst>
                <a:path w="1115" h="3456" extrusionOk="0">
                  <a:moveTo>
                    <a:pt x="283" y="3456"/>
                  </a:moveTo>
                  <a:lnTo>
                    <a:pt x="1114" y="3094"/>
                  </a:lnTo>
                  <a:lnTo>
                    <a:pt x="776" y="1"/>
                  </a:lnTo>
                  <a:lnTo>
                    <a:pt x="1" y="33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3" name="Google Shape;326;p23"/>
            <p:cNvSpPr/>
            <p:nvPr/>
          </p:nvSpPr>
          <p:spPr>
            <a:xfrm>
              <a:off x="4680325" y="3298150"/>
              <a:ext cx="30975" cy="85050"/>
            </a:xfrm>
            <a:custGeom>
              <a:avLst/>
              <a:gdLst/>
              <a:ahLst/>
              <a:cxnLst/>
              <a:rect l="l" t="t" r="r" b="b"/>
              <a:pathLst>
                <a:path w="1239" h="3402" extrusionOk="0">
                  <a:moveTo>
                    <a:pt x="406" y="3402"/>
                  </a:moveTo>
                  <a:lnTo>
                    <a:pt x="1238" y="3042"/>
                  </a:lnTo>
                  <a:lnTo>
                    <a:pt x="776" y="0"/>
                  </a:lnTo>
                  <a:lnTo>
                    <a:pt x="1" y="33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4" name="Google Shape;327;p23"/>
            <p:cNvSpPr/>
            <p:nvPr/>
          </p:nvSpPr>
          <p:spPr>
            <a:xfrm>
              <a:off x="4722925" y="3278725"/>
              <a:ext cx="34025" cy="84225"/>
            </a:xfrm>
            <a:custGeom>
              <a:avLst/>
              <a:gdLst/>
              <a:ahLst/>
              <a:cxnLst/>
              <a:rect l="l" t="t" r="r" b="b"/>
              <a:pathLst>
                <a:path w="1361" h="3369" extrusionOk="0">
                  <a:moveTo>
                    <a:pt x="530" y="3369"/>
                  </a:moveTo>
                  <a:lnTo>
                    <a:pt x="1360" y="2987"/>
                  </a:lnTo>
                  <a:lnTo>
                    <a:pt x="775" y="0"/>
                  </a:lnTo>
                  <a:lnTo>
                    <a:pt x="1" y="35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328;p23"/>
            <p:cNvSpPr/>
            <p:nvPr/>
          </p:nvSpPr>
          <p:spPr>
            <a:xfrm>
              <a:off x="4765475" y="3259075"/>
              <a:ext cx="37100" cy="82850"/>
            </a:xfrm>
            <a:custGeom>
              <a:avLst/>
              <a:gdLst/>
              <a:ahLst/>
              <a:cxnLst/>
              <a:rect l="l" t="t" r="r" b="b"/>
              <a:pathLst>
                <a:path w="1484" h="3314" extrusionOk="0">
                  <a:moveTo>
                    <a:pt x="653" y="3313"/>
                  </a:moveTo>
                  <a:lnTo>
                    <a:pt x="1483" y="2931"/>
                  </a:lnTo>
                  <a:lnTo>
                    <a:pt x="775" y="1"/>
                  </a:lnTo>
                  <a:lnTo>
                    <a:pt x="1" y="35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329;p23"/>
            <p:cNvSpPr/>
            <p:nvPr/>
          </p:nvSpPr>
          <p:spPr>
            <a:xfrm>
              <a:off x="4808050" y="3239425"/>
              <a:ext cx="40200" cy="81475"/>
            </a:xfrm>
            <a:custGeom>
              <a:avLst/>
              <a:gdLst/>
              <a:ahLst/>
              <a:cxnLst/>
              <a:rect l="l" t="t" r="r" b="b"/>
              <a:pathLst>
                <a:path w="1608" h="3259" extrusionOk="0">
                  <a:moveTo>
                    <a:pt x="776" y="3258"/>
                  </a:moveTo>
                  <a:lnTo>
                    <a:pt x="1607" y="2875"/>
                  </a:lnTo>
                  <a:lnTo>
                    <a:pt x="774" y="1"/>
                  </a:lnTo>
                  <a:lnTo>
                    <a:pt x="0" y="35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 name="Google Shape;330;p23"/>
            <p:cNvSpPr/>
            <p:nvPr/>
          </p:nvSpPr>
          <p:spPr>
            <a:xfrm>
              <a:off x="4850475" y="3218750"/>
              <a:ext cx="43125" cy="80475"/>
            </a:xfrm>
            <a:custGeom>
              <a:avLst/>
              <a:gdLst/>
              <a:ahLst/>
              <a:cxnLst/>
              <a:rect l="l" t="t" r="r" b="b"/>
              <a:pathLst>
                <a:path w="1725" h="3219" extrusionOk="0">
                  <a:moveTo>
                    <a:pt x="1" y="376"/>
                  </a:moveTo>
                  <a:lnTo>
                    <a:pt x="900" y="3218"/>
                  </a:lnTo>
                  <a:lnTo>
                    <a:pt x="1725" y="2816"/>
                  </a:lnTo>
                  <a:lnTo>
                    <a:pt x="770"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 name="Google Shape;331;p23"/>
            <p:cNvSpPr/>
            <p:nvPr/>
          </p:nvSpPr>
          <p:spPr>
            <a:xfrm>
              <a:off x="4892800" y="3198100"/>
              <a:ext cx="46200" cy="78975"/>
            </a:xfrm>
            <a:custGeom>
              <a:avLst/>
              <a:gdLst/>
              <a:ahLst/>
              <a:cxnLst/>
              <a:rect l="l" t="t" r="r" b="b"/>
              <a:pathLst>
                <a:path w="1848" h="3159" extrusionOk="0">
                  <a:moveTo>
                    <a:pt x="1847" y="2755"/>
                  </a:moveTo>
                  <a:lnTo>
                    <a:pt x="769" y="1"/>
                  </a:lnTo>
                  <a:lnTo>
                    <a:pt x="0" y="375"/>
                  </a:lnTo>
                  <a:lnTo>
                    <a:pt x="1023" y="315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332;p23"/>
            <p:cNvSpPr/>
            <p:nvPr/>
          </p:nvSpPr>
          <p:spPr>
            <a:xfrm>
              <a:off x="4935125" y="3177225"/>
              <a:ext cx="49175" cy="77700"/>
            </a:xfrm>
            <a:custGeom>
              <a:avLst/>
              <a:gdLst/>
              <a:ahLst/>
              <a:cxnLst/>
              <a:rect l="l" t="t" r="r" b="b"/>
              <a:pathLst>
                <a:path w="1967" h="3108" extrusionOk="0">
                  <a:moveTo>
                    <a:pt x="1967" y="2695"/>
                  </a:moveTo>
                  <a:lnTo>
                    <a:pt x="766" y="1"/>
                  </a:lnTo>
                  <a:cubicBezTo>
                    <a:pt x="512" y="133"/>
                    <a:pt x="257" y="262"/>
                    <a:pt x="0" y="385"/>
                  </a:cubicBezTo>
                  <a:lnTo>
                    <a:pt x="1145" y="3107"/>
                  </a:lnTo>
                  <a:cubicBezTo>
                    <a:pt x="1421" y="2975"/>
                    <a:pt x="1695" y="2837"/>
                    <a:pt x="1967" y="2695"/>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333;p23"/>
            <p:cNvSpPr/>
            <p:nvPr/>
          </p:nvSpPr>
          <p:spPr>
            <a:xfrm>
              <a:off x="4977125" y="3155575"/>
              <a:ext cx="52125" cy="76375"/>
            </a:xfrm>
            <a:custGeom>
              <a:avLst/>
              <a:gdLst/>
              <a:ahLst/>
              <a:cxnLst/>
              <a:rect l="l" t="t" r="r" b="b"/>
              <a:pathLst>
                <a:path w="2085" h="3055" extrusionOk="0">
                  <a:moveTo>
                    <a:pt x="2084" y="2634"/>
                  </a:moveTo>
                  <a:lnTo>
                    <a:pt x="762" y="1"/>
                  </a:lnTo>
                  <a:lnTo>
                    <a:pt x="0" y="394"/>
                  </a:lnTo>
                  <a:lnTo>
                    <a:pt x="1267" y="3055"/>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334;p23"/>
            <p:cNvSpPr/>
            <p:nvPr/>
          </p:nvSpPr>
          <p:spPr>
            <a:xfrm>
              <a:off x="5019025" y="3133975"/>
              <a:ext cx="55150" cy="74825"/>
            </a:xfrm>
            <a:custGeom>
              <a:avLst/>
              <a:gdLst/>
              <a:ahLst/>
              <a:cxnLst/>
              <a:rect l="l" t="t" r="r" b="b"/>
              <a:pathLst>
                <a:path w="2206" h="2993" extrusionOk="0">
                  <a:moveTo>
                    <a:pt x="2206" y="2570"/>
                  </a:moveTo>
                  <a:lnTo>
                    <a:pt x="762" y="0"/>
                  </a:lnTo>
                  <a:lnTo>
                    <a:pt x="1" y="393"/>
                  </a:lnTo>
                  <a:lnTo>
                    <a:pt x="1389" y="299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335;p23"/>
            <p:cNvSpPr/>
            <p:nvPr/>
          </p:nvSpPr>
          <p:spPr>
            <a:xfrm>
              <a:off x="5060950" y="3112000"/>
              <a:ext cx="57900" cy="73600"/>
            </a:xfrm>
            <a:custGeom>
              <a:avLst/>
              <a:gdLst/>
              <a:ahLst/>
              <a:cxnLst/>
              <a:rect l="l" t="t" r="r" b="b"/>
              <a:pathLst>
                <a:path w="2316" h="2944" extrusionOk="0">
                  <a:moveTo>
                    <a:pt x="2316" y="2505"/>
                  </a:moveTo>
                  <a:lnTo>
                    <a:pt x="752" y="0"/>
                  </a:lnTo>
                  <a:lnTo>
                    <a:pt x="0" y="409"/>
                  </a:lnTo>
                  <a:lnTo>
                    <a:pt x="1509" y="294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336;p23"/>
            <p:cNvSpPr/>
            <p:nvPr/>
          </p:nvSpPr>
          <p:spPr>
            <a:xfrm>
              <a:off x="5102300" y="3089500"/>
              <a:ext cx="60900" cy="71975"/>
            </a:xfrm>
            <a:custGeom>
              <a:avLst/>
              <a:gdLst/>
              <a:ahLst/>
              <a:cxnLst/>
              <a:rect l="l" t="t" r="r" b="b"/>
              <a:pathLst>
                <a:path w="2436" h="2879" extrusionOk="0">
                  <a:moveTo>
                    <a:pt x="2435" y="2440"/>
                  </a:moveTo>
                  <a:lnTo>
                    <a:pt x="751" y="1"/>
                  </a:lnTo>
                  <a:lnTo>
                    <a:pt x="0" y="409"/>
                  </a:lnTo>
                  <a:lnTo>
                    <a:pt x="1630" y="287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337;p23"/>
            <p:cNvSpPr/>
            <p:nvPr/>
          </p:nvSpPr>
          <p:spPr>
            <a:xfrm>
              <a:off x="5143625" y="3067050"/>
              <a:ext cx="63875" cy="70300"/>
            </a:xfrm>
            <a:custGeom>
              <a:avLst/>
              <a:gdLst/>
              <a:ahLst/>
              <a:cxnLst/>
              <a:rect l="l" t="t" r="r" b="b"/>
              <a:pathLst>
                <a:path w="2555" h="2812" extrusionOk="0">
                  <a:moveTo>
                    <a:pt x="2554" y="2373"/>
                  </a:moveTo>
                  <a:lnTo>
                    <a:pt x="752" y="0"/>
                  </a:lnTo>
                  <a:lnTo>
                    <a:pt x="1" y="408"/>
                  </a:lnTo>
                  <a:lnTo>
                    <a:pt x="1749" y="281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338;p23"/>
            <p:cNvSpPr/>
            <p:nvPr/>
          </p:nvSpPr>
          <p:spPr>
            <a:xfrm>
              <a:off x="5184825" y="3044050"/>
              <a:ext cx="66500" cy="69025"/>
            </a:xfrm>
            <a:custGeom>
              <a:avLst/>
              <a:gdLst/>
              <a:ahLst/>
              <a:cxnLst/>
              <a:rect l="l" t="t" r="r" b="b"/>
              <a:pathLst>
                <a:path w="2660" h="2761" extrusionOk="0">
                  <a:moveTo>
                    <a:pt x="2660" y="2306"/>
                  </a:moveTo>
                  <a:lnTo>
                    <a:pt x="739" y="0"/>
                  </a:lnTo>
                  <a:lnTo>
                    <a:pt x="1" y="423"/>
                  </a:lnTo>
                  <a:lnTo>
                    <a:pt x="1868" y="276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339;p23"/>
            <p:cNvSpPr/>
            <p:nvPr/>
          </p:nvSpPr>
          <p:spPr>
            <a:xfrm>
              <a:off x="5225425" y="3020800"/>
              <a:ext cx="69425" cy="67275"/>
            </a:xfrm>
            <a:custGeom>
              <a:avLst/>
              <a:gdLst/>
              <a:ahLst/>
              <a:cxnLst/>
              <a:rect l="l" t="t" r="r" b="b"/>
              <a:pathLst>
                <a:path w="2777" h="2691" extrusionOk="0">
                  <a:moveTo>
                    <a:pt x="2777" y="2237"/>
                  </a:moveTo>
                  <a:lnTo>
                    <a:pt x="739" y="0"/>
                  </a:lnTo>
                  <a:lnTo>
                    <a:pt x="1" y="422"/>
                  </a:lnTo>
                  <a:lnTo>
                    <a:pt x="1986" y="269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 name="Google Shape;340;p23"/>
            <p:cNvSpPr/>
            <p:nvPr/>
          </p:nvSpPr>
          <p:spPr>
            <a:xfrm>
              <a:off x="5266025" y="2997575"/>
              <a:ext cx="72325" cy="65550"/>
            </a:xfrm>
            <a:custGeom>
              <a:avLst/>
              <a:gdLst/>
              <a:ahLst/>
              <a:cxnLst/>
              <a:rect l="l" t="t" r="r" b="b"/>
              <a:pathLst>
                <a:path w="2893" h="2622" extrusionOk="0">
                  <a:moveTo>
                    <a:pt x="2892" y="2169"/>
                  </a:moveTo>
                  <a:lnTo>
                    <a:pt x="739" y="0"/>
                  </a:lnTo>
                  <a:lnTo>
                    <a:pt x="0" y="423"/>
                  </a:lnTo>
                  <a:lnTo>
                    <a:pt x="2101" y="262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 name="Google Shape;341;p23"/>
            <p:cNvSpPr/>
            <p:nvPr/>
          </p:nvSpPr>
          <p:spPr>
            <a:xfrm>
              <a:off x="5306275" y="2973700"/>
              <a:ext cx="74775" cy="64175"/>
            </a:xfrm>
            <a:custGeom>
              <a:avLst/>
              <a:gdLst/>
              <a:ahLst/>
              <a:cxnLst/>
              <a:rect l="l" t="t" r="r" b="b"/>
              <a:pathLst>
                <a:path w="2991" h="2567" extrusionOk="0">
                  <a:moveTo>
                    <a:pt x="2990" y="2099"/>
                  </a:moveTo>
                  <a:lnTo>
                    <a:pt x="723" y="0"/>
                  </a:lnTo>
                  <a:lnTo>
                    <a:pt x="1" y="436"/>
                  </a:lnTo>
                  <a:lnTo>
                    <a:pt x="2216" y="256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9" name="Google Shape;342;p23"/>
            <p:cNvSpPr/>
            <p:nvPr/>
          </p:nvSpPr>
          <p:spPr>
            <a:xfrm>
              <a:off x="5346000" y="2949775"/>
              <a:ext cx="77600" cy="62375"/>
            </a:xfrm>
            <a:custGeom>
              <a:avLst/>
              <a:gdLst/>
              <a:ahLst/>
              <a:cxnLst/>
              <a:rect l="l" t="t" r="r" b="b"/>
              <a:pathLst>
                <a:path w="3104" h="2495" extrusionOk="0">
                  <a:moveTo>
                    <a:pt x="3103" y="2028"/>
                  </a:moveTo>
                  <a:lnTo>
                    <a:pt x="722" y="0"/>
                  </a:lnTo>
                  <a:lnTo>
                    <a:pt x="1" y="435"/>
                  </a:lnTo>
                  <a:lnTo>
                    <a:pt x="2330" y="2495"/>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 name="Google Shape;343;p23"/>
            <p:cNvSpPr/>
            <p:nvPr/>
          </p:nvSpPr>
          <p:spPr>
            <a:xfrm>
              <a:off x="5385675" y="2925850"/>
              <a:ext cx="80350" cy="60625"/>
            </a:xfrm>
            <a:custGeom>
              <a:avLst/>
              <a:gdLst/>
              <a:ahLst/>
              <a:cxnLst/>
              <a:rect l="l" t="t" r="r" b="b"/>
              <a:pathLst>
                <a:path w="3214" h="2425" extrusionOk="0">
                  <a:moveTo>
                    <a:pt x="3214" y="1956"/>
                  </a:moveTo>
                  <a:lnTo>
                    <a:pt x="720" y="1"/>
                  </a:lnTo>
                  <a:lnTo>
                    <a:pt x="1" y="436"/>
                  </a:lnTo>
                  <a:lnTo>
                    <a:pt x="2443" y="2425"/>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 name="Google Shape;344;p23"/>
            <p:cNvSpPr/>
            <p:nvPr/>
          </p:nvSpPr>
          <p:spPr>
            <a:xfrm>
              <a:off x="5424775" y="2901300"/>
              <a:ext cx="82700" cy="59075"/>
            </a:xfrm>
            <a:custGeom>
              <a:avLst/>
              <a:gdLst/>
              <a:ahLst/>
              <a:cxnLst/>
              <a:rect l="l" t="t" r="r" b="b"/>
              <a:pathLst>
                <a:path w="3308" h="2363" extrusionOk="0">
                  <a:moveTo>
                    <a:pt x="3307" y="1883"/>
                  </a:moveTo>
                  <a:lnTo>
                    <a:pt x="703" y="0"/>
                  </a:lnTo>
                  <a:lnTo>
                    <a:pt x="0" y="446"/>
                  </a:lnTo>
                  <a:lnTo>
                    <a:pt x="2554" y="236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 name="Google Shape;345;p23"/>
            <p:cNvSpPr/>
            <p:nvPr/>
          </p:nvSpPr>
          <p:spPr>
            <a:xfrm>
              <a:off x="5463425" y="2876775"/>
              <a:ext cx="85425" cy="57275"/>
            </a:xfrm>
            <a:custGeom>
              <a:avLst/>
              <a:gdLst/>
              <a:ahLst/>
              <a:cxnLst/>
              <a:rect l="l" t="t" r="r" b="b"/>
              <a:pathLst>
                <a:path w="3417" h="2291" extrusionOk="0">
                  <a:moveTo>
                    <a:pt x="3417" y="1812"/>
                  </a:moveTo>
                  <a:lnTo>
                    <a:pt x="703" y="1"/>
                  </a:lnTo>
                  <a:lnTo>
                    <a:pt x="0" y="446"/>
                  </a:lnTo>
                  <a:lnTo>
                    <a:pt x="2665" y="229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 name="Google Shape;346;p23"/>
            <p:cNvSpPr/>
            <p:nvPr/>
          </p:nvSpPr>
          <p:spPr>
            <a:xfrm>
              <a:off x="5502050" y="2852175"/>
              <a:ext cx="87825" cy="55575"/>
            </a:xfrm>
            <a:custGeom>
              <a:avLst/>
              <a:gdLst/>
              <a:ahLst/>
              <a:cxnLst/>
              <a:rect l="l" t="t" r="r" b="b"/>
              <a:pathLst>
                <a:path w="3513" h="2223" extrusionOk="0">
                  <a:moveTo>
                    <a:pt x="3512" y="1738"/>
                  </a:moveTo>
                  <a:lnTo>
                    <a:pt x="691" y="0"/>
                  </a:lnTo>
                  <a:cubicBezTo>
                    <a:pt x="465" y="153"/>
                    <a:pt x="237" y="305"/>
                    <a:pt x="0" y="451"/>
                  </a:cubicBezTo>
                  <a:lnTo>
                    <a:pt x="2773" y="2222"/>
                  </a:lnTo>
                  <a:cubicBezTo>
                    <a:pt x="3026" y="2065"/>
                    <a:pt x="3269" y="1902"/>
                    <a:pt x="3512" y="1738"/>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4" name="Google Shape;347;p23"/>
            <p:cNvSpPr/>
            <p:nvPr/>
          </p:nvSpPr>
          <p:spPr>
            <a:xfrm>
              <a:off x="5539775" y="2827125"/>
              <a:ext cx="90225" cy="53850"/>
            </a:xfrm>
            <a:custGeom>
              <a:avLst/>
              <a:gdLst/>
              <a:ahLst/>
              <a:cxnLst/>
              <a:rect l="l" t="t" r="r" b="b"/>
              <a:pathLst>
                <a:path w="3609" h="2154" extrusionOk="0">
                  <a:moveTo>
                    <a:pt x="3608" y="1665"/>
                  </a:moveTo>
                  <a:lnTo>
                    <a:pt x="682" y="1"/>
                  </a:lnTo>
                  <a:lnTo>
                    <a:pt x="0" y="456"/>
                  </a:lnTo>
                  <a:lnTo>
                    <a:pt x="2879" y="215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 name="Google Shape;348;p23"/>
            <p:cNvSpPr/>
            <p:nvPr/>
          </p:nvSpPr>
          <p:spPr>
            <a:xfrm>
              <a:off x="5577225" y="2802175"/>
              <a:ext cx="92800" cy="51950"/>
            </a:xfrm>
            <a:custGeom>
              <a:avLst/>
              <a:gdLst/>
              <a:ahLst/>
              <a:cxnLst/>
              <a:rect l="l" t="t" r="r" b="b"/>
              <a:pathLst>
                <a:path w="3712" h="2078" extrusionOk="0">
                  <a:moveTo>
                    <a:pt x="3712" y="1590"/>
                  </a:moveTo>
                  <a:lnTo>
                    <a:pt x="681" y="1"/>
                  </a:lnTo>
                  <a:lnTo>
                    <a:pt x="1" y="453"/>
                  </a:lnTo>
                  <a:lnTo>
                    <a:pt x="2984" y="207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 name="Google Shape;349;p23"/>
            <p:cNvSpPr/>
            <p:nvPr/>
          </p:nvSpPr>
          <p:spPr>
            <a:xfrm>
              <a:off x="5614650" y="2777000"/>
              <a:ext cx="94800" cy="50325"/>
            </a:xfrm>
            <a:custGeom>
              <a:avLst/>
              <a:gdLst/>
              <a:ahLst/>
              <a:cxnLst/>
              <a:rect l="l" t="t" r="r" b="b"/>
              <a:pathLst>
                <a:path w="3792" h="2013" extrusionOk="0">
                  <a:moveTo>
                    <a:pt x="3791" y="1515"/>
                  </a:moveTo>
                  <a:lnTo>
                    <a:pt x="657" y="1"/>
                  </a:lnTo>
                  <a:lnTo>
                    <a:pt x="0" y="463"/>
                  </a:lnTo>
                  <a:lnTo>
                    <a:pt x="3088" y="201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7" name="Google Shape;350;p23"/>
            <p:cNvSpPr/>
            <p:nvPr/>
          </p:nvSpPr>
          <p:spPr>
            <a:xfrm>
              <a:off x="5650800" y="2751575"/>
              <a:ext cx="97300" cy="48425"/>
            </a:xfrm>
            <a:custGeom>
              <a:avLst/>
              <a:gdLst/>
              <a:ahLst/>
              <a:cxnLst/>
              <a:rect l="l" t="t" r="r" b="b"/>
              <a:pathLst>
                <a:path w="3892" h="1937" extrusionOk="0">
                  <a:moveTo>
                    <a:pt x="3891" y="1440"/>
                  </a:moveTo>
                  <a:lnTo>
                    <a:pt x="657" y="1"/>
                  </a:lnTo>
                  <a:lnTo>
                    <a:pt x="0" y="463"/>
                  </a:lnTo>
                  <a:lnTo>
                    <a:pt x="3190" y="193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 name="Google Shape;351;p23"/>
            <p:cNvSpPr/>
            <p:nvPr/>
          </p:nvSpPr>
          <p:spPr>
            <a:xfrm>
              <a:off x="5686900" y="2726250"/>
              <a:ext cx="99750" cy="46500"/>
            </a:xfrm>
            <a:custGeom>
              <a:avLst/>
              <a:gdLst/>
              <a:ahLst/>
              <a:cxnLst/>
              <a:rect l="l" t="t" r="r" b="b"/>
              <a:pathLst>
                <a:path w="3990" h="1860" extrusionOk="0">
                  <a:moveTo>
                    <a:pt x="3990" y="1365"/>
                  </a:moveTo>
                  <a:lnTo>
                    <a:pt x="656" y="0"/>
                  </a:lnTo>
                  <a:lnTo>
                    <a:pt x="1" y="461"/>
                  </a:lnTo>
                  <a:lnTo>
                    <a:pt x="3290" y="185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 name="Google Shape;352;p23"/>
            <p:cNvSpPr/>
            <p:nvPr/>
          </p:nvSpPr>
          <p:spPr>
            <a:xfrm>
              <a:off x="5722725" y="2700650"/>
              <a:ext cx="101550" cy="44825"/>
            </a:xfrm>
            <a:custGeom>
              <a:avLst/>
              <a:gdLst/>
              <a:ahLst/>
              <a:cxnLst/>
              <a:rect l="l" t="t" r="r" b="b"/>
              <a:pathLst>
                <a:path w="4062" h="1793" extrusionOk="0">
                  <a:moveTo>
                    <a:pt x="4062" y="1290"/>
                  </a:moveTo>
                  <a:lnTo>
                    <a:pt x="631" y="1"/>
                  </a:lnTo>
                  <a:lnTo>
                    <a:pt x="0" y="469"/>
                  </a:lnTo>
                  <a:lnTo>
                    <a:pt x="3387" y="179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353;p23"/>
            <p:cNvSpPr/>
            <p:nvPr/>
          </p:nvSpPr>
          <p:spPr>
            <a:xfrm>
              <a:off x="5757375" y="2675000"/>
              <a:ext cx="103925" cy="42850"/>
            </a:xfrm>
            <a:custGeom>
              <a:avLst/>
              <a:gdLst/>
              <a:ahLst/>
              <a:cxnLst/>
              <a:rect l="l" t="t" r="r" b="b"/>
              <a:pathLst>
                <a:path w="4157" h="1714" extrusionOk="0">
                  <a:moveTo>
                    <a:pt x="4156" y="1213"/>
                  </a:moveTo>
                  <a:lnTo>
                    <a:pt x="631" y="0"/>
                  </a:lnTo>
                  <a:lnTo>
                    <a:pt x="1" y="467"/>
                  </a:lnTo>
                  <a:lnTo>
                    <a:pt x="3483" y="171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 name="Google Shape;354;p23"/>
            <p:cNvSpPr/>
            <p:nvPr/>
          </p:nvSpPr>
          <p:spPr>
            <a:xfrm>
              <a:off x="5792000" y="2649400"/>
              <a:ext cx="106200" cy="40950"/>
            </a:xfrm>
            <a:custGeom>
              <a:avLst/>
              <a:gdLst/>
              <a:ahLst/>
              <a:cxnLst/>
              <a:rect l="l" t="t" r="r" b="b"/>
              <a:pathLst>
                <a:path w="4248" h="1638" extrusionOk="0">
                  <a:moveTo>
                    <a:pt x="4248" y="1138"/>
                  </a:moveTo>
                  <a:lnTo>
                    <a:pt x="629" y="1"/>
                  </a:lnTo>
                  <a:lnTo>
                    <a:pt x="1" y="465"/>
                  </a:lnTo>
                  <a:lnTo>
                    <a:pt x="3577" y="163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 name="Google Shape;355;p23"/>
            <p:cNvSpPr/>
            <p:nvPr/>
          </p:nvSpPr>
          <p:spPr>
            <a:xfrm>
              <a:off x="5826050" y="2623550"/>
              <a:ext cx="107800" cy="39175"/>
            </a:xfrm>
            <a:custGeom>
              <a:avLst/>
              <a:gdLst/>
              <a:ahLst/>
              <a:cxnLst/>
              <a:rect l="l" t="t" r="r" b="b"/>
              <a:pathLst>
                <a:path w="4312" h="1567" extrusionOk="0">
                  <a:moveTo>
                    <a:pt x="4312" y="1061"/>
                  </a:moveTo>
                  <a:lnTo>
                    <a:pt x="602" y="0"/>
                  </a:lnTo>
                  <a:lnTo>
                    <a:pt x="0" y="471"/>
                  </a:lnTo>
                  <a:lnTo>
                    <a:pt x="3669" y="156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 name="Google Shape;356;p23"/>
            <p:cNvSpPr/>
            <p:nvPr/>
          </p:nvSpPr>
          <p:spPr>
            <a:xfrm>
              <a:off x="5859100" y="2597700"/>
              <a:ext cx="109975" cy="37250"/>
            </a:xfrm>
            <a:custGeom>
              <a:avLst/>
              <a:gdLst/>
              <a:ahLst/>
              <a:cxnLst/>
              <a:rect l="l" t="t" r="r" b="b"/>
              <a:pathLst>
                <a:path w="4399" h="1490" extrusionOk="0">
                  <a:moveTo>
                    <a:pt x="4399" y="985"/>
                  </a:moveTo>
                  <a:lnTo>
                    <a:pt x="601" y="0"/>
                  </a:lnTo>
                  <a:lnTo>
                    <a:pt x="1" y="470"/>
                  </a:lnTo>
                  <a:lnTo>
                    <a:pt x="3758" y="148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 name="Google Shape;357;p23"/>
            <p:cNvSpPr/>
            <p:nvPr/>
          </p:nvSpPr>
          <p:spPr>
            <a:xfrm>
              <a:off x="5892100" y="2571950"/>
              <a:ext cx="112125" cy="35300"/>
            </a:xfrm>
            <a:custGeom>
              <a:avLst/>
              <a:gdLst/>
              <a:ahLst/>
              <a:cxnLst/>
              <a:rect l="l" t="t" r="r" b="b"/>
              <a:pathLst>
                <a:path w="4485" h="1412" extrusionOk="0">
                  <a:moveTo>
                    <a:pt x="4484" y="909"/>
                  </a:moveTo>
                  <a:lnTo>
                    <a:pt x="600" y="0"/>
                  </a:lnTo>
                  <a:lnTo>
                    <a:pt x="0" y="468"/>
                  </a:lnTo>
                  <a:lnTo>
                    <a:pt x="3846" y="141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 name="Google Shape;358;p23"/>
            <p:cNvSpPr/>
            <p:nvPr/>
          </p:nvSpPr>
          <p:spPr>
            <a:xfrm>
              <a:off x="5911425" y="2556575"/>
              <a:ext cx="112625" cy="34325"/>
            </a:xfrm>
            <a:custGeom>
              <a:avLst/>
              <a:gdLst/>
              <a:ahLst/>
              <a:cxnLst/>
              <a:rect l="l" t="t" r="r" b="b"/>
              <a:pathLst>
                <a:path w="4505" h="1373" extrusionOk="0">
                  <a:moveTo>
                    <a:pt x="4504" y="865"/>
                  </a:moveTo>
                  <a:lnTo>
                    <a:pt x="571" y="0"/>
                  </a:lnTo>
                  <a:lnTo>
                    <a:pt x="0" y="473"/>
                  </a:lnTo>
                  <a:lnTo>
                    <a:pt x="3896" y="137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 name="Google Shape;359;p23"/>
            <p:cNvSpPr/>
            <p:nvPr/>
          </p:nvSpPr>
          <p:spPr>
            <a:xfrm>
              <a:off x="5942775" y="2530625"/>
              <a:ext cx="114675" cy="32375"/>
            </a:xfrm>
            <a:custGeom>
              <a:avLst/>
              <a:gdLst/>
              <a:ahLst/>
              <a:cxnLst/>
              <a:rect l="l" t="t" r="r" b="b"/>
              <a:pathLst>
                <a:path w="4587" h="1295" extrusionOk="0">
                  <a:moveTo>
                    <a:pt x="4587" y="789"/>
                  </a:moveTo>
                  <a:lnTo>
                    <a:pt x="570" y="0"/>
                  </a:lnTo>
                  <a:lnTo>
                    <a:pt x="1" y="472"/>
                  </a:lnTo>
                  <a:lnTo>
                    <a:pt x="3980" y="1294"/>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 name="Google Shape;360;p23"/>
            <p:cNvSpPr/>
            <p:nvPr/>
          </p:nvSpPr>
          <p:spPr>
            <a:xfrm>
              <a:off x="5974075" y="2504750"/>
              <a:ext cx="116650" cy="30475"/>
            </a:xfrm>
            <a:custGeom>
              <a:avLst/>
              <a:gdLst/>
              <a:ahLst/>
              <a:cxnLst/>
              <a:rect l="l" t="t" r="r" b="b"/>
              <a:pathLst>
                <a:path w="4666" h="1219" extrusionOk="0">
                  <a:moveTo>
                    <a:pt x="1" y="471"/>
                  </a:moveTo>
                  <a:lnTo>
                    <a:pt x="4061" y="1218"/>
                  </a:lnTo>
                  <a:lnTo>
                    <a:pt x="4666" y="715"/>
                  </a:lnTo>
                  <a:lnTo>
                    <a:pt x="568"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 name="Google Shape;361;p23"/>
            <p:cNvSpPr/>
            <p:nvPr/>
          </p:nvSpPr>
          <p:spPr>
            <a:xfrm>
              <a:off x="6004875" y="2478825"/>
              <a:ext cx="117850" cy="28650"/>
            </a:xfrm>
            <a:custGeom>
              <a:avLst/>
              <a:gdLst/>
              <a:ahLst/>
              <a:cxnLst/>
              <a:rect l="l" t="t" r="r" b="b"/>
              <a:pathLst>
                <a:path w="4714" h="1146" extrusionOk="0">
                  <a:moveTo>
                    <a:pt x="1" y="474"/>
                  </a:moveTo>
                  <a:lnTo>
                    <a:pt x="4141" y="1145"/>
                  </a:lnTo>
                  <a:lnTo>
                    <a:pt x="4713" y="639"/>
                  </a:lnTo>
                  <a:lnTo>
                    <a:pt x="538"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362;p23"/>
            <p:cNvSpPr/>
            <p:nvPr/>
          </p:nvSpPr>
          <p:spPr>
            <a:xfrm>
              <a:off x="6034425" y="2452925"/>
              <a:ext cx="119675" cy="26725"/>
            </a:xfrm>
            <a:custGeom>
              <a:avLst/>
              <a:gdLst/>
              <a:ahLst/>
              <a:cxnLst/>
              <a:rect l="l" t="t" r="r" b="b"/>
              <a:pathLst>
                <a:path w="4787" h="1069" extrusionOk="0">
                  <a:moveTo>
                    <a:pt x="0" y="471"/>
                  </a:moveTo>
                  <a:lnTo>
                    <a:pt x="4217" y="1068"/>
                  </a:lnTo>
                  <a:lnTo>
                    <a:pt x="4787" y="564"/>
                  </a:lnTo>
                  <a:lnTo>
                    <a:pt x="536"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363;p23"/>
            <p:cNvSpPr/>
            <p:nvPr/>
          </p:nvSpPr>
          <p:spPr>
            <a:xfrm>
              <a:off x="6063875" y="2427125"/>
              <a:ext cx="121500" cy="24800"/>
            </a:xfrm>
            <a:custGeom>
              <a:avLst/>
              <a:gdLst/>
              <a:ahLst/>
              <a:cxnLst/>
              <a:rect l="l" t="t" r="r" b="b"/>
              <a:pathLst>
                <a:path w="4860" h="992" extrusionOk="0">
                  <a:moveTo>
                    <a:pt x="1" y="469"/>
                  </a:moveTo>
                  <a:lnTo>
                    <a:pt x="4291" y="991"/>
                  </a:lnTo>
                  <a:lnTo>
                    <a:pt x="4860" y="489"/>
                  </a:lnTo>
                  <a:lnTo>
                    <a:pt x="536"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364;p23"/>
            <p:cNvSpPr/>
            <p:nvPr/>
          </p:nvSpPr>
          <p:spPr>
            <a:xfrm>
              <a:off x="6092600" y="2401275"/>
              <a:ext cx="122425" cy="22975"/>
            </a:xfrm>
            <a:custGeom>
              <a:avLst/>
              <a:gdLst/>
              <a:ahLst/>
              <a:cxnLst/>
              <a:rect l="l" t="t" r="r" b="b"/>
              <a:pathLst>
                <a:path w="4897" h="919" extrusionOk="0">
                  <a:moveTo>
                    <a:pt x="1" y="470"/>
                  </a:moveTo>
                  <a:lnTo>
                    <a:pt x="4364" y="919"/>
                  </a:lnTo>
                  <a:lnTo>
                    <a:pt x="4896" y="415"/>
                  </a:lnTo>
                  <a:lnTo>
                    <a:pt x="503"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365;p23"/>
            <p:cNvSpPr/>
            <p:nvPr/>
          </p:nvSpPr>
          <p:spPr>
            <a:xfrm>
              <a:off x="6120200" y="2375500"/>
              <a:ext cx="124100" cy="21075"/>
            </a:xfrm>
            <a:custGeom>
              <a:avLst/>
              <a:gdLst/>
              <a:ahLst/>
              <a:cxnLst/>
              <a:rect l="l" t="t" r="r" b="b"/>
              <a:pathLst>
                <a:path w="4964" h="843" extrusionOk="0">
                  <a:moveTo>
                    <a:pt x="4963" y="342"/>
                  </a:moveTo>
                  <a:lnTo>
                    <a:pt x="502" y="0"/>
                  </a:lnTo>
                  <a:lnTo>
                    <a:pt x="0" y="468"/>
                  </a:lnTo>
                  <a:lnTo>
                    <a:pt x="4432" y="84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366;p23"/>
            <p:cNvSpPr/>
            <p:nvPr/>
          </p:nvSpPr>
          <p:spPr>
            <a:xfrm>
              <a:off x="6147725" y="2349825"/>
              <a:ext cx="115425" cy="19225"/>
            </a:xfrm>
            <a:custGeom>
              <a:avLst/>
              <a:gdLst/>
              <a:ahLst/>
              <a:cxnLst/>
              <a:rect l="l" t="t" r="r" b="b"/>
              <a:pathLst>
                <a:path w="4617" h="769" extrusionOk="0">
                  <a:moveTo>
                    <a:pt x="1" y="467"/>
                  </a:moveTo>
                  <a:lnTo>
                    <a:pt x="4499" y="768"/>
                  </a:lnTo>
                  <a:lnTo>
                    <a:pt x="4616" y="658"/>
                  </a:lnTo>
                  <a:lnTo>
                    <a:pt x="4616" y="245"/>
                  </a:lnTo>
                  <a:lnTo>
                    <a:pt x="501"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367;p23"/>
            <p:cNvSpPr/>
            <p:nvPr/>
          </p:nvSpPr>
          <p:spPr>
            <a:xfrm>
              <a:off x="6174300" y="2324200"/>
              <a:ext cx="88850" cy="16100"/>
            </a:xfrm>
            <a:custGeom>
              <a:avLst/>
              <a:gdLst/>
              <a:ahLst/>
              <a:cxnLst/>
              <a:rect l="l" t="t" r="r" b="b"/>
              <a:pathLst>
                <a:path w="3554" h="644" extrusionOk="0">
                  <a:moveTo>
                    <a:pt x="0" y="465"/>
                  </a:moveTo>
                  <a:lnTo>
                    <a:pt x="3553" y="643"/>
                  </a:lnTo>
                  <a:lnTo>
                    <a:pt x="3553" y="132"/>
                  </a:lnTo>
                  <a:lnTo>
                    <a:pt x="466"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368;p23"/>
            <p:cNvSpPr/>
            <p:nvPr/>
          </p:nvSpPr>
          <p:spPr>
            <a:xfrm>
              <a:off x="6199875" y="2298650"/>
              <a:ext cx="63275" cy="13775"/>
            </a:xfrm>
            <a:custGeom>
              <a:avLst/>
              <a:gdLst/>
              <a:ahLst/>
              <a:cxnLst/>
              <a:rect l="l" t="t" r="r" b="b"/>
              <a:pathLst>
                <a:path w="2531" h="551" extrusionOk="0">
                  <a:moveTo>
                    <a:pt x="1" y="464"/>
                  </a:moveTo>
                  <a:lnTo>
                    <a:pt x="2530" y="550"/>
                  </a:lnTo>
                  <a:lnTo>
                    <a:pt x="2530" y="55"/>
                  </a:lnTo>
                  <a:lnTo>
                    <a:pt x="465"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 name="Google Shape;369;p23"/>
            <p:cNvSpPr/>
            <p:nvPr/>
          </p:nvSpPr>
          <p:spPr>
            <a:xfrm>
              <a:off x="6225425" y="2273225"/>
              <a:ext cx="37725" cy="12250"/>
            </a:xfrm>
            <a:custGeom>
              <a:avLst/>
              <a:gdLst/>
              <a:ahLst/>
              <a:cxnLst/>
              <a:rect l="l" t="t" r="r" b="b"/>
              <a:pathLst>
                <a:path w="1509" h="490" extrusionOk="0">
                  <a:moveTo>
                    <a:pt x="0" y="463"/>
                  </a:moveTo>
                  <a:lnTo>
                    <a:pt x="1508" y="490"/>
                  </a:lnTo>
                  <a:lnTo>
                    <a:pt x="1508" y="13"/>
                  </a:lnTo>
                  <a:lnTo>
                    <a:pt x="461"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 name="Google Shape;370;p23"/>
            <p:cNvSpPr/>
            <p:nvPr/>
          </p:nvSpPr>
          <p:spPr>
            <a:xfrm>
              <a:off x="6249775" y="2247900"/>
              <a:ext cx="13375" cy="11575"/>
            </a:xfrm>
            <a:custGeom>
              <a:avLst/>
              <a:gdLst/>
              <a:ahLst/>
              <a:cxnLst/>
              <a:rect l="l" t="t" r="r" b="b"/>
              <a:pathLst>
                <a:path w="535" h="463" extrusionOk="0">
                  <a:moveTo>
                    <a:pt x="0" y="460"/>
                  </a:moveTo>
                  <a:lnTo>
                    <a:pt x="534" y="463"/>
                  </a:lnTo>
                  <a:lnTo>
                    <a:pt x="534" y="0"/>
                  </a:lnTo>
                  <a:lnTo>
                    <a:pt x="428"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 name="Google Shape;371;p23"/>
            <p:cNvSpPr/>
            <p:nvPr/>
          </p:nvSpPr>
          <p:spPr>
            <a:xfrm>
              <a:off x="5333200" y="1007475"/>
              <a:ext cx="929950" cy="165550"/>
            </a:xfrm>
            <a:custGeom>
              <a:avLst/>
              <a:gdLst/>
              <a:ahLst/>
              <a:cxnLst/>
              <a:rect l="l" t="t" r="r" b="b"/>
              <a:pathLst>
                <a:path w="37198" h="6622" extrusionOk="0">
                  <a:moveTo>
                    <a:pt x="33384" y="1453"/>
                  </a:moveTo>
                  <a:cubicBezTo>
                    <a:pt x="33662" y="971"/>
                    <a:pt x="33928" y="489"/>
                    <a:pt x="34180" y="9"/>
                  </a:cubicBezTo>
                  <a:lnTo>
                    <a:pt x="33213" y="1"/>
                  </a:lnTo>
                  <a:lnTo>
                    <a:pt x="32203" y="28"/>
                  </a:lnTo>
                  <a:cubicBezTo>
                    <a:pt x="31211" y="511"/>
                    <a:pt x="30231" y="992"/>
                    <a:pt x="29265" y="1473"/>
                  </a:cubicBezTo>
                  <a:cubicBezTo>
                    <a:pt x="28563" y="1479"/>
                    <a:pt x="27812" y="1528"/>
                    <a:pt x="27069" y="1572"/>
                  </a:cubicBezTo>
                  <a:cubicBezTo>
                    <a:pt x="26320" y="1624"/>
                    <a:pt x="25618" y="1637"/>
                    <a:pt x="24839" y="1718"/>
                  </a:cubicBezTo>
                  <a:cubicBezTo>
                    <a:pt x="24988" y="1291"/>
                    <a:pt x="25124" y="864"/>
                    <a:pt x="25247" y="442"/>
                  </a:cubicBezTo>
                  <a:cubicBezTo>
                    <a:pt x="24539" y="511"/>
                    <a:pt x="23854" y="562"/>
                    <a:pt x="23117" y="661"/>
                  </a:cubicBezTo>
                  <a:cubicBezTo>
                    <a:pt x="22193" y="1167"/>
                    <a:pt x="21281" y="1671"/>
                    <a:pt x="20383" y="2174"/>
                  </a:cubicBezTo>
                  <a:cubicBezTo>
                    <a:pt x="18860" y="2337"/>
                    <a:pt x="17226" y="2611"/>
                    <a:pt x="15654" y="2838"/>
                  </a:cubicBezTo>
                  <a:cubicBezTo>
                    <a:pt x="15680" y="2467"/>
                    <a:pt x="15693" y="2101"/>
                    <a:pt x="15692" y="1737"/>
                  </a:cubicBezTo>
                  <a:lnTo>
                    <a:pt x="13452" y="2135"/>
                  </a:lnTo>
                  <a:cubicBezTo>
                    <a:pt x="12603" y="2657"/>
                    <a:pt x="11766" y="3176"/>
                    <a:pt x="10941" y="3693"/>
                  </a:cubicBezTo>
                  <a:cubicBezTo>
                    <a:pt x="10119" y="3860"/>
                    <a:pt x="9315" y="4009"/>
                    <a:pt x="8483" y="4191"/>
                  </a:cubicBezTo>
                  <a:lnTo>
                    <a:pt x="5993" y="4746"/>
                  </a:lnTo>
                  <a:cubicBezTo>
                    <a:pt x="5921" y="4428"/>
                    <a:pt x="5824" y="4115"/>
                    <a:pt x="5703" y="3812"/>
                  </a:cubicBezTo>
                  <a:lnTo>
                    <a:pt x="3370" y="4390"/>
                  </a:lnTo>
                  <a:cubicBezTo>
                    <a:pt x="2613" y="4901"/>
                    <a:pt x="1857" y="5425"/>
                    <a:pt x="1112" y="5950"/>
                  </a:cubicBezTo>
                  <a:lnTo>
                    <a:pt x="343" y="6156"/>
                  </a:lnTo>
                  <a:lnTo>
                    <a:pt x="1" y="6621"/>
                  </a:lnTo>
                  <a:cubicBezTo>
                    <a:pt x="4042" y="5548"/>
                    <a:pt x="7998" y="4647"/>
                    <a:pt x="11831" y="3926"/>
                  </a:cubicBezTo>
                  <a:cubicBezTo>
                    <a:pt x="15701" y="3215"/>
                    <a:pt x="19448" y="2687"/>
                    <a:pt x="23014" y="2363"/>
                  </a:cubicBezTo>
                  <a:cubicBezTo>
                    <a:pt x="26641" y="2033"/>
                    <a:pt x="30102" y="1908"/>
                    <a:pt x="33307" y="2017"/>
                  </a:cubicBezTo>
                  <a:cubicBezTo>
                    <a:pt x="34646" y="2066"/>
                    <a:pt x="35943" y="2153"/>
                    <a:pt x="37197" y="2281"/>
                  </a:cubicBezTo>
                  <a:lnTo>
                    <a:pt x="37197" y="1644"/>
                  </a:lnTo>
                  <a:cubicBezTo>
                    <a:pt x="36632" y="1588"/>
                    <a:pt x="36013" y="1570"/>
                    <a:pt x="35426" y="1532"/>
                  </a:cubicBezTo>
                  <a:cubicBezTo>
                    <a:pt x="34755" y="1496"/>
                    <a:pt x="34099" y="1452"/>
                    <a:pt x="33384" y="1453"/>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372;p23"/>
            <p:cNvSpPr/>
            <p:nvPr/>
          </p:nvSpPr>
          <p:spPr>
            <a:xfrm>
              <a:off x="6248075" y="1141450"/>
              <a:ext cx="15075" cy="11650"/>
            </a:xfrm>
            <a:custGeom>
              <a:avLst/>
              <a:gdLst/>
              <a:ahLst/>
              <a:cxnLst/>
              <a:rect l="l" t="t" r="r" b="b"/>
              <a:pathLst>
                <a:path w="603" h="466" extrusionOk="0">
                  <a:moveTo>
                    <a:pt x="340" y="465"/>
                  </a:moveTo>
                  <a:lnTo>
                    <a:pt x="602" y="298"/>
                  </a:lnTo>
                  <a:lnTo>
                    <a:pt x="602" y="1"/>
                  </a:lnTo>
                  <a:lnTo>
                    <a:pt x="0" y="38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 name="Google Shape;373;p23"/>
            <p:cNvSpPr/>
            <p:nvPr/>
          </p:nvSpPr>
          <p:spPr>
            <a:xfrm>
              <a:off x="6228175" y="1124900"/>
              <a:ext cx="34975" cy="24400"/>
            </a:xfrm>
            <a:custGeom>
              <a:avLst/>
              <a:gdLst/>
              <a:ahLst/>
              <a:cxnLst/>
              <a:rect l="l" t="t" r="r" b="b"/>
              <a:pathLst>
                <a:path w="1399" h="976" extrusionOk="0">
                  <a:moveTo>
                    <a:pt x="364" y="976"/>
                  </a:moveTo>
                  <a:lnTo>
                    <a:pt x="1398" y="303"/>
                  </a:lnTo>
                  <a:lnTo>
                    <a:pt x="1398" y="1"/>
                  </a:lnTo>
                  <a:lnTo>
                    <a:pt x="1" y="91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 name="Google Shape;374;p23"/>
            <p:cNvSpPr/>
            <p:nvPr/>
          </p:nvSpPr>
          <p:spPr>
            <a:xfrm>
              <a:off x="6208300" y="1108050"/>
              <a:ext cx="54850" cy="37975"/>
            </a:xfrm>
            <a:custGeom>
              <a:avLst/>
              <a:gdLst/>
              <a:ahLst/>
              <a:cxnLst/>
              <a:rect l="l" t="t" r="r" b="b"/>
              <a:pathLst>
                <a:path w="2194" h="1519" extrusionOk="0">
                  <a:moveTo>
                    <a:pt x="361" y="1518"/>
                  </a:moveTo>
                  <a:lnTo>
                    <a:pt x="2193" y="309"/>
                  </a:lnTo>
                  <a:lnTo>
                    <a:pt x="2193" y="1"/>
                  </a:lnTo>
                  <a:lnTo>
                    <a:pt x="1" y="145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 name="Google Shape;375;p23"/>
            <p:cNvSpPr/>
            <p:nvPr/>
          </p:nvSpPr>
          <p:spPr>
            <a:xfrm>
              <a:off x="6188450" y="1090925"/>
              <a:ext cx="74700" cy="51800"/>
            </a:xfrm>
            <a:custGeom>
              <a:avLst/>
              <a:gdLst/>
              <a:ahLst/>
              <a:cxnLst/>
              <a:rect l="l" t="t" r="r" b="b"/>
              <a:pathLst>
                <a:path w="2988" h="2072" extrusionOk="0">
                  <a:moveTo>
                    <a:pt x="363" y="2071"/>
                  </a:moveTo>
                  <a:lnTo>
                    <a:pt x="2987" y="314"/>
                  </a:lnTo>
                  <a:lnTo>
                    <a:pt x="2987" y="0"/>
                  </a:lnTo>
                  <a:lnTo>
                    <a:pt x="1" y="2015"/>
                  </a:lnTo>
                  <a:cubicBezTo>
                    <a:pt x="129" y="2028"/>
                    <a:pt x="242" y="2052"/>
                    <a:pt x="363" y="2071"/>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 name="Google Shape;376;p23"/>
            <p:cNvSpPr/>
            <p:nvPr/>
          </p:nvSpPr>
          <p:spPr>
            <a:xfrm>
              <a:off x="6167500" y="1078800"/>
              <a:ext cx="95650" cy="61200"/>
            </a:xfrm>
            <a:custGeom>
              <a:avLst/>
              <a:gdLst/>
              <a:ahLst/>
              <a:cxnLst/>
              <a:rect l="l" t="t" r="r" b="b"/>
              <a:pathLst>
                <a:path w="3826" h="2448" extrusionOk="0">
                  <a:moveTo>
                    <a:pt x="1" y="2406"/>
                  </a:moveTo>
                  <a:lnTo>
                    <a:pt x="381" y="2448"/>
                  </a:lnTo>
                  <a:lnTo>
                    <a:pt x="3825" y="106"/>
                  </a:lnTo>
                  <a:lnTo>
                    <a:pt x="3825" y="33"/>
                  </a:lnTo>
                  <a:lnTo>
                    <a:pt x="3512"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 name="Google Shape;377;p23"/>
            <p:cNvSpPr/>
            <p:nvPr/>
          </p:nvSpPr>
          <p:spPr>
            <a:xfrm>
              <a:off x="6146675" y="1076525"/>
              <a:ext cx="96500" cy="61150"/>
            </a:xfrm>
            <a:custGeom>
              <a:avLst/>
              <a:gdLst/>
              <a:ahLst/>
              <a:cxnLst/>
              <a:rect l="l" t="t" r="r" b="b"/>
              <a:pathLst>
                <a:path w="3860" h="2446" extrusionOk="0">
                  <a:moveTo>
                    <a:pt x="3859" y="41"/>
                  </a:moveTo>
                  <a:lnTo>
                    <a:pt x="3457" y="0"/>
                  </a:lnTo>
                  <a:lnTo>
                    <a:pt x="1" y="2402"/>
                  </a:lnTo>
                  <a:lnTo>
                    <a:pt x="379" y="2445"/>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 name="Google Shape;378;p23"/>
            <p:cNvSpPr/>
            <p:nvPr/>
          </p:nvSpPr>
          <p:spPr>
            <a:xfrm>
              <a:off x="6125700" y="1074425"/>
              <a:ext cx="95350" cy="60875"/>
            </a:xfrm>
            <a:custGeom>
              <a:avLst/>
              <a:gdLst/>
              <a:ahLst/>
              <a:cxnLst/>
              <a:rect l="l" t="t" r="r" b="b"/>
              <a:pathLst>
                <a:path w="3814" h="2435" extrusionOk="0">
                  <a:moveTo>
                    <a:pt x="3814" y="33"/>
                  </a:moveTo>
                  <a:cubicBezTo>
                    <a:pt x="3683" y="18"/>
                    <a:pt x="3543" y="8"/>
                    <a:pt x="3400" y="1"/>
                  </a:cubicBezTo>
                  <a:lnTo>
                    <a:pt x="0" y="2401"/>
                  </a:lnTo>
                  <a:cubicBezTo>
                    <a:pt x="135" y="2408"/>
                    <a:pt x="267" y="2418"/>
                    <a:pt x="389" y="2434"/>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6" name="Google Shape;379;p23"/>
            <p:cNvSpPr/>
            <p:nvPr/>
          </p:nvSpPr>
          <p:spPr>
            <a:xfrm>
              <a:off x="6103875" y="1073100"/>
              <a:ext cx="94125" cy="60575"/>
            </a:xfrm>
            <a:custGeom>
              <a:avLst/>
              <a:gdLst/>
              <a:ahLst/>
              <a:cxnLst/>
              <a:rect l="l" t="t" r="r" b="b"/>
              <a:pathLst>
                <a:path w="3765" h="2423" extrusionOk="0">
                  <a:moveTo>
                    <a:pt x="3764" y="24"/>
                  </a:moveTo>
                  <a:lnTo>
                    <a:pt x="3343" y="0"/>
                  </a:lnTo>
                  <a:lnTo>
                    <a:pt x="0" y="2396"/>
                  </a:lnTo>
                  <a:lnTo>
                    <a:pt x="396" y="242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 name="Google Shape;380;p23"/>
            <p:cNvSpPr/>
            <p:nvPr/>
          </p:nvSpPr>
          <p:spPr>
            <a:xfrm>
              <a:off x="6082175" y="1071750"/>
              <a:ext cx="92650" cy="60475"/>
            </a:xfrm>
            <a:custGeom>
              <a:avLst/>
              <a:gdLst/>
              <a:ahLst/>
              <a:cxnLst/>
              <a:rect l="l" t="t" r="r" b="b"/>
              <a:pathLst>
                <a:path w="3706" h="2419" extrusionOk="0">
                  <a:moveTo>
                    <a:pt x="3705" y="25"/>
                  </a:moveTo>
                  <a:lnTo>
                    <a:pt x="3286" y="0"/>
                  </a:lnTo>
                  <a:lnTo>
                    <a:pt x="1" y="2392"/>
                  </a:lnTo>
                  <a:lnTo>
                    <a:pt x="394" y="241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8" name="Google Shape;381;p23"/>
            <p:cNvSpPr/>
            <p:nvPr/>
          </p:nvSpPr>
          <p:spPr>
            <a:xfrm>
              <a:off x="6060150" y="1070775"/>
              <a:ext cx="91650" cy="59975"/>
            </a:xfrm>
            <a:custGeom>
              <a:avLst/>
              <a:gdLst/>
              <a:ahLst/>
              <a:cxnLst/>
              <a:rect l="l" t="t" r="r" b="b"/>
              <a:pathLst>
                <a:path w="3666" h="2399" extrusionOk="0">
                  <a:moveTo>
                    <a:pt x="3666" y="10"/>
                  </a:moveTo>
                  <a:lnTo>
                    <a:pt x="3228" y="0"/>
                  </a:lnTo>
                  <a:lnTo>
                    <a:pt x="0" y="2387"/>
                  </a:lnTo>
                  <a:lnTo>
                    <a:pt x="412" y="239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 name="Google Shape;382;p23"/>
            <p:cNvSpPr/>
            <p:nvPr/>
          </p:nvSpPr>
          <p:spPr>
            <a:xfrm>
              <a:off x="6037475" y="1070375"/>
              <a:ext cx="90225" cy="59800"/>
            </a:xfrm>
            <a:custGeom>
              <a:avLst/>
              <a:gdLst/>
              <a:ahLst/>
              <a:cxnLst/>
              <a:rect l="l" t="t" r="r" b="b"/>
              <a:pathLst>
                <a:path w="3609" h="2392" extrusionOk="0">
                  <a:moveTo>
                    <a:pt x="3608" y="8"/>
                  </a:moveTo>
                  <a:lnTo>
                    <a:pt x="3171" y="1"/>
                  </a:lnTo>
                  <a:lnTo>
                    <a:pt x="1" y="2382"/>
                  </a:lnTo>
                  <a:lnTo>
                    <a:pt x="412" y="239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0" name="Google Shape;383;p23"/>
            <p:cNvSpPr/>
            <p:nvPr/>
          </p:nvSpPr>
          <p:spPr>
            <a:xfrm>
              <a:off x="6015000" y="1069950"/>
              <a:ext cx="88700" cy="59650"/>
            </a:xfrm>
            <a:custGeom>
              <a:avLst/>
              <a:gdLst/>
              <a:ahLst/>
              <a:cxnLst/>
              <a:rect l="l" t="t" r="r" b="b"/>
              <a:pathLst>
                <a:path w="3548" h="2386" extrusionOk="0">
                  <a:moveTo>
                    <a:pt x="3548" y="8"/>
                  </a:moveTo>
                  <a:lnTo>
                    <a:pt x="3113" y="1"/>
                  </a:lnTo>
                  <a:lnTo>
                    <a:pt x="0" y="2375"/>
                  </a:lnTo>
                  <a:lnTo>
                    <a:pt x="409" y="238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384;p23"/>
            <p:cNvSpPr/>
            <p:nvPr/>
          </p:nvSpPr>
          <p:spPr>
            <a:xfrm>
              <a:off x="5991950" y="1069825"/>
              <a:ext cx="87775" cy="59475"/>
            </a:xfrm>
            <a:custGeom>
              <a:avLst/>
              <a:gdLst/>
              <a:ahLst/>
              <a:cxnLst/>
              <a:rect l="l" t="t" r="r" b="b"/>
              <a:pathLst>
                <a:path w="3511" h="2379" extrusionOk="0">
                  <a:moveTo>
                    <a:pt x="3511" y="1"/>
                  </a:moveTo>
                  <a:lnTo>
                    <a:pt x="3056" y="10"/>
                  </a:lnTo>
                  <a:lnTo>
                    <a:pt x="1" y="2378"/>
                  </a:lnTo>
                  <a:lnTo>
                    <a:pt x="429" y="237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2" name="Google Shape;385;p23"/>
            <p:cNvSpPr/>
            <p:nvPr/>
          </p:nvSpPr>
          <p:spPr>
            <a:xfrm>
              <a:off x="5968550" y="1070350"/>
              <a:ext cx="86250" cy="59300"/>
            </a:xfrm>
            <a:custGeom>
              <a:avLst/>
              <a:gdLst/>
              <a:ahLst/>
              <a:cxnLst/>
              <a:rect l="l" t="t" r="r" b="b"/>
              <a:pathLst>
                <a:path w="3450" h="2372" extrusionOk="0">
                  <a:moveTo>
                    <a:pt x="3449" y="1"/>
                  </a:moveTo>
                  <a:lnTo>
                    <a:pt x="2998" y="9"/>
                  </a:lnTo>
                  <a:lnTo>
                    <a:pt x="1" y="2371"/>
                  </a:lnTo>
                  <a:lnTo>
                    <a:pt x="426" y="2365"/>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 name="Google Shape;386;p23"/>
            <p:cNvSpPr/>
            <p:nvPr/>
          </p:nvSpPr>
          <p:spPr>
            <a:xfrm>
              <a:off x="5945300" y="1070850"/>
              <a:ext cx="84700" cy="59075"/>
            </a:xfrm>
            <a:custGeom>
              <a:avLst/>
              <a:gdLst/>
              <a:ahLst/>
              <a:cxnLst/>
              <a:rect l="l" t="t" r="r" b="b"/>
              <a:pathLst>
                <a:path w="3388" h="2363" extrusionOk="0">
                  <a:moveTo>
                    <a:pt x="3387" y="1"/>
                  </a:moveTo>
                  <a:lnTo>
                    <a:pt x="2939" y="9"/>
                  </a:lnTo>
                  <a:lnTo>
                    <a:pt x="1" y="2363"/>
                  </a:lnTo>
                  <a:lnTo>
                    <a:pt x="423" y="235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4" name="Google Shape;387;p23"/>
            <p:cNvSpPr/>
            <p:nvPr/>
          </p:nvSpPr>
          <p:spPr>
            <a:xfrm>
              <a:off x="5921375" y="1071575"/>
              <a:ext cx="83725" cy="59300"/>
            </a:xfrm>
            <a:custGeom>
              <a:avLst/>
              <a:gdLst/>
              <a:ahLst/>
              <a:cxnLst/>
              <a:rect l="l" t="t" r="r" b="b"/>
              <a:pathLst>
                <a:path w="3349" h="2372" extrusionOk="0">
                  <a:moveTo>
                    <a:pt x="3348" y="0"/>
                  </a:moveTo>
                  <a:lnTo>
                    <a:pt x="2882" y="26"/>
                  </a:lnTo>
                  <a:lnTo>
                    <a:pt x="0" y="2372"/>
                  </a:lnTo>
                  <a:lnTo>
                    <a:pt x="442" y="234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5" name="Google Shape;388;p23"/>
            <p:cNvSpPr/>
            <p:nvPr/>
          </p:nvSpPr>
          <p:spPr>
            <a:xfrm>
              <a:off x="5897250" y="1072975"/>
              <a:ext cx="82200" cy="59075"/>
            </a:xfrm>
            <a:custGeom>
              <a:avLst/>
              <a:gdLst/>
              <a:ahLst/>
              <a:cxnLst/>
              <a:rect l="l" t="t" r="r" b="b"/>
              <a:pathLst>
                <a:path w="3288" h="2363" extrusionOk="0">
                  <a:moveTo>
                    <a:pt x="3288" y="1"/>
                  </a:moveTo>
                  <a:lnTo>
                    <a:pt x="2823" y="26"/>
                  </a:lnTo>
                  <a:lnTo>
                    <a:pt x="1" y="2363"/>
                  </a:lnTo>
                  <a:lnTo>
                    <a:pt x="439" y="234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6" name="Google Shape;389;p23"/>
            <p:cNvSpPr/>
            <p:nvPr/>
          </p:nvSpPr>
          <p:spPr>
            <a:xfrm>
              <a:off x="5873275" y="1074375"/>
              <a:ext cx="80675" cy="58850"/>
            </a:xfrm>
            <a:custGeom>
              <a:avLst/>
              <a:gdLst/>
              <a:ahLst/>
              <a:cxnLst/>
              <a:rect l="l" t="t" r="r" b="b"/>
              <a:pathLst>
                <a:path w="3227" h="2354" extrusionOk="0">
                  <a:moveTo>
                    <a:pt x="3226" y="1"/>
                  </a:moveTo>
                  <a:lnTo>
                    <a:pt x="2765" y="26"/>
                  </a:lnTo>
                  <a:lnTo>
                    <a:pt x="1" y="2353"/>
                  </a:lnTo>
                  <a:lnTo>
                    <a:pt x="437" y="233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7" name="Google Shape;390;p23"/>
            <p:cNvSpPr/>
            <p:nvPr/>
          </p:nvSpPr>
          <p:spPr>
            <a:xfrm>
              <a:off x="5848575" y="1076100"/>
              <a:ext cx="79650" cy="59025"/>
            </a:xfrm>
            <a:custGeom>
              <a:avLst/>
              <a:gdLst/>
              <a:ahLst/>
              <a:cxnLst/>
              <a:rect l="l" t="t" r="r" b="b"/>
              <a:pathLst>
                <a:path w="3186" h="2361" extrusionOk="0">
                  <a:moveTo>
                    <a:pt x="3185" y="0"/>
                  </a:moveTo>
                  <a:lnTo>
                    <a:pt x="2706" y="42"/>
                  </a:lnTo>
                  <a:lnTo>
                    <a:pt x="1" y="2360"/>
                  </a:lnTo>
                  <a:lnTo>
                    <a:pt x="453" y="232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8" name="Google Shape;391;p23"/>
            <p:cNvSpPr/>
            <p:nvPr/>
          </p:nvSpPr>
          <p:spPr>
            <a:xfrm>
              <a:off x="5823775" y="1078400"/>
              <a:ext cx="78125" cy="58775"/>
            </a:xfrm>
            <a:custGeom>
              <a:avLst/>
              <a:gdLst/>
              <a:ahLst/>
              <a:cxnLst/>
              <a:rect l="l" t="t" r="r" b="b"/>
              <a:pathLst>
                <a:path w="3125" h="2351" extrusionOk="0">
                  <a:moveTo>
                    <a:pt x="3124" y="1"/>
                  </a:moveTo>
                  <a:lnTo>
                    <a:pt x="2648" y="42"/>
                  </a:lnTo>
                  <a:lnTo>
                    <a:pt x="1" y="2350"/>
                  </a:lnTo>
                  <a:lnTo>
                    <a:pt x="450" y="231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9" name="Google Shape;392;p23"/>
            <p:cNvSpPr/>
            <p:nvPr/>
          </p:nvSpPr>
          <p:spPr>
            <a:xfrm>
              <a:off x="5799150" y="1080700"/>
              <a:ext cx="76575" cy="58475"/>
            </a:xfrm>
            <a:custGeom>
              <a:avLst/>
              <a:gdLst/>
              <a:ahLst/>
              <a:cxnLst/>
              <a:rect l="l" t="t" r="r" b="b"/>
              <a:pathLst>
                <a:path w="3063" h="2339" extrusionOk="0">
                  <a:moveTo>
                    <a:pt x="3062" y="0"/>
                  </a:moveTo>
                  <a:lnTo>
                    <a:pt x="2589" y="42"/>
                  </a:lnTo>
                  <a:lnTo>
                    <a:pt x="0" y="2338"/>
                  </a:lnTo>
                  <a:lnTo>
                    <a:pt x="448" y="230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0" name="Google Shape;393;p23"/>
            <p:cNvSpPr/>
            <p:nvPr/>
          </p:nvSpPr>
          <p:spPr>
            <a:xfrm>
              <a:off x="5773700" y="1083350"/>
              <a:ext cx="75550" cy="58600"/>
            </a:xfrm>
            <a:custGeom>
              <a:avLst/>
              <a:gdLst/>
              <a:ahLst/>
              <a:cxnLst/>
              <a:rect l="l" t="t" r="r" b="b"/>
              <a:pathLst>
                <a:path w="3022" h="2344" extrusionOk="0">
                  <a:moveTo>
                    <a:pt x="3021" y="1"/>
                  </a:moveTo>
                  <a:lnTo>
                    <a:pt x="2531" y="59"/>
                  </a:lnTo>
                  <a:lnTo>
                    <a:pt x="1" y="2344"/>
                  </a:lnTo>
                  <a:lnTo>
                    <a:pt x="465" y="229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1" name="Google Shape;394;p23"/>
            <p:cNvSpPr/>
            <p:nvPr/>
          </p:nvSpPr>
          <p:spPr>
            <a:xfrm>
              <a:off x="5748325" y="1086550"/>
              <a:ext cx="74000" cy="58275"/>
            </a:xfrm>
            <a:custGeom>
              <a:avLst/>
              <a:gdLst/>
              <a:ahLst/>
              <a:cxnLst/>
              <a:rect l="l" t="t" r="r" b="b"/>
              <a:pathLst>
                <a:path w="2960" h="2331" extrusionOk="0">
                  <a:moveTo>
                    <a:pt x="2960" y="0"/>
                  </a:moveTo>
                  <a:lnTo>
                    <a:pt x="2472" y="57"/>
                  </a:lnTo>
                  <a:lnTo>
                    <a:pt x="1" y="2331"/>
                  </a:lnTo>
                  <a:lnTo>
                    <a:pt x="461" y="227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2" name="Google Shape;395;p23"/>
            <p:cNvSpPr/>
            <p:nvPr/>
          </p:nvSpPr>
          <p:spPr>
            <a:xfrm>
              <a:off x="5723050" y="1089675"/>
              <a:ext cx="72500" cy="58000"/>
            </a:xfrm>
            <a:custGeom>
              <a:avLst/>
              <a:gdLst/>
              <a:ahLst/>
              <a:cxnLst/>
              <a:rect l="l" t="t" r="r" b="b"/>
              <a:pathLst>
                <a:path w="2900" h="2320" extrusionOk="0">
                  <a:moveTo>
                    <a:pt x="2900" y="1"/>
                  </a:moveTo>
                  <a:lnTo>
                    <a:pt x="2414" y="57"/>
                  </a:lnTo>
                  <a:lnTo>
                    <a:pt x="1" y="2319"/>
                  </a:lnTo>
                  <a:lnTo>
                    <a:pt x="460" y="226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3" name="Google Shape;396;p23"/>
            <p:cNvSpPr/>
            <p:nvPr/>
          </p:nvSpPr>
          <p:spPr>
            <a:xfrm>
              <a:off x="5697000" y="1093250"/>
              <a:ext cx="71425" cy="58100"/>
            </a:xfrm>
            <a:custGeom>
              <a:avLst/>
              <a:gdLst/>
              <a:ahLst/>
              <a:cxnLst/>
              <a:rect l="l" t="t" r="r" b="b"/>
              <a:pathLst>
                <a:path w="2857" h="2324" extrusionOk="0">
                  <a:moveTo>
                    <a:pt x="2856" y="1"/>
                  </a:moveTo>
                  <a:lnTo>
                    <a:pt x="2356" y="73"/>
                  </a:lnTo>
                  <a:lnTo>
                    <a:pt x="0" y="2324"/>
                  </a:lnTo>
                  <a:lnTo>
                    <a:pt x="474" y="225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4" name="Google Shape;397;p23"/>
            <p:cNvSpPr/>
            <p:nvPr/>
          </p:nvSpPr>
          <p:spPr>
            <a:xfrm>
              <a:off x="5671025" y="1097250"/>
              <a:ext cx="69900" cy="57775"/>
            </a:xfrm>
            <a:custGeom>
              <a:avLst/>
              <a:gdLst/>
              <a:ahLst/>
              <a:cxnLst/>
              <a:rect l="l" t="t" r="r" b="b"/>
              <a:pathLst>
                <a:path w="2796" h="2311" extrusionOk="0">
                  <a:moveTo>
                    <a:pt x="2796" y="1"/>
                  </a:moveTo>
                  <a:lnTo>
                    <a:pt x="2299" y="73"/>
                  </a:lnTo>
                  <a:lnTo>
                    <a:pt x="1" y="2310"/>
                  </a:lnTo>
                  <a:lnTo>
                    <a:pt x="473" y="2244"/>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5" name="Google Shape;398;p23"/>
            <p:cNvSpPr/>
            <p:nvPr/>
          </p:nvSpPr>
          <p:spPr>
            <a:xfrm>
              <a:off x="5645200" y="1101250"/>
              <a:ext cx="68400" cy="57425"/>
            </a:xfrm>
            <a:custGeom>
              <a:avLst/>
              <a:gdLst/>
              <a:ahLst/>
              <a:cxnLst/>
              <a:rect l="l" t="t" r="r" b="b"/>
              <a:pathLst>
                <a:path w="2736" h="2297" extrusionOk="0">
                  <a:moveTo>
                    <a:pt x="2736" y="1"/>
                  </a:moveTo>
                  <a:lnTo>
                    <a:pt x="2240" y="72"/>
                  </a:lnTo>
                  <a:lnTo>
                    <a:pt x="1" y="2297"/>
                  </a:lnTo>
                  <a:lnTo>
                    <a:pt x="469" y="223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6" name="Google Shape;399;p23"/>
            <p:cNvSpPr/>
            <p:nvPr/>
          </p:nvSpPr>
          <p:spPr>
            <a:xfrm>
              <a:off x="5618600" y="1105700"/>
              <a:ext cx="67300" cy="57475"/>
            </a:xfrm>
            <a:custGeom>
              <a:avLst/>
              <a:gdLst/>
              <a:ahLst/>
              <a:cxnLst/>
              <a:rect l="l" t="t" r="r" b="b"/>
              <a:pathLst>
                <a:path w="2692" h="2299" extrusionOk="0">
                  <a:moveTo>
                    <a:pt x="2692" y="1"/>
                  </a:moveTo>
                  <a:lnTo>
                    <a:pt x="2182" y="88"/>
                  </a:lnTo>
                  <a:lnTo>
                    <a:pt x="0" y="2299"/>
                  </a:lnTo>
                  <a:lnTo>
                    <a:pt x="484" y="221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7" name="Google Shape;400;p23"/>
            <p:cNvSpPr/>
            <p:nvPr/>
          </p:nvSpPr>
          <p:spPr>
            <a:xfrm>
              <a:off x="5592100" y="1110525"/>
              <a:ext cx="65825" cy="57125"/>
            </a:xfrm>
            <a:custGeom>
              <a:avLst/>
              <a:gdLst/>
              <a:ahLst/>
              <a:cxnLst/>
              <a:rect l="l" t="t" r="r" b="b"/>
              <a:pathLst>
                <a:path w="2633" h="2285" extrusionOk="0">
                  <a:moveTo>
                    <a:pt x="2632" y="1"/>
                  </a:moveTo>
                  <a:lnTo>
                    <a:pt x="2126" y="88"/>
                  </a:lnTo>
                  <a:lnTo>
                    <a:pt x="1" y="2285"/>
                  </a:lnTo>
                  <a:lnTo>
                    <a:pt x="482" y="2204"/>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8" name="Google Shape;401;p23"/>
            <p:cNvSpPr/>
            <p:nvPr/>
          </p:nvSpPr>
          <p:spPr>
            <a:xfrm>
              <a:off x="5565750" y="1115325"/>
              <a:ext cx="64325" cy="56750"/>
            </a:xfrm>
            <a:custGeom>
              <a:avLst/>
              <a:gdLst/>
              <a:ahLst/>
              <a:cxnLst/>
              <a:rect l="l" t="t" r="r" b="b"/>
              <a:pathLst>
                <a:path w="2573" h="2270" extrusionOk="0">
                  <a:moveTo>
                    <a:pt x="2572" y="0"/>
                  </a:moveTo>
                  <a:lnTo>
                    <a:pt x="2068" y="88"/>
                  </a:lnTo>
                  <a:lnTo>
                    <a:pt x="1" y="2270"/>
                  </a:lnTo>
                  <a:lnTo>
                    <a:pt x="480" y="219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 name="Google Shape;402;p23"/>
            <p:cNvSpPr/>
            <p:nvPr/>
          </p:nvSpPr>
          <p:spPr>
            <a:xfrm>
              <a:off x="5538700" y="1120575"/>
              <a:ext cx="63200" cy="56800"/>
            </a:xfrm>
            <a:custGeom>
              <a:avLst/>
              <a:gdLst/>
              <a:ahLst/>
              <a:cxnLst/>
              <a:rect l="l" t="t" r="r" b="b"/>
              <a:pathLst>
                <a:path w="2528" h="2272" extrusionOk="0">
                  <a:moveTo>
                    <a:pt x="2527" y="1"/>
                  </a:moveTo>
                  <a:lnTo>
                    <a:pt x="2010" y="104"/>
                  </a:lnTo>
                  <a:lnTo>
                    <a:pt x="0" y="2271"/>
                  </a:lnTo>
                  <a:lnTo>
                    <a:pt x="492" y="2175"/>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0" name="Google Shape;403;p23"/>
            <p:cNvSpPr/>
            <p:nvPr/>
          </p:nvSpPr>
          <p:spPr>
            <a:xfrm>
              <a:off x="5511750" y="1126225"/>
              <a:ext cx="61725" cy="56375"/>
            </a:xfrm>
            <a:custGeom>
              <a:avLst/>
              <a:gdLst/>
              <a:ahLst/>
              <a:cxnLst/>
              <a:rect l="l" t="t" r="r" b="b"/>
              <a:pathLst>
                <a:path w="2469" h="2255" extrusionOk="0">
                  <a:moveTo>
                    <a:pt x="2468" y="0"/>
                  </a:moveTo>
                  <a:lnTo>
                    <a:pt x="1953" y="102"/>
                  </a:lnTo>
                  <a:lnTo>
                    <a:pt x="1" y="2255"/>
                  </a:lnTo>
                  <a:lnTo>
                    <a:pt x="490" y="216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 name="Google Shape;404;p23"/>
            <p:cNvSpPr/>
            <p:nvPr/>
          </p:nvSpPr>
          <p:spPr>
            <a:xfrm>
              <a:off x="5484950" y="1131800"/>
              <a:ext cx="60250" cy="56025"/>
            </a:xfrm>
            <a:custGeom>
              <a:avLst/>
              <a:gdLst/>
              <a:ahLst/>
              <a:cxnLst/>
              <a:rect l="l" t="t" r="r" b="b"/>
              <a:pathLst>
                <a:path w="2410" h="2241" extrusionOk="0">
                  <a:moveTo>
                    <a:pt x="2409" y="0"/>
                  </a:moveTo>
                  <a:lnTo>
                    <a:pt x="1895" y="103"/>
                  </a:lnTo>
                  <a:lnTo>
                    <a:pt x="1" y="2240"/>
                  </a:lnTo>
                  <a:lnTo>
                    <a:pt x="488" y="214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 name="Google Shape;405;p23"/>
            <p:cNvSpPr/>
            <p:nvPr/>
          </p:nvSpPr>
          <p:spPr>
            <a:xfrm>
              <a:off x="5457525" y="1137850"/>
              <a:ext cx="59050" cy="55975"/>
            </a:xfrm>
            <a:custGeom>
              <a:avLst/>
              <a:gdLst/>
              <a:ahLst/>
              <a:cxnLst/>
              <a:rect l="l" t="t" r="r" b="b"/>
              <a:pathLst>
                <a:path w="2362" h="2239" extrusionOk="0">
                  <a:moveTo>
                    <a:pt x="2361" y="1"/>
                  </a:moveTo>
                  <a:lnTo>
                    <a:pt x="1837" y="118"/>
                  </a:lnTo>
                  <a:lnTo>
                    <a:pt x="1" y="2238"/>
                  </a:lnTo>
                  <a:lnTo>
                    <a:pt x="499" y="212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 name="Google Shape;406;p23"/>
            <p:cNvSpPr/>
            <p:nvPr/>
          </p:nvSpPr>
          <p:spPr>
            <a:xfrm>
              <a:off x="5430225" y="1144250"/>
              <a:ext cx="57550" cy="55550"/>
            </a:xfrm>
            <a:custGeom>
              <a:avLst/>
              <a:gdLst/>
              <a:ahLst/>
              <a:cxnLst/>
              <a:rect l="l" t="t" r="r" b="b"/>
              <a:pathLst>
                <a:path w="2302" h="2222" extrusionOk="0">
                  <a:moveTo>
                    <a:pt x="2301" y="1"/>
                  </a:moveTo>
                  <a:lnTo>
                    <a:pt x="1779" y="116"/>
                  </a:lnTo>
                  <a:lnTo>
                    <a:pt x="0" y="2221"/>
                  </a:lnTo>
                  <a:lnTo>
                    <a:pt x="496" y="211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 name="Google Shape;407;p23"/>
            <p:cNvSpPr/>
            <p:nvPr/>
          </p:nvSpPr>
          <p:spPr>
            <a:xfrm>
              <a:off x="5403000" y="1150600"/>
              <a:ext cx="56100" cy="55175"/>
            </a:xfrm>
            <a:custGeom>
              <a:avLst/>
              <a:gdLst/>
              <a:ahLst/>
              <a:cxnLst/>
              <a:rect l="l" t="t" r="r" b="b"/>
              <a:pathLst>
                <a:path w="2244" h="2207" extrusionOk="0">
                  <a:moveTo>
                    <a:pt x="2244" y="0"/>
                  </a:moveTo>
                  <a:lnTo>
                    <a:pt x="1721" y="118"/>
                  </a:lnTo>
                  <a:lnTo>
                    <a:pt x="1" y="2207"/>
                  </a:lnTo>
                  <a:lnTo>
                    <a:pt x="496" y="209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 name="Google Shape;408;p23"/>
            <p:cNvSpPr/>
            <p:nvPr/>
          </p:nvSpPr>
          <p:spPr>
            <a:xfrm>
              <a:off x="5375225" y="1157450"/>
              <a:ext cx="54900" cy="55075"/>
            </a:xfrm>
            <a:custGeom>
              <a:avLst/>
              <a:gdLst/>
              <a:ahLst/>
              <a:cxnLst/>
              <a:rect l="l" t="t" r="r" b="b"/>
              <a:pathLst>
                <a:path w="2196" h="2203" extrusionOk="0">
                  <a:moveTo>
                    <a:pt x="2195" y="0"/>
                  </a:moveTo>
                  <a:lnTo>
                    <a:pt x="1664" y="130"/>
                  </a:lnTo>
                  <a:lnTo>
                    <a:pt x="1" y="2202"/>
                  </a:lnTo>
                  <a:lnTo>
                    <a:pt x="505" y="208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 name="Google Shape;409;p23"/>
            <p:cNvSpPr/>
            <p:nvPr/>
          </p:nvSpPr>
          <p:spPr>
            <a:xfrm>
              <a:off x="5347600" y="1164575"/>
              <a:ext cx="53375" cy="54625"/>
            </a:xfrm>
            <a:custGeom>
              <a:avLst/>
              <a:gdLst/>
              <a:ahLst/>
              <a:cxnLst/>
              <a:rect l="l" t="t" r="r" b="b"/>
              <a:pathLst>
                <a:path w="2135" h="2185" extrusionOk="0">
                  <a:moveTo>
                    <a:pt x="2134" y="1"/>
                  </a:moveTo>
                  <a:lnTo>
                    <a:pt x="1606" y="130"/>
                  </a:lnTo>
                  <a:lnTo>
                    <a:pt x="1" y="2185"/>
                  </a:lnTo>
                  <a:lnTo>
                    <a:pt x="502" y="206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7" name="Google Shape;410;p23"/>
            <p:cNvSpPr/>
            <p:nvPr/>
          </p:nvSpPr>
          <p:spPr>
            <a:xfrm>
              <a:off x="5320000" y="1171675"/>
              <a:ext cx="51925" cy="54300"/>
            </a:xfrm>
            <a:custGeom>
              <a:avLst/>
              <a:gdLst/>
              <a:ahLst/>
              <a:cxnLst/>
              <a:rect l="l" t="t" r="r" b="b"/>
              <a:pathLst>
                <a:path w="2077" h="2172" extrusionOk="0">
                  <a:moveTo>
                    <a:pt x="2077" y="1"/>
                  </a:moveTo>
                  <a:cubicBezTo>
                    <a:pt x="1900" y="45"/>
                    <a:pt x="1728" y="83"/>
                    <a:pt x="1547" y="134"/>
                  </a:cubicBezTo>
                  <a:lnTo>
                    <a:pt x="0" y="2171"/>
                  </a:lnTo>
                  <a:cubicBezTo>
                    <a:pt x="173" y="2123"/>
                    <a:pt x="335" y="2088"/>
                    <a:pt x="504" y="2046"/>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8" name="Google Shape;411;p23"/>
            <p:cNvSpPr/>
            <p:nvPr/>
          </p:nvSpPr>
          <p:spPr>
            <a:xfrm>
              <a:off x="5291950" y="1179300"/>
              <a:ext cx="50650" cy="54100"/>
            </a:xfrm>
            <a:custGeom>
              <a:avLst/>
              <a:gdLst/>
              <a:ahLst/>
              <a:cxnLst/>
              <a:rect l="l" t="t" r="r" b="b"/>
              <a:pathLst>
                <a:path w="2026" h="2164" extrusionOk="0">
                  <a:moveTo>
                    <a:pt x="2026" y="0"/>
                  </a:moveTo>
                  <a:lnTo>
                    <a:pt x="1490" y="143"/>
                  </a:lnTo>
                  <a:lnTo>
                    <a:pt x="1" y="2163"/>
                  </a:lnTo>
                  <a:lnTo>
                    <a:pt x="510" y="202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9" name="Google Shape;412;p23"/>
            <p:cNvSpPr/>
            <p:nvPr/>
          </p:nvSpPr>
          <p:spPr>
            <a:xfrm>
              <a:off x="5275450" y="1183950"/>
              <a:ext cx="49750" cy="53800"/>
            </a:xfrm>
            <a:custGeom>
              <a:avLst/>
              <a:gdLst/>
              <a:ahLst/>
              <a:cxnLst/>
              <a:rect l="l" t="t" r="r" b="b"/>
              <a:pathLst>
                <a:path w="1990" h="2152" extrusionOk="0">
                  <a:moveTo>
                    <a:pt x="1990" y="1"/>
                  </a:moveTo>
                  <a:lnTo>
                    <a:pt x="1455" y="143"/>
                  </a:lnTo>
                  <a:lnTo>
                    <a:pt x="0" y="2152"/>
                  </a:lnTo>
                  <a:lnTo>
                    <a:pt x="508" y="201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0" name="Google Shape;413;p23"/>
            <p:cNvSpPr/>
            <p:nvPr/>
          </p:nvSpPr>
          <p:spPr>
            <a:xfrm>
              <a:off x="5247600" y="1191800"/>
              <a:ext cx="48225" cy="53300"/>
            </a:xfrm>
            <a:custGeom>
              <a:avLst/>
              <a:gdLst/>
              <a:ahLst/>
              <a:cxnLst/>
              <a:rect l="l" t="t" r="r" b="b"/>
              <a:pathLst>
                <a:path w="1929" h="2132" extrusionOk="0">
                  <a:moveTo>
                    <a:pt x="1929" y="0"/>
                  </a:moveTo>
                  <a:lnTo>
                    <a:pt x="1397" y="142"/>
                  </a:lnTo>
                  <a:lnTo>
                    <a:pt x="0" y="2132"/>
                  </a:lnTo>
                  <a:lnTo>
                    <a:pt x="506" y="199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1" name="Google Shape;414;p23"/>
            <p:cNvSpPr/>
            <p:nvPr/>
          </p:nvSpPr>
          <p:spPr>
            <a:xfrm>
              <a:off x="5219375" y="1199875"/>
              <a:ext cx="47025" cy="53175"/>
            </a:xfrm>
            <a:custGeom>
              <a:avLst/>
              <a:gdLst/>
              <a:ahLst/>
              <a:cxnLst/>
              <a:rect l="l" t="t" r="r" b="b"/>
              <a:pathLst>
                <a:path w="1881" h="2127" extrusionOk="0">
                  <a:moveTo>
                    <a:pt x="1880" y="1"/>
                  </a:moveTo>
                  <a:lnTo>
                    <a:pt x="1339" y="157"/>
                  </a:lnTo>
                  <a:lnTo>
                    <a:pt x="0" y="2127"/>
                  </a:lnTo>
                  <a:lnTo>
                    <a:pt x="515" y="198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2" name="Google Shape;415;p23"/>
            <p:cNvSpPr/>
            <p:nvPr/>
          </p:nvSpPr>
          <p:spPr>
            <a:xfrm>
              <a:off x="5191150" y="1208425"/>
              <a:ext cx="45525" cy="52725"/>
            </a:xfrm>
            <a:custGeom>
              <a:avLst/>
              <a:gdLst/>
              <a:ahLst/>
              <a:cxnLst/>
              <a:rect l="l" t="t" r="r" b="b"/>
              <a:pathLst>
                <a:path w="1821" h="2109" extrusionOk="0">
                  <a:moveTo>
                    <a:pt x="1820" y="1"/>
                  </a:moveTo>
                  <a:lnTo>
                    <a:pt x="1281" y="156"/>
                  </a:lnTo>
                  <a:lnTo>
                    <a:pt x="1" y="2108"/>
                  </a:lnTo>
                  <a:lnTo>
                    <a:pt x="513" y="196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 name="Google Shape;416;p23"/>
            <p:cNvSpPr/>
            <p:nvPr/>
          </p:nvSpPr>
          <p:spPr>
            <a:xfrm>
              <a:off x="5163050" y="1216975"/>
              <a:ext cx="44000" cy="52200"/>
            </a:xfrm>
            <a:custGeom>
              <a:avLst/>
              <a:gdLst/>
              <a:ahLst/>
              <a:cxnLst/>
              <a:rect l="l" t="t" r="r" b="b"/>
              <a:pathLst>
                <a:path w="1760" h="2088" extrusionOk="0">
                  <a:moveTo>
                    <a:pt x="1760" y="0"/>
                  </a:moveTo>
                  <a:lnTo>
                    <a:pt x="1223" y="155"/>
                  </a:lnTo>
                  <a:lnTo>
                    <a:pt x="1" y="2087"/>
                  </a:lnTo>
                  <a:lnTo>
                    <a:pt x="512" y="194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4" name="Google Shape;417;p23"/>
            <p:cNvSpPr/>
            <p:nvPr/>
          </p:nvSpPr>
          <p:spPr>
            <a:xfrm>
              <a:off x="5134575" y="1225800"/>
              <a:ext cx="42750" cy="52050"/>
            </a:xfrm>
            <a:custGeom>
              <a:avLst/>
              <a:gdLst/>
              <a:ahLst/>
              <a:cxnLst/>
              <a:rect l="l" t="t" r="r" b="b"/>
              <a:pathLst>
                <a:path w="1710" h="2082" extrusionOk="0">
                  <a:moveTo>
                    <a:pt x="1710" y="1"/>
                  </a:moveTo>
                  <a:lnTo>
                    <a:pt x="1165" y="169"/>
                  </a:lnTo>
                  <a:lnTo>
                    <a:pt x="1" y="2082"/>
                  </a:lnTo>
                  <a:lnTo>
                    <a:pt x="519" y="192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418;p23"/>
            <p:cNvSpPr/>
            <p:nvPr/>
          </p:nvSpPr>
          <p:spPr>
            <a:xfrm>
              <a:off x="5106175" y="1235050"/>
              <a:ext cx="41250" cy="51525"/>
            </a:xfrm>
            <a:custGeom>
              <a:avLst/>
              <a:gdLst/>
              <a:ahLst/>
              <a:cxnLst/>
              <a:rect l="l" t="t" r="r" b="b"/>
              <a:pathLst>
                <a:path w="1650" h="2061" extrusionOk="0">
                  <a:moveTo>
                    <a:pt x="1649" y="1"/>
                  </a:moveTo>
                  <a:lnTo>
                    <a:pt x="1107" y="168"/>
                  </a:lnTo>
                  <a:lnTo>
                    <a:pt x="0" y="2060"/>
                  </a:lnTo>
                  <a:lnTo>
                    <a:pt x="516" y="190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419;p23"/>
            <p:cNvSpPr/>
            <p:nvPr/>
          </p:nvSpPr>
          <p:spPr>
            <a:xfrm>
              <a:off x="5077825" y="1244250"/>
              <a:ext cx="39775" cy="51025"/>
            </a:xfrm>
            <a:custGeom>
              <a:avLst/>
              <a:gdLst/>
              <a:ahLst/>
              <a:cxnLst/>
              <a:rect l="l" t="t" r="r" b="b"/>
              <a:pathLst>
                <a:path w="1591" h="2041" extrusionOk="0">
                  <a:moveTo>
                    <a:pt x="1590" y="0"/>
                  </a:moveTo>
                  <a:lnTo>
                    <a:pt x="1049" y="169"/>
                  </a:lnTo>
                  <a:lnTo>
                    <a:pt x="0" y="2041"/>
                  </a:lnTo>
                  <a:lnTo>
                    <a:pt x="516" y="188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 name="Google Shape;420;p23"/>
            <p:cNvSpPr/>
            <p:nvPr/>
          </p:nvSpPr>
          <p:spPr>
            <a:xfrm>
              <a:off x="5049175" y="1253850"/>
              <a:ext cx="38450" cy="50800"/>
            </a:xfrm>
            <a:custGeom>
              <a:avLst/>
              <a:gdLst/>
              <a:ahLst/>
              <a:cxnLst/>
              <a:rect l="l" t="t" r="r" b="b"/>
              <a:pathLst>
                <a:path w="1538" h="2032" extrusionOk="0">
                  <a:moveTo>
                    <a:pt x="1538" y="0"/>
                  </a:moveTo>
                  <a:lnTo>
                    <a:pt x="991" y="179"/>
                  </a:lnTo>
                  <a:lnTo>
                    <a:pt x="0" y="2032"/>
                  </a:lnTo>
                  <a:lnTo>
                    <a:pt x="521" y="186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 name="Google Shape;421;p23"/>
            <p:cNvSpPr/>
            <p:nvPr/>
          </p:nvSpPr>
          <p:spPr>
            <a:xfrm>
              <a:off x="5020600" y="1263725"/>
              <a:ext cx="37000" cy="50275"/>
            </a:xfrm>
            <a:custGeom>
              <a:avLst/>
              <a:gdLst/>
              <a:ahLst/>
              <a:cxnLst/>
              <a:rect l="l" t="t" r="r" b="b"/>
              <a:pathLst>
                <a:path w="1480" h="2011" extrusionOk="0">
                  <a:moveTo>
                    <a:pt x="1479" y="0"/>
                  </a:moveTo>
                  <a:lnTo>
                    <a:pt x="934" y="179"/>
                  </a:lnTo>
                  <a:lnTo>
                    <a:pt x="1" y="2011"/>
                  </a:lnTo>
                  <a:lnTo>
                    <a:pt x="519" y="184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422;p23"/>
            <p:cNvSpPr/>
            <p:nvPr/>
          </p:nvSpPr>
          <p:spPr>
            <a:xfrm>
              <a:off x="4992025" y="1273575"/>
              <a:ext cx="35575" cy="49850"/>
            </a:xfrm>
            <a:custGeom>
              <a:avLst/>
              <a:gdLst/>
              <a:ahLst/>
              <a:cxnLst/>
              <a:rect l="l" t="t" r="r" b="b"/>
              <a:pathLst>
                <a:path w="1423" h="1994" extrusionOk="0">
                  <a:moveTo>
                    <a:pt x="1423" y="0"/>
                  </a:moveTo>
                  <a:cubicBezTo>
                    <a:pt x="1242" y="58"/>
                    <a:pt x="1061" y="118"/>
                    <a:pt x="876" y="185"/>
                  </a:cubicBezTo>
                  <a:lnTo>
                    <a:pt x="0" y="1994"/>
                  </a:lnTo>
                  <a:cubicBezTo>
                    <a:pt x="176" y="1932"/>
                    <a:pt x="349" y="1876"/>
                    <a:pt x="521" y="1819"/>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 name="Google Shape;423;p23"/>
            <p:cNvSpPr/>
            <p:nvPr/>
          </p:nvSpPr>
          <p:spPr>
            <a:xfrm>
              <a:off x="4963275" y="1283925"/>
              <a:ext cx="34200" cy="49475"/>
            </a:xfrm>
            <a:custGeom>
              <a:avLst/>
              <a:gdLst/>
              <a:ahLst/>
              <a:cxnLst/>
              <a:rect l="l" t="t" r="r" b="b"/>
              <a:pathLst>
                <a:path w="1368" h="1979" extrusionOk="0">
                  <a:moveTo>
                    <a:pt x="1367" y="0"/>
                  </a:moveTo>
                  <a:lnTo>
                    <a:pt x="818" y="191"/>
                  </a:lnTo>
                  <a:lnTo>
                    <a:pt x="0" y="1979"/>
                  </a:lnTo>
                  <a:lnTo>
                    <a:pt x="523" y="179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1" name="Google Shape;424;p23"/>
            <p:cNvSpPr/>
            <p:nvPr/>
          </p:nvSpPr>
          <p:spPr>
            <a:xfrm>
              <a:off x="4934575" y="1294400"/>
              <a:ext cx="32725" cy="48925"/>
            </a:xfrm>
            <a:custGeom>
              <a:avLst/>
              <a:gdLst/>
              <a:ahLst/>
              <a:cxnLst/>
              <a:rect l="l" t="t" r="r" b="b"/>
              <a:pathLst>
                <a:path w="1309" h="1957" extrusionOk="0">
                  <a:moveTo>
                    <a:pt x="1308" y="0"/>
                  </a:moveTo>
                  <a:lnTo>
                    <a:pt x="761" y="191"/>
                  </a:lnTo>
                  <a:lnTo>
                    <a:pt x="0" y="1957"/>
                  </a:lnTo>
                  <a:lnTo>
                    <a:pt x="522" y="177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2" name="Google Shape;425;p23"/>
            <p:cNvSpPr/>
            <p:nvPr/>
          </p:nvSpPr>
          <p:spPr>
            <a:xfrm>
              <a:off x="4905850" y="1304850"/>
              <a:ext cx="31350" cy="48650"/>
            </a:xfrm>
            <a:custGeom>
              <a:avLst/>
              <a:gdLst/>
              <a:ahLst/>
              <a:cxnLst/>
              <a:rect l="l" t="t" r="r" b="b"/>
              <a:pathLst>
                <a:path w="1254" h="1946" extrusionOk="0">
                  <a:moveTo>
                    <a:pt x="1254" y="0"/>
                  </a:moveTo>
                  <a:cubicBezTo>
                    <a:pt x="1073" y="63"/>
                    <a:pt x="887" y="134"/>
                    <a:pt x="704" y="200"/>
                  </a:cubicBezTo>
                  <a:lnTo>
                    <a:pt x="0" y="1945"/>
                  </a:lnTo>
                  <a:cubicBezTo>
                    <a:pt x="174" y="1882"/>
                    <a:pt x="351" y="1815"/>
                    <a:pt x="524" y="1756"/>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3" name="Google Shape;426;p23"/>
            <p:cNvSpPr/>
            <p:nvPr/>
          </p:nvSpPr>
          <p:spPr>
            <a:xfrm>
              <a:off x="4877000" y="1315900"/>
              <a:ext cx="29925" cy="48125"/>
            </a:xfrm>
            <a:custGeom>
              <a:avLst/>
              <a:gdLst/>
              <a:ahLst/>
              <a:cxnLst/>
              <a:rect l="l" t="t" r="r" b="b"/>
              <a:pathLst>
                <a:path w="1197" h="1925" extrusionOk="0">
                  <a:moveTo>
                    <a:pt x="0" y="1925"/>
                  </a:moveTo>
                  <a:lnTo>
                    <a:pt x="525" y="1733"/>
                  </a:lnTo>
                  <a:lnTo>
                    <a:pt x="1197" y="1"/>
                  </a:lnTo>
                  <a:lnTo>
                    <a:pt x="647" y="20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4" name="Google Shape;427;p23"/>
            <p:cNvSpPr/>
            <p:nvPr/>
          </p:nvSpPr>
          <p:spPr>
            <a:xfrm>
              <a:off x="4848225" y="1326975"/>
              <a:ext cx="28475" cy="47575"/>
            </a:xfrm>
            <a:custGeom>
              <a:avLst/>
              <a:gdLst/>
              <a:ahLst/>
              <a:cxnLst/>
              <a:rect l="l" t="t" r="r" b="b"/>
              <a:pathLst>
                <a:path w="1139" h="1903" extrusionOk="0">
                  <a:moveTo>
                    <a:pt x="523" y="1711"/>
                  </a:moveTo>
                  <a:lnTo>
                    <a:pt x="1139" y="1"/>
                  </a:lnTo>
                  <a:lnTo>
                    <a:pt x="590" y="202"/>
                  </a:lnTo>
                  <a:lnTo>
                    <a:pt x="0" y="190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428;p23"/>
            <p:cNvSpPr/>
            <p:nvPr/>
          </p:nvSpPr>
          <p:spPr>
            <a:xfrm>
              <a:off x="4819375" y="1338100"/>
              <a:ext cx="27125" cy="47275"/>
            </a:xfrm>
            <a:custGeom>
              <a:avLst/>
              <a:gdLst/>
              <a:ahLst/>
              <a:cxnLst/>
              <a:rect l="l" t="t" r="r" b="b"/>
              <a:pathLst>
                <a:path w="1085" h="1891" extrusionOk="0">
                  <a:moveTo>
                    <a:pt x="527" y="1688"/>
                  </a:moveTo>
                  <a:lnTo>
                    <a:pt x="1085" y="0"/>
                  </a:lnTo>
                  <a:lnTo>
                    <a:pt x="533" y="213"/>
                  </a:lnTo>
                  <a:lnTo>
                    <a:pt x="0" y="189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6" name="Google Shape;429;p23"/>
            <p:cNvSpPr/>
            <p:nvPr/>
          </p:nvSpPr>
          <p:spPr>
            <a:xfrm>
              <a:off x="4790475" y="1349775"/>
              <a:ext cx="25700" cy="46700"/>
            </a:xfrm>
            <a:custGeom>
              <a:avLst/>
              <a:gdLst/>
              <a:ahLst/>
              <a:cxnLst/>
              <a:rect l="l" t="t" r="r" b="b"/>
              <a:pathLst>
                <a:path w="1028" h="1868" extrusionOk="0">
                  <a:moveTo>
                    <a:pt x="525" y="1666"/>
                  </a:moveTo>
                  <a:lnTo>
                    <a:pt x="1028" y="1"/>
                  </a:lnTo>
                  <a:lnTo>
                    <a:pt x="477" y="214"/>
                  </a:lnTo>
                  <a:lnTo>
                    <a:pt x="1" y="186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 name="Google Shape;430;p23"/>
            <p:cNvSpPr/>
            <p:nvPr/>
          </p:nvSpPr>
          <p:spPr>
            <a:xfrm>
              <a:off x="4761650" y="1361450"/>
              <a:ext cx="24250" cy="46100"/>
            </a:xfrm>
            <a:custGeom>
              <a:avLst/>
              <a:gdLst/>
              <a:ahLst/>
              <a:cxnLst/>
              <a:rect l="l" t="t" r="r" b="b"/>
              <a:pathLst>
                <a:path w="970" h="1844" extrusionOk="0">
                  <a:moveTo>
                    <a:pt x="524" y="1642"/>
                  </a:moveTo>
                  <a:lnTo>
                    <a:pt x="970" y="0"/>
                  </a:lnTo>
                  <a:lnTo>
                    <a:pt x="421" y="212"/>
                  </a:lnTo>
                  <a:lnTo>
                    <a:pt x="1" y="184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 name="Google Shape;431;p23"/>
            <p:cNvSpPr/>
            <p:nvPr/>
          </p:nvSpPr>
          <p:spPr>
            <a:xfrm>
              <a:off x="4732750" y="1373275"/>
              <a:ext cx="22900" cy="45775"/>
            </a:xfrm>
            <a:custGeom>
              <a:avLst/>
              <a:gdLst/>
              <a:ahLst/>
              <a:cxnLst/>
              <a:rect l="l" t="t" r="r" b="b"/>
              <a:pathLst>
                <a:path w="916" h="1831" extrusionOk="0">
                  <a:moveTo>
                    <a:pt x="526" y="1618"/>
                  </a:moveTo>
                  <a:lnTo>
                    <a:pt x="916" y="0"/>
                  </a:lnTo>
                  <a:lnTo>
                    <a:pt x="365" y="222"/>
                  </a:lnTo>
                  <a:lnTo>
                    <a:pt x="1" y="183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 name="Google Shape;432;p23"/>
            <p:cNvSpPr/>
            <p:nvPr/>
          </p:nvSpPr>
          <p:spPr>
            <a:xfrm>
              <a:off x="4646100" y="1410175"/>
              <a:ext cx="18700" cy="44225"/>
            </a:xfrm>
            <a:custGeom>
              <a:avLst/>
              <a:gdLst/>
              <a:ahLst/>
              <a:cxnLst/>
              <a:rect l="l" t="t" r="r" b="b"/>
              <a:pathLst>
                <a:path w="748" h="1769" extrusionOk="0">
                  <a:moveTo>
                    <a:pt x="748" y="1"/>
                  </a:moveTo>
                  <a:lnTo>
                    <a:pt x="197" y="233"/>
                  </a:lnTo>
                  <a:lnTo>
                    <a:pt x="1" y="1769"/>
                  </a:lnTo>
                  <a:lnTo>
                    <a:pt x="526" y="154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 name="Google Shape;433;p23"/>
            <p:cNvSpPr/>
            <p:nvPr/>
          </p:nvSpPr>
          <p:spPr>
            <a:xfrm>
              <a:off x="4617225" y="1422950"/>
              <a:ext cx="17300" cy="43625"/>
            </a:xfrm>
            <a:custGeom>
              <a:avLst/>
              <a:gdLst/>
              <a:ahLst/>
              <a:cxnLst/>
              <a:rect l="l" t="t" r="r" b="b"/>
              <a:pathLst>
                <a:path w="692" h="1745" extrusionOk="0">
                  <a:moveTo>
                    <a:pt x="692" y="0"/>
                  </a:moveTo>
                  <a:lnTo>
                    <a:pt x="141" y="232"/>
                  </a:lnTo>
                  <a:lnTo>
                    <a:pt x="1" y="1744"/>
                  </a:lnTo>
                  <a:lnTo>
                    <a:pt x="525" y="152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 name="Google Shape;434;p23"/>
            <p:cNvSpPr/>
            <p:nvPr/>
          </p:nvSpPr>
          <p:spPr>
            <a:xfrm>
              <a:off x="4588400" y="1435700"/>
              <a:ext cx="15875" cy="43025"/>
            </a:xfrm>
            <a:custGeom>
              <a:avLst/>
              <a:gdLst/>
              <a:ahLst/>
              <a:cxnLst/>
              <a:rect l="l" t="t" r="r" b="b"/>
              <a:pathLst>
                <a:path w="635" h="1721" extrusionOk="0">
                  <a:moveTo>
                    <a:pt x="635" y="0"/>
                  </a:moveTo>
                  <a:cubicBezTo>
                    <a:pt x="451" y="79"/>
                    <a:pt x="268" y="153"/>
                    <a:pt x="85" y="235"/>
                  </a:cubicBezTo>
                  <a:lnTo>
                    <a:pt x="1" y="1721"/>
                  </a:lnTo>
                  <a:cubicBezTo>
                    <a:pt x="175" y="1642"/>
                    <a:pt x="349" y="1573"/>
                    <a:pt x="524" y="1499"/>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 name="Google Shape;435;p23"/>
            <p:cNvSpPr/>
            <p:nvPr/>
          </p:nvSpPr>
          <p:spPr>
            <a:xfrm>
              <a:off x="4559550" y="1448800"/>
              <a:ext cx="14500" cy="42625"/>
            </a:xfrm>
            <a:custGeom>
              <a:avLst/>
              <a:gdLst/>
              <a:ahLst/>
              <a:cxnLst/>
              <a:rect l="l" t="t" r="r" b="b"/>
              <a:pathLst>
                <a:path w="580" h="1705" extrusionOk="0">
                  <a:moveTo>
                    <a:pt x="580" y="0"/>
                  </a:moveTo>
                  <a:lnTo>
                    <a:pt x="30" y="242"/>
                  </a:lnTo>
                  <a:lnTo>
                    <a:pt x="0" y="1704"/>
                  </a:lnTo>
                  <a:lnTo>
                    <a:pt x="525" y="1474"/>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3" name="Google Shape;436;p23"/>
            <p:cNvSpPr/>
            <p:nvPr/>
          </p:nvSpPr>
          <p:spPr>
            <a:xfrm>
              <a:off x="4530100" y="1462075"/>
              <a:ext cx="13750" cy="41975"/>
            </a:xfrm>
            <a:custGeom>
              <a:avLst/>
              <a:gdLst/>
              <a:ahLst/>
              <a:cxnLst/>
              <a:rect l="l" t="t" r="r" b="b"/>
              <a:pathLst>
                <a:path w="550" h="1679" extrusionOk="0">
                  <a:moveTo>
                    <a:pt x="550" y="1449"/>
                  </a:moveTo>
                  <a:lnTo>
                    <a:pt x="550" y="0"/>
                  </a:lnTo>
                  <a:lnTo>
                    <a:pt x="0" y="242"/>
                  </a:lnTo>
                  <a:lnTo>
                    <a:pt x="26" y="167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4" name="Google Shape;437;p23"/>
            <p:cNvSpPr/>
            <p:nvPr/>
          </p:nvSpPr>
          <p:spPr>
            <a:xfrm>
              <a:off x="4499925" y="1475325"/>
              <a:ext cx="15125" cy="41525"/>
            </a:xfrm>
            <a:custGeom>
              <a:avLst/>
              <a:gdLst/>
              <a:ahLst/>
              <a:cxnLst/>
              <a:rect l="l" t="t" r="r" b="b"/>
              <a:pathLst>
                <a:path w="605" h="1661" extrusionOk="0">
                  <a:moveTo>
                    <a:pt x="605" y="1425"/>
                  </a:moveTo>
                  <a:lnTo>
                    <a:pt x="549" y="1"/>
                  </a:lnTo>
                  <a:cubicBezTo>
                    <a:pt x="366" y="80"/>
                    <a:pt x="183" y="166"/>
                    <a:pt x="0" y="248"/>
                  </a:cubicBezTo>
                  <a:lnTo>
                    <a:pt x="81" y="1661"/>
                  </a:lnTo>
                  <a:cubicBezTo>
                    <a:pt x="256" y="1582"/>
                    <a:pt x="430" y="1499"/>
                    <a:pt x="605" y="1425"/>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5" name="Google Shape;438;p23"/>
            <p:cNvSpPr/>
            <p:nvPr/>
          </p:nvSpPr>
          <p:spPr>
            <a:xfrm>
              <a:off x="4469825" y="1489050"/>
              <a:ext cx="16475" cy="40975"/>
            </a:xfrm>
            <a:custGeom>
              <a:avLst/>
              <a:gdLst/>
              <a:ahLst/>
              <a:cxnLst/>
              <a:rect l="l" t="t" r="r" b="b"/>
              <a:pathLst>
                <a:path w="659" h="1639" extrusionOk="0">
                  <a:moveTo>
                    <a:pt x="659" y="1399"/>
                  </a:moveTo>
                  <a:lnTo>
                    <a:pt x="548" y="1"/>
                  </a:lnTo>
                  <a:lnTo>
                    <a:pt x="1" y="251"/>
                  </a:lnTo>
                  <a:lnTo>
                    <a:pt x="135" y="163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6" name="Google Shape;439;p23"/>
            <p:cNvSpPr/>
            <p:nvPr/>
          </p:nvSpPr>
          <p:spPr>
            <a:xfrm>
              <a:off x="4439725" y="1502825"/>
              <a:ext cx="17825" cy="40300"/>
            </a:xfrm>
            <a:custGeom>
              <a:avLst/>
              <a:gdLst/>
              <a:ahLst/>
              <a:cxnLst/>
              <a:rect l="l" t="t" r="r" b="b"/>
              <a:pathLst>
                <a:path w="713" h="1612" extrusionOk="0">
                  <a:moveTo>
                    <a:pt x="713" y="1374"/>
                  </a:moveTo>
                  <a:lnTo>
                    <a:pt x="547" y="0"/>
                  </a:lnTo>
                  <a:lnTo>
                    <a:pt x="1" y="251"/>
                  </a:lnTo>
                  <a:lnTo>
                    <a:pt x="190" y="161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7" name="Google Shape;440;p23"/>
            <p:cNvSpPr/>
            <p:nvPr/>
          </p:nvSpPr>
          <p:spPr>
            <a:xfrm>
              <a:off x="4409700" y="1516625"/>
              <a:ext cx="19150" cy="39875"/>
            </a:xfrm>
            <a:custGeom>
              <a:avLst/>
              <a:gdLst/>
              <a:ahLst/>
              <a:cxnLst/>
              <a:rect l="l" t="t" r="r" b="b"/>
              <a:pathLst>
                <a:path w="766" h="1595" extrusionOk="0">
                  <a:moveTo>
                    <a:pt x="766" y="1347"/>
                  </a:moveTo>
                  <a:lnTo>
                    <a:pt x="546" y="0"/>
                  </a:lnTo>
                  <a:lnTo>
                    <a:pt x="0" y="260"/>
                  </a:lnTo>
                  <a:lnTo>
                    <a:pt x="245" y="1594"/>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8" name="Google Shape;441;p23"/>
            <p:cNvSpPr/>
            <p:nvPr/>
          </p:nvSpPr>
          <p:spPr>
            <a:xfrm>
              <a:off x="4379700" y="1530875"/>
              <a:ext cx="20525" cy="39225"/>
            </a:xfrm>
            <a:custGeom>
              <a:avLst/>
              <a:gdLst/>
              <a:ahLst/>
              <a:cxnLst/>
              <a:rect l="l" t="t" r="r" b="b"/>
              <a:pathLst>
                <a:path w="821" h="1569" extrusionOk="0">
                  <a:moveTo>
                    <a:pt x="820" y="1321"/>
                  </a:moveTo>
                  <a:lnTo>
                    <a:pt x="546" y="1"/>
                  </a:lnTo>
                  <a:lnTo>
                    <a:pt x="1" y="260"/>
                  </a:lnTo>
                  <a:lnTo>
                    <a:pt x="300" y="156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9" name="Google Shape;442;p23"/>
            <p:cNvSpPr/>
            <p:nvPr/>
          </p:nvSpPr>
          <p:spPr>
            <a:xfrm>
              <a:off x="4349750" y="1545125"/>
              <a:ext cx="21875" cy="38575"/>
            </a:xfrm>
            <a:custGeom>
              <a:avLst/>
              <a:gdLst/>
              <a:ahLst/>
              <a:cxnLst/>
              <a:rect l="l" t="t" r="r" b="b"/>
              <a:pathLst>
                <a:path w="875" h="1543" extrusionOk="0">
                  <a:moveTo>
                    <a:pt x="875" y="1296"/>
                  </a:moveTo>
                  <a:lnTo>
                    <a:pt x="545" y="1"/>
                  </a:lnTo>
                  <a:lnTo>
                    <a:pt x="1" y="260"/>
                  </a:lnTo>
                  <a:lnTo>
                    <a:pt x="354" y="1542"/>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0" name="Google Shape;443;p23"/>
            <p:cNvSpPr/>
            <p:nvPr/>
          </p:nvSpPr>
          <p:spPr>
            <a:xfrm>
              <a:off x="4319900" y="1559500"/>
              <a:ext cx="23125" cy="38125"/>
            </a:xfrm>
            <a:custGeom>
              <a:avLst/>
              <a:gdLst/>
              <a:ahLst/>
              <a:cxnLst/>
              <a:rect l="l" t="t" r="r" b="b"/>
              <a:pathLst>
                <a:path w="925" h="1525" extrusionOk="0">
                  <a:moveTo>
                    <a:pt x="925" y="1268"/>
                  </a:moveTo>
                  <a:lnTo>
                    <a:pt x="543" y="1"/>
                  </a:lnTo>
                  <a:lnTo>
                    <a:pt x="0" y="269"/>
                  </a:lnTo>
                  <a:lnTo>
                    <a:pt x="408" y="1524"/>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1" name="Google Shape;444;p23"/>
            <p:cNvSpPr/>
            <p:nvPr/>
          </p:nvSpPr>
          <p:spPr>
            <a:xfrm>
              <a:off x="4290075" y="1574250"/>
              <a:ext cx="24500" cy="37425"/>
            </a:xfrm>
            <a:custGeom>
              <a:avLst/>
              <a:gdLst/>
              <a:ahLst/>
              <a:cxnLst/>
              <a:rect l="l" t="t" r="r" b="b"/>
              <a:pathLst>
                <a:path w="980" h="1497" extrusionOk="0">
                  <a:moveTo>
                    <a:pt x="980" y="1241"/>
                  </a:moveTo>
                  <a:lnTo>
                    <a:pt x="543" y="0"/>
                  </a:lnTo>
                  <a:lnTo>
                    <a:pt x="0" y="268"/>
                  </a:lnTo>
                  <a:lnTo>
                    <a:pt x="463" y="149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2" name="Google Shape;445;p23"/>
            <p:cNvSpPr/>
            <p:nvPr/>
          </p:nvSpPr>
          <p:spPr>
            <a:xfrm>
              <a:off x="4260275" y="1588925"/>
              <a:ext cx="25850" cy="36775"/>
            </a:xfrm>
            <a:custGeom>
              <a:avLst/>
              <a:gdLst/>
              <a:ahLst/>
              <a:cxnLst/>
              <a:rect l="l" t="t" r="r" b="b"/>
              <a:pathLst>
                <a:path w="1034" h="1471" extrusionOk="0">
                  <a:moveTo>
                    <a:pt x="1033" y="1216"/>
                  </a:moveTo>
                  <a:lnTo>
                    <a:pt x="542" y="1"/>
                  </a:lnTo>
                  <a:lnTo>
                    <a:pt x="0" y="268"/>
                  </a:lnTo>
                  <a:lnTo>
                    <a:pt x="516" y="147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 name="Google Shape;446;p23"/>
            <p:cNvSpPr/>
            <p:nvPr/>
          </p:nvSpPr>
          <p:spPr>
            <a:xfrm>
              <a:off x="4230650" y="1603875"/>
              <a:ext cx="27125" cy="36300"/>
            </a:xfrm>
            <a:custGeom>
              <a:avLst/>
              <a:gdLst/>
              <a:ahLst/>
              <a:cxnLst/>
              <a:rect l="l" t="t" r="r" b="b"/>
              <a:pathLst>
                <a:path w="1085" h="1452" extrusionOk="0">
                  <a:moveTo>
                    <a:pt x="1084" y="1188"/>
                  </a:moveTo>
                  <a:lnTo>
                    <a:pt x="539" y="0"/>
                  </a:lnTo>
                  <a:lnTo>
                    <a:pt x="0" y="276"/>
                  </a:lnTo>
                  <a:lnTo>
                    <a:pt x="570" y="145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4" name="Google Shape;447;p23"/>
            <p:cNvSpPr/>
            <p:nvPr/>
          </p:nvSpPr>
          <p:spPr>
            <a:xfrm>
              <a:off x="4201025" y="1619025"/>
              <a:ext cx="28475" cy="35625"/>
            </a:xfrm>
            <a:custGeom>
              <a:avLst/>
              <a:gdLst/>
              <a:ahLst/>
              <a:cxnLst/>
              <a:rect l="l" t="t" r="r" b="b"/>
              <a:pathLst>
                <a:path w="1139" h="1425" extrusionOk="0">
                  <a:moveTo>
                    <a:pt x="1138" y="1161"/>
                  </a:moveTo>
                  <a:lnTo>
                    <a:pt x="539" y="1"/>
                  </a:lnTo>
                  <a:lnTo>
                    <a:pt x="1" y="276"/>
                  </a:lnTo>
                  <a:lnTo>
                    <a:pt x="624" y="1424"/>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5" name="Google Shape;448;p23"/>
            <p:cNvSpPr/>
            <p:nvPr/>
          </p:nvSpPr>
          <p:spPr>
            <a:xfrm>
              <a:off x="4171450" y="1634200"/>
              <a:ext cx="29775" cy="34975"/>
            </a:xfrm>
            <a:custGeom>
              <a:avLst/>
              <a:gdLst/>
              <a:ahLst/>
              <a:cxnLst/>
              <a:rect l="l" t="t" r="r" b="b"/>
              <a:pathLst>
                <a:path w="1191" h="1399" extrusionOk="0">
                  <a:moveTo>
                    <a:pt x="1190" y="1132"/>
                  </a:moveTo>
                  <a:lnTo>
                    <a:pt x="537" y="0"/>
                  </a:lnTo>
                  <a:cubicBezTo>
                    <a:pt x="357" y="93"/>
                    <a:pt x="177" y="183"/>
                    <a:pt x="0" y="279"/>
                  </a:cubicBezTo>
                  <a:lnTo>
                    <a:pt x="677" y="1399"/>
                  </a:lnTo>
                  <a:cubicBezTo>
                    <a:pt x="847" y="1307"/>
                    <a:pt x="1018" y="1221"/>
                    <a:pt x="1190" y="1132"/>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6" name="Google Shape;449;p23"/>
            <p:cNvSpPr/>
            <p:nvPr/>
          </p:nvSpPr>
          <p:spPr>
            <a:xfrm>
              <a:off x="4142050" y="1649650"/>
              <a:ext cx="31050" cy="34400"/>
            </a:xfrm>
            <a:custGeom>
              <a:avLst/>
              <a:gdLst/>
              <a:ahLst/>
              <a:cxnLst/>
              <a:rect l="l" t="t" r="r" b="b"/>
              <a:pathLst>
                <a:path w="1242" h="1376" extrusionOk="0">
                  <a:moveTo>
                    <a:pt x="1241" y="1105"/>
                  </a:moveTo>
                  <a:lnTo>
                    <a:pt x="535" y="0"/>
                  </a:lnTo>
                  <a:lnTo>
                    <a:pt x="1" y="285"/>
                  </a:lnTo>
                  <a:lnTo>
                    <a:pt x="732" y="137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450;p23"/>
            <p:cNvSpPr/>
            <p:nvPr/>
          </p:nvSpPr>
          <p:spPr>
            <a:xfrm>
              <a:off x="4112650" y="1665250"/>
              <a:ext cx="32400" cy="33700"/>
            </a:xfrm>
            <a:custGeom>
              <a:avLst/>
              <a:gdLst/>
              <a:ahLst/>
              <a:cxnLst/>
              <a:rect l="l" t="t" r="r" b="b"/>
              <a:pathLst>
                <a:path w="1296" h="1348" extrusionOk="0">
                  <a:moveTo>
                    <a:pt x="1296" y="1076"/>
                  </a:moveTo>
                  <a:lnTo>
                    <a:pt x="536" y="1"/>
                  </a:lnTo>
                  <a:lnTo>
                    <a:pt x="1" y="284"/>
                  </a:lnTo>
                  <a:lnTo>
                    <a:pt x="785" y="1348"/>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 name="Google Shape;451;p23"/>
            <p:cNvSpPr/>
            <p:nvPr/>
          </p:nvSpPr>
          <p:spPr>
            <a:xfrm>
              <a:off x="4095275" y="1674450"/>
              <a:ext cx="33200" cy="33300"/>
            </a:xfrm>
            <a:custGeom>
              <a:avLst/>
              <a:gdLst/>
              <a:ahLst/>
              <a:cxnLst/>
              <a:rect l="l" t="t" r="r" b="b"/>
              <a:pathLst>
                <a:path w="1328" h="1332" extrusionOk="0">
                  <a:moveTo>
                    <a:pt x="817" y="1331"/>
                  </a:moveTo>
                  <a:lnTo>
                    <a:pt x="1327" y="1061"/>
                  </a:lnTo>
                  <a:lnTo>
                    <a:pt x="536" y="0"/>
                  </a:lnTo>
                  <a:lnTo>
                    <a:pt x="1" y="285"/>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452;p23"/>
            <p:cNvSpPr/>
            <p:nvPr/>
          </p:nvSpPr>
          <p:spPr>
            <a:xfrm>
              <a:off x="4066150" y="1690250"/>
              <a:ext cx="34400" cy="32750"/>
            </a:xfrm>
            <a:custGeom>
              <a:avLst/>
              <a:gdLst/>
              <a:ahLst/>
              <a:cxnLst/>
              <a:rect l="l" t="t" r="r" b="b"/>
              <a:pathLst>
                <a:path w="1376" h="1310" extrusionOk="0">
                  <a:moveTo>
                    <a:pt x="1" y="292"/>
                  </a:moveTo>
                  <a:lnTo>
                    <a:pt x="871" y="1309"/>
                  </a:lnTo>
                  <a:lnTo>
                    <a:pt x="1375" y="1031"/>
                  </a:lnTo>
                  <a:lnTo>
                    <a:pt x="531"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453;p23"/>
            <p:cNvSpPr/>
            <p:nvPr/>
          </p:nvSpPr>
          <p:spPr>
            <a:xfrm>
              <a:off x="4037050" y="1706250"/>
              <a:ext cx="35725" cy="32025"/>
            </a:xfrm>
            <a:custGeom>
              <a:avLst/>
              <a:gdLst/>
              <a:ahLst/>
              <a:cxnLst/>
              <a:rect l="l" t="t" r="r" b="b"/>
              <a:pathLst>
                <a:path w="1429" h="1281" extrusionOk="0">
                  <a:moveTo>
                    <a:pt x="0" y="291"/>
                  </a:moveTo>
                  <a:lnTo>
                    <a:pt x="923" y="1281"/>
                  </a:lnTo>
                  <a:lnTo>
                    <a:pt x="1428" y="1003"/>
                  </a:lnTo>
                  <a:lnTo>
                    <a:pt x="530"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454;p23"/>
            <p:cNvSpPr/>
            <p:nvPr/>
          </p:nvSpPr>
          <p:spPr>
            <a:xfrm>
              <a:off x="4007925" y="1722250"/>
              <a:ext cx="37050" cy="31350"/>
            </a:xfrm>
            <a:custGeom>
              <a:avLst/>
              <a:gdLst/>
              <a:ahLst/>
              <a:cxnLst/>
              <a:rect l="l" t="t" r="r" b="b"/>
              <a:pathLst>
                <a:path w="1482" h="1254" extrusionOk="0">
                  <a:moveTo>
                    <a:pt x="1" y="294"/>
                  </a:moveTo>
                  <a:lnTo>
                    <a:pt x="977" y="1254"/>
                  </a:lnTo>
                  <a:cubicBezTo>
                    <a:pt x="1143" y="1158"/>
                    <a:pt x="1313" y="1067"/>
                    <a:pt x="1481" y="974"/>
                  </a:cubicBezTo>
                  <a:lnTo>
                    <a:pt x="529" y="1"/>
                  </a:lnTo>
                  <a:cubicBezTo>
                    <a:pt x="352" y="98"/>
                    <a:pt x="174" y="194"/>
                    <a:pt x="1" y="294"/>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 name="Google Shape;455;p23"/>
            <p:cNvSpPr/>
            <p:nvPr/>
          </p:nvSpPr>
          <p:spPr>
            <a:xfrm>
              <a:off x="3979125" y="1738525"/>
              <a:ext cx="38250" cy="30750"/>
            </a:xfrm>
            <a:custGeom>
              <a:avLst/>
              <a:gdLst/>
              <a:ahLst/>
              <a:cxnLst/>
              <a:rect l="l" t="t" r="r" b="b"/>
              <a:pathLst>
                <a:path w="1530" h="1230" extrusionOk="0">
                  <a:moveTo>
                    <a:pt x="0" y="298"/>
                  </a:moveTo>
                  <a:lnTo>
                    <a:pt x="1030" y="1229"/>
                  </a:lnTo>
                  <a:lnTo>
                    <a:pt x="1530" y="945"/>
                  </a:lnTo>
                  <a:lnTo>
                    <a:pt x="525"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 name="Google Shape;456;p23"/>
            <p:cNvSpPr/>
            <p:nvPr/>
          </p:nvSpPr>
          <p:spPr>
            <a:xfrm>
              <a:off x="3950300" y="1754925"/>
              <a:ext cx="39600" cy="30000"/>
            </a:xfrm>
            <a:custGeom>
              <a:avLst/>
              <a:gdLst/>
              <a:ahLst/>
              <a:cxnLst/>
              <a:rect l="l" t="t" r="r" b="b"/>
              <a:pathLst>
                <a:path w="1584" h="1200" extrusionOk="0">
                  <a:moveTo>
                    <a:pt x="0" y="299"/>
                  </a:moveTo>
                  <a:lnTo>
                    <a:pt x="1083" y="1200"/>
                  </a:lnTo>
                  <a:lnTo>
                    <a:pt x="1583" y="916"/>
                  </a:lnTo>
                  <a:lnTo>
                    <a:pt x="525"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 name="Google Shape;457;p23"/>
            <p:cNvSpPr/>
            <p:nvPr/>
          </p:nvSpPr>
          <p:spPr>
            <a:xfrm>
              <a:off x="3921575" y="1771325"/>
              <a:ext cx="40775" cy="29400"/>
            </a:xfrm>
            <a:custGeom>
              <a:avLst/>
              <a:gdLst/>
              <a:ahLst/>
              <a:cxnLst/>
              <a:rect l="l" t="t" r="r" b="b"/>
              <a:pathLst>
                <a:path w="1631" h="1176" extrusionOk="0">
                  <a:moveTo>
                    <a:pt x="0" y="304"/>
                  </a:moveTo>
                  <a:lnTo>
                    <a:pt x="1136" y="1176"/>
                  </a:lnTo>
                  <a:cubicBezTo>
                    <a:pt x="1301" y="1079"/>
                    <a:pt x="1463" y="980"/>
                    <a:pt x="1631" y="886"/>
                  </a:cubicBezTo>
                  <a:lnTo>
                    <a:pt x="520" y="1"/>
                  </a:lnTo>
                  <a:cubicBezTo>
                    <a:pt x="344" y="100"/>
                    <a:pt x="173" y="203"/>
                    <a:pt x="0" y="304"/>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458;p23"/>
            <p:cNvSpPr/>
            <p:nvPr/>
          </p:nvSpPr>
          <p:spPr>
            <a:xfrm>
              <a:off x="3893100" y="1788075"/>
              <a:ext cx="42075" cy="28675"/>
            </a:xfrm>
            <a:custGeom>
              <a:avLst/>
              <a:gdLst/>
              <a:ahLst/>
              <a:cxnLst/>
              <a:rect l="l" t="t" r="r" b="b"/>
              <a:pathLst>
                <a:path w="1683" h="1147" extrusionOk="0">
                  <a:moveTo>
                    <a:pt x="0" y="305"/>
                  </a:moveTo>
                  <a:lnTo>
                    <a:pt x="1189" y="1146"/>
                  </a:lnTo>
                  <a:lnTo>
                    <a:pt x="1683" y="855"/>
                  </a:lnTo>
                  <a:lnTo>
                    <a:pt x="518"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459;p23"/>
            <p:cNvSpPr/>
            <p:nvPr/>
          </p:nvSpPr>
          <p:spPr>
            <a:xfrm>
              <a:off x="3864575" y="1804850"/>
              <a:ext cx="43450" cy="27925"/>
            </a:xfrm>
            <a:custGeom>
              <a:avLst/>
              <a:gdLst/>
              <a:ahLst/>
              <a:cxnLst/>
              <a:rect l="l" t="t" r="r" b="b"/>
              <a:pathLst>
                <a:path w="1738" h="1117" extrusionOk="0">
                  <a:moveTo>
                    <a:pt x="1" y="306"/>
                  </a:moveTo>
                  <a:lnTo>
                    <a:pt x="1242" y="1116"/>
                  </a:lnTo>
                  <a:lnTo>
                    <a:pt x="1737" y="825"/>
                  </a:lnTo>
                  <a:lnTo>
                    <a:pt x="519"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460;p23"/>
            <p:cNvSpPr/>
            <p:nvPr/>
          </p:nvSpPr>
          <p:spPr>
            <a:xfrm>
              <a:off x="3836275" y="1821675"/>
              <a:ext cx="44575" cy="27325"/>
            </a:xfrm>
            <a:custGeom>
              <a:avLst/>
              <a:gdLst/>
              <a:ahLst/>
              <a:cxnLst/>
              <a:rect l="l" t="t" r="r" b="b"/>
              <a:pathLst>
                <a:path w="1783" h="1093" extrusionOk="0">
                  <a:moveTo>
                    <a:pt x="1" y="312"/>
                  </a:moveTo>
                  <a:lnTo>
                    <a:pt x="1296" y="1092"/>
                  </a:lnTo>
                  <a:lnTo>
                    <a:pt x="1782" y="794"/>
                  </a:lnTo>
                  <a:lnTo>
                    <a:pt x="511"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461;p23"/>
            <p:cNvSpPr/>
            <p:nvPr/>
          </p:nvSpPr>
          <p:spPr>
            <a:xfrm>
              <a:off x="3808150" y="1838800"/>
              <a:ext cx="45925" cy="26550"/>
            </a:xfrm>
            <a:custGeom>
              <a:avLst/>
              <a:gdLst/>
              <a:ahLst/>
              <a:cxnLst/>
              <a:rect l="l" t="t" r="r" b="b"/>
              <a:pathLst>
                <a:path w="1837" h="1062" extrusionOk="0">
                  <a:moveTo>
                    <a:pt x="1" y="312"/>
                  </a:moveTo>
                  <a:lnTo>
                    <a:pt x="1349" y="1061"/>
                  </a:lnTo>
                  <a:lnTo>
                    <a:pt x="1836" y="764"/>
                  </a:lnTo>
                  <a:lnTo>
                    <a:pt x="513"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462;p23"/>
            <p:cNvSpPr/>
            <p:nvPr/>
          </p:nvSpPr>
          <p:spPr>
            <a:xfrm>
              <a:off x="3780025" y="1855950"/>
              <a:ext cx="47225" cy="25775"/>
            </a:xfrm>
            <a:custGeom>
              <a:avLst/>
              <a:gdLst/>
              <a:ahLst/>
              <a:cxnLst/>
              <a:rect l="l" t="t" r="r" b="b"/>
              <a:pathLst>
                <a:path w="1889" h="1031" extrusionOk="0">
                  <a:moveTo>
                    <a:pt x="0" y="313"/>
                  </a:moveTo>
                  <a:lnTo>
                    <a:pt x="1400" y="1030"/>
                  </a:lnTo>
                  <a:lnTo>
                    <a:pt x="1888" y="733"/>
                  </a:lnTo>
                  <a:lnTo>
                    <a:pt x="512"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463;p23"/>
            <p:cNvSpPr/>
            <p:nvPr/>
          </p:nvSpPr>
          <p:spPr>
            <a:xfrm>
              <a:off x="3752200" y="1873200"/>
              <a:ext cx="48325" cy="25125"/>
            </a:xfrm>
            <a:custGeom>
              <a:avLst/>
              <a:gdLst/>
              <a:ahLst/>
              <a:cxnLst/>
              <a:rect l="l" t="t" r="r" b="b"/>
              <a:pathLst>
                <a:path w="1933" h="1005" extrusionOk="0">
                  <a:moveTo>
                    <a:pt x="0" y="318"/>
                  </a:moveTo>
                  <a:lnTo>
                    <a:pt x="1453" y="1005"/>
                  </a:lnTo>
                  <a:lnTo>
                    <a:pt x="1932" y="701"/>
                  </a:lnTo>
                  <a:lnTo>
                    <a:pt x="503"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464;p23"/>
            <p:cNvSpPr/>
            <p:nvPr/>
          </p:nvSpPr>
          <p:spPr>
            <a:xfrm>
              <a:off x="3724500" y="1890700"/>
              <a:ext cx="49650" cy="24325"/>
            </a:xfrm>
            <a:custGeom>
              <a:avLst/>
              <a:gdLst/>
              <a:ahLst/>
              <a:cxnLst/>
              <a:rect l="l" t="t" r="r" b="b"/>
              <a:pathLst>
                <a:path w="1986" h="973" extrusionOk="0">
                  <a:moveTo>
                    <a:pt x="0" y="318"/>
                  </a:moveTo>
                  <a:lnTo>
                    <a:pt x="1505" y="972"/>
                  </a:lnTo>
                  <a:lnTo>
                    <a:pt x="1985" y="669"/>
                  </a:lnTo>
                  <a:lnTo>
                    <a:pt x="504"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 name="Google Shape;465;p23"/>
            <p:cNvSpPr/>
            <p:nvPr/>
          </p:nvSpPr>
          <p:spPr>
            <a:xfrm>
              <a:off x="3696725" y="1908175"/>
              <a:ext cx="50975" cy="23550"/>
            </a:xfrm>
            <a:custGeom>
              <a:avLst/>
              <a:gdLst/>
              <a:ahLst/>
              <a:cxnLst/>
              <a:rect l="l" t="t" r="r" b="b"/>
              <a:pathLst>
                <a:path w="2039" h="942" extrusionOk="0">
                  <a:moveTo>
                    <a:pt x="0" y="320"/>
                  </a:moveTo>
                  <a:lnTo>
                    <a:pt x="1558" y="942"/>
                  </a:lnTo>
                  <a:lnTo>
                    <a:pt x="2039" y="638"/>
                  </a:lnTo>
                  <a:lnTo>
                    <a:pt x="505"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 name="Google Shape;466;p23"/>
            <p:cNvSpPr/>
            <p:nvPr/>
          </p:nvSpPr>
          <p:spPr>
            <a:xfrm>
              <a:off x="3669450" y="1925850"/>
              <a:ext cx="52075" cy="22875"/>
            </a:xfrm>
            <a:custGeom>
              <a:avLst/>
              <a:gdLst/>
              <a:ahLst/>
              <a:cxnLst/>
              <a:rect l="l" t="t" r="r" b="b"/>
              <a:pathLst>
                <a:path w="2083" h="915" extrusionOk="0">
                  <a:moveTo>
                    <a:pt x="0" y="323"/>
                  </a:moveTo>
                  <a:lnTo>
                    <a:pt x="1610" y="914"/>
                  </a:lnTo>
                  <a:lnTo>
                    <a:pt x="2082" y="604"/>
                  </a:lnTo>
                  <a:lnTo>
                    <a:pt x="495"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 name="Google Shape;467;p23"/>
            <p:cNvSpPr/>
            <p:nvPr/>
          </p:nvSpPr>
          <p:spPr>
            <a:xfrm>
              <a:off x="3642175" y="1943625"/>
              <a:ext cx="53375" cy="22100"/>
            </a:xfrm>
            <a:custGeom>
              <a:avLst/>
              <a:gdLst/>
              <a:ahLst/>
              <a:cxnLst/>
              <a:rect l="l" t="t" r="r" b="b"/>
              <a:pathLst>
                <a:path w="2135" h="884" extrusionOk="0">
                  <a:moveTo>
                    <a:pt x="0" y="325"/>
                  </a:moveTo>
                  <a:lnTo>
                    <a:pt x="1663" y="883"/>
                  </a:lnTo>
                  <a:lnTo>
                    <a:pt x="2135" y="574"/>
                  </a:lnTo>
                  <a:lnTo>
                    <a:pt x="496"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 name="Google Shape;468;p23"/>
            <p:cNvSpPr/>
            <p:nvPr/>
          </p:nvSpPr>
          <p:spPr>
            <a:xfrm>
              <a:off x="3614875" y="1961475"/>
              <a:ext cx="54675" cy="21300"/>
            </a:xfrm>
            <a:custGeom>
              <a:avLst/>
              <a:gdLst/>
              <a:ahLst/>
              <a:cxnLst/>
              <a:rect l="l" t="t" r="r" b="b"/>
              <a:pathLst>
                <a:path w="2187" h="852" extrusionOk="0">
                  <a:moveTo>
                    <a:pt x="0" y="326"/>
                  </a:moveTo>
                  <a:lnTo>
                    <a:pt x="1716" y="852"/>
                  </a:lnTo>
                  <a:cubicBezTo>
                    <a:pt x="1868" y="746"/>
                    <a:pt x="2031" y="644"/>
                    <a:pt x="2186" y="541"/>
                  </a:cubicBezTo>
                  <a:lnTo>
                    <a:pt x="495" y="1"/>
                  </a:lnTo>
                  <a:cubicBezTo>
                    <a:pt x="331" y="109"/>
                    <a:pt x="161" y="217"/>
                    <a:pt x="0" y="326"/>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 name="Google Shape;469;p23"/>
            <p:cNvSpPr/>
            <p:nvPr/>
          </p:nvSpPr>
          <p:spPr>
            <a:xfrm>
              <a:off x="3588150" y="1979500"/>
              <a:ext cx="55750" cy="20550"/>
            </a:xfrm>
            <a:custGeom>
              <a:avLst/>
              <a:gdLst/>
              <a:ahLst/>
              <a:cxnLst/>
              <a:rect l="l" t="t" r="r" b="b"/>
              <a:pathLst>
                <a:path w="2230" h="822" extrusionOk="0">
                  <a:moveTo>
                    <a:pt x="0" y="330"/>
                  </a:moveTo>
                  <a:lnTo>
                    <a:pt x="1767" y="822"/>
                  </a:lnTo>
                  <a:lnTo>
                    <a:pt x="2230" y="508"/>
                  </a:lnTo>
                  <a:lnTo>
                    <a:pt x="487"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470;p23"/>
            <p:cNvSpPr/>
            <p:nvPr/>
          </p:nvSpPr>
          <p:spPr>
            <a:xfrm>
              <a:off x="3561325" y="1997625"/>
              <a:ext cx="57125" cy="19750"/>
            </a:xfrm>
            <a:custGeom>
              <a:avLst/>
              <a:gdLst/>
              <a:ahLst/>
              <a:cxnLst/>
              <a:rect l="l" t="t" r="r" b="b"/>
              <a:pathLst>
                <a:path w="2285" h="790" extrusionOk="0">
                  <a:moveTo>
                    <a:pt x="0" y="330"/>
                  </a:moveTo>
                  <a:lnTo>
                    <a:pt x="1820" y="789"/>
                  </a:lnTo>
                  <a:lnTo>
                    <a:pt x="2284" y="475"/>
                  </a:lnTo>
                  <a:lnTo>
                    <a:pt x="489"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471;p23"/>
            <p:cNvSpPr/>
            <p:nvPr/>
          </p:nvSpPr>
          <p:spPr>
            <a:xfrm>
              <a:off x="3534650" y="2015800"/>
              <a:ext cx="58225" cy="18950"/>
            </a:xfrm>
            <a:custGeom>
              <a:avLst/>
              <a:gdLst/>
              <a:ahLst/>
              <a:cxnLst/>
              <a:rect l="l" t="t" r="r" b="b"/>
              <a:pathLst>
                <a:path w="2329" h="758" extrusionOk="0">
                  <a:moveTo>
                    <a:pt x="1" y="333"/>
                  </a:moveTo>
                  <a:lnTo>
                    <a:pt x="1872" y="758"/>
                  </a:lnTo>
                  <a:cubicBezTo>
                    <a:pt x="2021" y="651"/>
                    <a:pt x="2172" y="545"/>
                    <a:pt x="2329" y="441"/>
                  </a:cubicBezTo>
                  <a:lnTo>
                    <a:pt x="482" y="0"/>
                  </a:lnTo>
                  <a:cubicBezTo>
                    <a:pt x="316" y="110"/>
                    <a:pt x="158" y="222"/>
                    <a:pt x="1" y="333"/>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472;p23"/>
            <p:cNvSpPr/>
            <p:nvPr/>
          </p:nvSpPr>
          <p:spPr>
            <a:xfrm>
              <a:off x="3508425" y="2034150"/>
              <a:ext cx="59450" cy="18150"/>
            </a:xfrm>
            <a:custGeom>
              <a:avLst/>
              <a:gdLst/>
              <a:ahLst/>
              <a:cxnLst/>
              <a:rect l="l" t="t" r="r" b="b"/>
              <a:pathLst>
                <a:path w="2378" h="726" extrusionOk="0">
                  <a:moveTo>
                    <a:pt x="1" y="335"/>
                  </a:moveTo>
                  <a:lnTo>
                    <a:pt x="1924" y="726"/>
                  </a:lnTo>
                  <a:lnTo>
                    <a:pt x="2377" y="407"/>
                  </a:lnTo>
                  <a:lnTo>
                    <a:pt x="478"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473;p23"/>
            <p:cNvSpPr/>
            <p:nvPr/>
          </p:nvSpPr>
          <p:spPr>
            <a:xfrm>
              <a:off x="3482125" y="2052575"/>
              <a:ext cx="60775" cy="17325"/>
            </a:xfrm>
            <a:custGeom>
              <a:avLst/>
              <a:gdLst/>
              <a:ahLst/>
              <a:cxnLst/>
              <a:rect l="l" t="t" r="r" b="b"/>
              <a:pathLst>
                <a:path w="2431" h="693" extrusionOk="0">
                  <a:moveTo>
                    <a:pt x="1" y="336"/>
                  </a:moveTo>
                  <a:lnTo>
                    <a:pt x="1975" y="692"/>
                  </a:lnTo>
                  <a:lnTo>
                    <a:pt x="2430" y="372"/>
                  </a:lnTo>
                  <a:lnTo>
                    <a:pt x="479"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 name="Google Shape;474;p23"/>
            <p:cNvSpPr/>
            <p:nvPr/>
          </p:nvSpPr>
          <p:spPr>
            <a:xfrm>
              <a:off x="3456075" y="2071050"/>
              <a:ext cx="61775" cy="16550"/>
            </a:xfrm>
            <a:custGeom>
              <a:avLst/>
              <a:gdLst/>
              <a:ahLst/>
              <a:cxnLst/>
              <a:rect l="l" t="t" r="r" b="b"/>
              <a:pathLst>
                <a:path w="2471" h="662" extrusionOk="0">
                  <a:moveTo>
                    <a:pt x="0" y="340"/>
                  </a:moveTo>
                  <a:lnTo>
                    <a:pt x="2027" y="661"/>
                  </a:lnTo>
                  <a:lnTo>
                    <a:pt x="2471" y="339"/>
                  </a:lnTo>
                  <a:lnTo>
                    <a:pt x="468"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2" name="Google Shape;475;p23"/>
            <p:cNvSpPr/>
            <p:nvPr/>
          </p:nvSpPr>
          <p:spPr>
            <a:xfrm>
              <a:off x="3430425" y="2089725"/>
              <a:ext cx="63050" cy="15675"/>
            </a:xfrm>
            <a:custGeom>
              <a:avLst/>
              <a:gdLst/>
              <a:ahLst/>
              <a:cxnLst/>
              <a:rect l="l" t="t" r="r" b="b"/>
              <a:pathLst>
                <a:path w="2522" h="627" extrusionOk="0">
                  <a:moveTo>
                    <a:pt x="0" y="339"/>
                  </a:moveTo>
                  <a:lnTo>
                    <a:pt x="2078" y="627"/>
                  </a:lnTo>
                  <a:lnTo>
                    <a:pt x="2521" y="303"/>
                  </a:lnTo>
                  <a:lnTo>
                    <a:pt x="467"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3" name="Google Shape;476;p23"/>
            <p:cNvSpPr/>
            <p:nvPr/>
          </p:nvSpPr>
          <p:spPr>
            <a:xfrm>
              <a:off x="3404675" y="2108425"/>
              <a:ext cx="64400" cy="14850"/>
            </a:xfrm>
            <a:custGeom>
              <a:avLst/>
              <a:gdLst/>
              <a:ahLst/>
              <a:cxnLst/>
              <a:rect l="l" t="t" r="r" b="b"/>
              <a:pathLst>
                <a:path w="2576" h="594" extrusionOk="0">
                  <a:moveTo>
                    <a:pt x="1" y="341"/>
                  </a:moveTo>
                  <a:lnTo>
                    <a:pt x="2130" y="594"/>
                  </a:lnTo>
                  <a:lnTo>
                    <a:pt x="2575" y="269"/>
                  </a:lnTo>
                  <a:lnTo>
                    <a:pt x="469"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477;p23"/>
            <p:cNvSpPr/>
            <p:nvPr/>
          </p:nvSpPr>
          <p:spPr>
            <a:xfrm>
              <a:off x="3379325" y="2127200"/>
              <a:ext cx="65275" cy="14050"/>
            </a:xfrm>
            <a:custGeom>
              <a:avLst/>
              <a:gdLst/>
              <a:ahLst/>
              <a:cxnLst/>
              <a:rect l="l" t="t" r="r" b="b"/>
              <a:pathLst>
                <a:path w="2611" h="562" extrusionOk="0">
                  <a:moveTo>
                    <a:pt x="0" y="344"/>
                  </a:moveTo>
                  <a:lnTo>
                    <a:pt x="2180" y="561"/>
                  </a:lnTo>
                  <a:lnTo>
                    <a:pt x="2611" y="234"/>
                  </a:lnTo>
                  <a:lnTo>
                    <a:pt x="454"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478;p23"/>
            <p:cNvSpPr/>
            <p:nvPr/>
          </p:nvSpPr>
          <p:spPr>
            <a:xfrm>
              <a:off x="3354250" y="2146125"/>
              <a:ext cx="66650" cy="13175"/>
            </a:xfrm>
            <a:custGeom>
              <a:avLst/>
              <a:gdLst/>
              <a:ahLst/>
              <a:cxnLst/>
              <a:rect l="l" t="t" r="r" b="b"/>
              <a:pathLst>
                <a:path w="2666" h="527" extrusionOk="0">
                  <a:moveTo>
                    <a:pt x="1" y="344"/>
                  </a:moveTo>
                  <a:lnTo>
                    <a:pt x="2232" y="527"/>
                  </a:lnTo>
                  <a:lnTo>
                    <a:pt x="2665" y="198"/>
                  </a:lnTo>
                  <a:lnTo>
                    <a:pt x="457"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 name="Google Shape;479;p23"/>
            <p:cNvSpPr/>
            <p:nvPr/>
          </p:nvSpPr>
          <p:spPr>
            <a:xfrm>
              <a:off x="3329125" y="2165100"/>
              <a:ext cx="67950" cy="12325"/>
            </a:xfrm>
            <a:custGeom>
              <a:avLst/>
              <a:gdLst/>
              <a:ahLst/>
              <a:cxnLst/>
              <a:rect l="l" t="t" r="r" b="b"/>
              <a:pathLst>
                <a:path w="2718" h="493" extrusionOk="0">
                  <a:moveTo>
                    <a:pt x="0" y="346"/>
                  </a:moveTo>
                  <a:lnTo>
                    <a:pt x="2282" y="492"/>
                  </a:lnTo>
                  <a:lnTo>
                    <a:pt x="2717" y="162"/>
                  </a:lnTo>
                  <a:lnTo>
                    <a:pt x="458"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480;p23"/>
            <p:cNvSpPr/>
            <p:nvPr/>
          </p:nvSpPr>
          <p:spPr>
            <a:xfrm>
              <a:off x="3304500" y="2184150"/>
              <a:ext cx="68825" cy="11450"/>
            </a:xfrm>
            <a:custGeom>
              <a:avLst/>
              <a:gdLst/>
              <a:ahLst/>
              <a:cxnLst/>
              <a:rect l="l" t="t" r="r" b="b"/>
              <a:pathLst>
                <a:path w="2753" h="458" extrusionOk="0">
                  <a:moveTo>
                    <a:pt x="1" y="348"/>
                  </a:moveTo>
                  <a:lnTo>
                    <a:pt x="2333" y="458"/>
                  </a:lnTo>
                  <a:lnTo>
                    <a:pt x="2752" y="126"/>
                  </a:lnTo>
                  <a:lnTo>
                    <a:pt x="443"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481;p23"/>
            <p:cNvSpPr/>
            <p:nvPr/>
          </p:nvSpPr>
          <p:spPr>
            <a:xfrm>
              <a:off x="3280100" y="2203300"/>
              <a:ext cx="70100" cy="10600"/>
            </a:xfrm>
            <a:custGeom>
              <a:avLst/>
              <a:gdLst/>
              <a:ahLst/>
              <a:cxnLst/>
              <a:rect l="l" t="t" r="r" b="b"/>
              <a:pathLst>
                <a:path w="2804" h="424" extrusionOk="0">
                  <a:moveTo>
                    <a:pt x="0" y="350"/>
                  </a:moveTo>
                  <a:lnTo>
                    <a:pt x="2382" y="424"/>
                  </a:lnTo>
                  <a:lnTo>
                    <a:pt x="2804" y="91"/>
                  </a:lnTo>
                  <a:lnTo>
                    <a:pt x="445"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482;p23"/>
            <p:cNvSpPr/>
            <p:nvPr/>
          </p:nvSpPr>
          <p:spPr>
            <a:xfrm>
              <a:off x="3255625" y="2222525"/>
              <a:ext cx="71375" cy="9700"/>
            </a:xfrm>
            <a:custGeom>
              <a:avLst/>
              <a:gdLst/>
              <a:ahLst/>
              <a:cxnLst/>
              <a:rect l="l" t="t" r="r" b="b"/>
              <a:pathLst>
                <a:path w="2855" h="388" extrusionOk="0">
                  <a:moveTo>
                    <a:pt x="0" y="351"/>
                  </a:moveTo>
                  <a:lnTo>
                    <a:pt x="2432" y="388"/>
                  </a:lnTo>
                  <a:lnTo>
                    <a:pt x="2855" y="54"/>
                  </a:lnTo>
                  <a:lnTo>
                    <a:pt x="446" y="0"/>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 name="Google Shape;483;p23"/>
            <p:cNvSpPr/>
            <p:nvPr/>
          </p:nvSpPr>
          <p:spPr>
            <a:xfrm>
              <a:off x="3231750" y="2241800"/>
              <a:ext cx="72250" cy="8850"/>
            </a:xfrm>
            <a:custGeom>
              <a:avLst/>
              <a:gdLst/>
              <a:ahLst/>
              <a:cxnLst/>
              <a:rect l="l" t="t" r="r" b="b"/>
              <a:pathLst>
                <a:path w="2890" h="354" extrusionOk="0">
                  <a:moveTo>
                    <a:pt x="1" y="353"/>
                  </a:moveTo>
                  <a:lnTo>
                    <a:pt x="2483" y="354"/>
                  </a:lnTo>
                  <a:lnTo>
                    <a:pt x="2890" y="19"/>
                  </a:lnTo>
                  <a:lnTo>
                    <a:pt x="431" y="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1" name="Google Shape;484;p23"/>
            <p:cNvSpPr/>
            <p:nvPr/>
          </p:nvSpPr>
          <p:spPr>
            <a:xfrm>
              <a:off x="3208050" y="2260725"/>
              <a:ext cx="73550" cy="9300"/>
            </a:xfrm>
            <a:custGeom>
              <a:avLst/>
              <a:gdLst/>
              <a:ahLst/>
              <a:cxnLst/>
              <a:rect l="l" t="t" r="r" b="b"/>
              <a:pathLst>
                <a:path w="2942" h="372" extrusionOk="0">
                  <a:moveTo>
                    <a:pt x="0" y="372"/>
                  </a:moveTo>
                  <a:lnTo>
                    <a:pt x="2532" y="336"/>
                  </a:lnTo>
                  <a:lnTo>
                    <a:pt x="2941" y="0"/>
                  </a:lnTo>
                  <a:lnTo>
                    <a:pt x="432" y="1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485;p23"/>
            <p:cNvSpPr/>
            <p:nvPr/>
          </p:nvSpPr>
          <p:spPr>
            <a:xfrm>
              <a:off x="3184250" y="2279225"/>
              <a:ext cx="74800" cy="10300"/>
            </a:xfrm>
            <a:custGeom>
              <a:avLst/>
              <a:gdLst/>
              <a:ahLst/>
              <a:cxnLst/>
              <a:rect l="l" t="t" r="r" b="b"/>
              <a:pathLst>
                <a:path w="2992" h="412" extrusionOk="0">
                  <a:moveTo>
                    <a:pt x="0" y="411"/>
                  </a:moveTo>
                  <a:lnTo>
                    <a:pt x="2581" y="338"/>
                  </a:lnTo>
                  <a:lnTo>
                    <a:pt x="2992" y="0"/>
                  </a:lnTo>
                  <a:lnTo>
                    <a:pt x="434" y="57"/>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486;p23"/>
            <p:cNvSpPr/>
            <p:nvPr/>
          </p:nvSpPr>
          <p:spPr>
            <a:xfrm>
              <a:off x="3161200" y="2297800"/>
              <a:ext cx="75625" cy="11250"/>
            </a:xfrm>
            <a:custGeom>
              <a:avLst/>
              <a:gdLst/>
              <a:ahLst/>
              <a:cxnLst/>
              <a:rect l="l" t="t" r="r" b="b"/>
              <a:pathLst>
                <a:path w="3025" h="450" extrusionOk="0">
                  <a:moveTo>
                    <a:pt x="1" y="449"/>
                  </a:moveTo>
                  <a:lnTo>
                    <a:pt x="2630" y="339"/>
                  </a:lnTo>
                  <a:lnTo>
                    <a:pt x="3024" y="1"/>
                  </a:lnTo>
                  <a:lnTo>
                    <a:pt x="417" y="94"/>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487;p23"/>
            <p:cNvSpPr/>
            <p:nvPr/>
          </p:nvSpPr>
          <p:spPr>
            <a:xfrm>
              <a:off x="3138250" y="2316450"/>
              <a:ext cx="76875" cy="12175"/>
            </a:xfrm>
            <a:custGeom>
              <a:avLst/>
              <a:gdLst/>
              <a:ahLst/>
              <a:cxnLst/>
              <a:rect l="l" t="t" r="r" b="b"/>
              <a:pathLst>
                <a:path w="3075" h="487" extrusionOk="0">
                  <a:moveTo>
                    <a:pt x="0" y="487"/>
                  </a:moveTo>
                  <a:lnTo>
                    <a:pt x="2678" y="339"/>
                  </a:lnTo>
                  <a:lnTo>
                    <a:pt x="3074" y="0"/>
                  </a:lnTo>
                  <a:lnTo>
                    <a:pt x="419" y="131"/>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 name="Google Shape;488;p23"/>
            <p:cNvSpPr/>
            <p:nvPr/>
          </p:nvSpPr>
          <p:spPr>
            <a:xfrm>
              <a:off x="3115225" y="2335150"/>
              <a:ext cx="78100" cy="13175"/>
            </a:xfrm>
            <a:custGeom>
              <a:avLst/>
              <a:gdLst/>
              <a:ahLst/>
              <a:cxnLst/>
              <a:rect l="l" t="t" r="r" b="b"/>
              <a:pathLst>
                <a:path w="3124" h="527" extrusionOk="0">
                  <a:moveTo>
                    <a:pt x="0" y="527"/>
                  </a:moveTo>
                  <a:lnTo>
                    <a:pt x="2725" y="341"/>
                  </a:lnTo>
                  <a:lnTo>
                    <a:pt x="3123" y="0"/>
                  </a:lnTo>
                  <a:lnTo>
                    <a:pt x="419" y="169"/>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489;p23"/>
            <p:cNvSpPr/>
            <p:nvPr/>
          </p:nvSpPr>
          <p:spPr>
            <a:xfrm>
              <a:off x="3093000" y="2353900"/>
              <a:ext cx="78875" cy="14125"/>
            </a:xfrm>
            <a:custGeom>
              <a:avLst/>
              <a:gdLst/>
              <a:ahLst/>
              <a:cxnLst/>
              <a:rect l="l" t="t" r="r" b="b"/>
              <a:pathLst>
                <a:path w="3155" h="565" extrusionOk="0">
                  <a:moveTo>
                    <a:pt x="0" y="564"/>
                  </a:moveTo>
                  <a:lnTo>
                    <a:pt x="2774" y="342"/>
                  </a:lnTo>
                  <a:lnTo>
                    <a:pt x="3154" y="1"/>
                  </a:lnTo>
                  <a:lnTo>
                    <a:pt x="401" y="206"/>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490;p23"/>
            <p:cNvSpPr/>
            <p:nvPr/>
          </p:nvSpPr>
          <p:spPr>
            <a:xfrm>
              <a:off x="3070850" y="2372700"/>
              <a:ext cx="80100" cy="15100"/>
            </a:xfrm>
            <a:custGeom>
              <a:avLst/>
              <a:gdLst/>
              <a:ahLst/>
              <a:cxnLst/>
              <a:rect l="l" t="t" r="r" b="b"/>
              <a:pathLst>
                <a:path w="3204" h="604" extrusionOk="0">
                  <a:moveTo>
                    <a:pt x="1" y="603"/>
                  </a:moveTo>
                  <a:lnTo>
                    <a:pt x="2821" y="343"/>
                  </a:lnTo>
                  <a:lnTo>
                    <a:pt x="3203" y="1"/>
                  </a:lnTo>
                  <a:lnTo>
                    <a:pt x="404" y="243"/>
                  </a:ln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 name="Google Shape;491;p23"/>
            <p:cNvSpPr/>
            <p:nvPr/>
          </p:nvSpPr>
          <p:spPr>
            <a:xfrm>
              <a:off x="5750825" y="897650"/>
              <a:ext cx="512325" cy="79375"/>
            </a:xfrm>
            <a:custGeom>
              <a:avLst/>
              <a:gdLst/>
              <a:ahLst/>
              <a:cxnLst/>
              <a:rect l="l" t="t" r="r" b="b"/>
              <a:pathLst>
                <a:path w="20493" h="3175" extrusionOk="0">
                  <a:moveTo>
                    <a:pt x="685" y="2452"/>
                  </a:moveTo>
                  <a:lnTo>
                    <a:pt x="1" y="3174"/>
                  </a:lnTo>
                  <a:cubicBezTo>
                    <a:pt x="6541" y="1928"/>
                    <a:pt x="12851" y="1091"/>
                    <a:pt x="18607" y="827"/>
                  </a:cubicBezTo>
                  <a:cubicBezTo>
                    <a:pt x="19241" y="799"/>
                    <a:pt x="19869" y="777"/>
                    <a:pt x="20492" y="760"/>
                  </a:cubicBezTo>
                  <a:lnTo>
                    <a:pt x="20492" y="0"/>
                  </a:lnTo>
                  <a:cubicBezTo>
                    <a:pt x="20194" y="12"/>
                    <a:pt x="19896" y="24"/>
                    <a:pt x="19597" y="38"/>
                  </a:cubicBezTo>
                  <a:cubicBezTo>
                    <a:pt x="13739" y="320"/>
                    <a:pt x="7327" y="1178"/>
                    <a:pt x="685" y="2452"/>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 name="Google Shape;492;p23"/>
            <p:cNvSpPr/>
            <p:nvPr/>
          </p:nvSpPr>
          <p:spPr>
            <a:xfrm>
              <a:off x="5710350" y="930525"/>
              <a:ext cx="552800" cy="89225"/>
            </a:xfrm>
            <a:custGeom>
              <a:avLst/>
              <a:gdLst/>
              <a:ahLst/>
              <a:cxnLst/>
              <a:rect l="l" t="t" r="r" b="b"/>
              <a:pathLst>
                <a:path w="22112" h="3569" extrusionOk="0">
                  <a:moveTo>
                    <a:pt x="1127" y="2380"/>
                  </a:moveTo>
                  <a:lnTo>
                    <a:pt x="0" y="3569"/>
                  </a:lnTo>
                  <a:cubicBezTo>
                    <a:pt x="6303" y="2386"/>
                    <a:pt x="12369" y="1602"/>
                    <a:pt x="17890" y="1376"/>
                  </a:cubicBezTo>
                  <a:cubicBezTo>
                    <a:pt x="19327" y="1318"/>
                    <a:pt x="20734" y="1293"/>
                    <a:pt x="22111" y="1300"/>
                  </a:cubicBezTo>
                  <a:lnTo>
                    <a:pt x="22111" y="1"/>
                  </a:lnTo>
                  <a:cubicBezTo>
                    <a:pt x="21255" y="17"/>
                    <a:pt x="20391" y="43"/>
                    <a:pt x="19514" y="80"/>
                  </a:cubicBezTo>
                  <a:cubicBezTo>
                    <a:pt x="13830" y="332"/>
                    <a:pt x="7595" y="1153"/>
                    <a:pt x="1127" y="2380"/>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0" name="Google Shape;493;p23"/>
            <p:cNvSpPr/>
            <p:nvPr/>
          </p:nvSpPr>
          <p:spPr>
            <a:xfrm>
              <a:off x="1356525" y="651475"/>
              <a:ext cx="4906625" cy="4411225"/>
            </a:xfrm>
            <a:custGeom>
              <a:avLst/>
              <a:gdLst/>
              <a:ahLst/>
              <a:cxnLst/>
              <a:rect l="l" t="t" r="r" b="b"/>
              <a:pathLst>
                <a:path w="196265" h="176449" extrusionOk="0">
                  <a:moveTo>
                    <a:pt x="194304" y="5862"/>
                  </a:moveTo>
                  <a:cubicBezTo>
                    <a:pt x="194207" y="6220"/>
                    <a:pt x="194105" y="6578"/>
                    <a:pt x="193994" y="6938"/>
                  </a:cubicBezTo>
                  <a:cubicBezTo>
                    <a:pt x="192220" y="7118"/>
                    <a:pt x="190411" y="7338"/>
                    <a:pt x="188552" y="7618"/>
                  </a:cubicBezTo>
                  <a:lnTo>
                    <a:pt x="189822" y="6443"/>
                  </a:lnTo>
                  <a:cubicBezTo>
                    <a:pt x="190310" y="6375"/>
                    <a:pt x="190798" y="6310"/>
                    <a:pt x="191294" y="6239"/>
                  </a:cubicBezTo>
                  <a:lnTo>
                    <a:pt x="192819" y="6028"/>
                  </a:lnTo>
                  <a:lnTo>
                    <a:pt x="194304" y="5862"/>
                  </a:lnTo>
                  <a:close/>
                  <a:moveTo>
                    <a:pt x="189041" y="6553"/>
                  </a:moveTo>
                  <a:lnTo>
                    <a:pt x="187792" y="7720"/>
                  </a:lnTo>
                  <a:cubicBezTo>
                    <a:pt x="187174" y="7813"/>
                    <a:pt x="186545" y="7918"/>
                    <a:pt x="185917" y="8020"/>
                  </a:cubicBezTo>
                  <a:cubicBezTo>
                    <a:pt x="186689" y="7573"/>
                    <a:pt x="187467" y="7125"/>
                    <a:pt x="188253" y="6676"/>
                  </a:cubicBezTo>
                  <a:cubicBezTo>
                    <a:pt x="188518" y="6632"/>
                    <a:pt x="188780" y="6591"/>
                    <a:pt x="189041" y="6553"/>
                  </a:cubicBezTo>
                  <a:close/>
                  <a:moveTo>
                    <a:pt x="192291" y="3517"/>
                  </a:moveTo>
                  <a:lnTo>
                    <a:pt x="189854" y="5794"/>
                  </a:lnTo>
                  <a:cubicBezTo>
                    <a:pt x="189345" y="5869"/>
                    <a:pt x="188831" y="5949"/>
                    <a:pt x="188303" y="6042"/>
                  </a:cubicBezTo>
                  <a:cubicBezTo>
                    <a:pt x="186999" y="6787"/>
                    <a:pt x="185727" y="7521"/>
                    <a:pt x="184473" y="8256"/>
                  </a:cubicBezTo>
                  <a:cubicBezTo>
                    <a:pt x="183594" y="8397"/>
                    <a:pt x="182687" y="8567"/>
                    <a:pt x="181778" y="8742"/>
                  </a:cubicBezTo>
                  <a:lnTo>
                    <a:pt x="185779" y="4667"/>
                  </a:lnTo>
                  <a:cubicBezTo>
                    <a:pt x="186882" y="4449"/>
                    <a:pt x="187982" y="4236"/>
                    <a:pt x="189045" y="4064"/>
                  </a:cubicBezTo>
                  <a:cubicBezTo>
                    <a:pt x="190121" y="3884"/>
                    <a:pt x="191219" y="3687"/>
                    <a:pt x="192291" y="3517"/>
                  </a:cubicBezTo>
                  <a:close/>
                  <a:moveTo>
                    <a:pt x="186165" y="3575"/>
                  </a:moveTo>
                  <a:lnTo>
                    <a:pt x="185400" y="4365"/>
                  </a:lnTo>
                  <a:lnTo>
                    <a:pt x="181010" y="8885"/>
                  </a:lnTo>
                  <a:cubicBezTo>
                    <a:pt x="179660" y="9125"/>
                    <a:pt x="178252" y="9430"/>
                    <a:pt x="176858" y="9727"/>
                  </a:cubicBezTo>
                  <a:cubicBezTo>
                    <a:pt x="176352" y="9830"/>
                    <a:pt x="175837" y="9942"/>
                    <a:pt x="175320" y="10058"/>
                  </a:cubicBezTo>
                  <a:cubicBezTo>
                    <a:pt x="175314" y="10022"/>
                    <a:pt x="175308" y="9985"/>
                    <a:pt x="175301" y="9949"/>
                  </a:cubicBezTo>
                  <a:cubicBezTo>
                    <a:pt x="175209" y="9530"/>
                    <a:pt x="175097" y="9117"/>
                    <a:pt x="174963" y="8710"/>
                  </a:cubicBezTo>
                  <a:lnTo>
                    <a:pt x="174174" y="8897"/>
                  </a:lnTo>
                  <a:lnTo>
                    <a:pt x="174174" y="8897"/>
                  </a:lnTo>
                  <a:lnTo>
                    <a:pt x="176956" y="5620"/>
                  </a:lnTo>
                  <a:cubicBezTo>
                    <a:pt x="178506" y="5245"/>
                    <a:pt x="180069" y="4861"/>
                    <a:pt x="181581" y="4542"/>
                  </a:cubicBezTo>
                  <a:cubicBezTo>
                    <a:pt x="183119" y="4203"/>
                    <a:pt x="184670" y="3857"/>
                    <a:pt x="186165" y="3575"/>
                  </a:cubicBezTo>
                  <a:close/>
                  <a:moveTo>
                    <a:pt x="173591" y="9595"/>
                  </a:moveTo>
                  <a:cubicBezTo>
                    <a:pt x="173673" y="9864"/>
                    <a:pt x="173749" y="10132"/>
                    <a:pt x="173817" y="10403"/>
                  </a:cubicBezTo>
                  <a:cubicBezTo>
                    <a:pt x="173433" y="10493"/>
                    <a:pt x="173048" y="10584"/>
                    <a:pt x="172664" y="10675"/>
                  </a:cubicBezTo>
                  <a:lnTo>
                    <a:pt x="172664" y="10674"/>
                  </a:lnTo>
                  <a:lnTo>
                    <a:pt x="173578" y="9598"/>
                  </a:lnTo>
                  <a:lnTo>
                    <a:pt x="173591" y="9595"/>
                  </a:lnTo>
                  <a:close/>
                  <a:moveTo>
                    <a:pt x="171983" y="9976"/>
                  </a:moveTo>
                  <a:lnTo>
                    <a:pt x="171103" y="11040"/>
                  </a:lnTo>
                  <a:cubicBezTo>
                    <a:pt x="169158" y="11525"/>
                    <a:pt x="167201" y="12039"/>
                    <a:pt x="165229" y="12582"/>
                  </a:cubicBezTo>
                  <a:cubicBezTo>
                    <a:pt x="165870" y="12132"/>
                    <a:pt x="166515" y="11680"/>
                    <a:pt x="167171" y="11226"/>
                  </a:cubicBezTo>
                  <a:cubicBezTo>
                    <a:pt x="168258" y="10924"/>
                    <a:pt x="169312" y="10667"/>
                    <a:pt x="170389" y="10385"/>
                  </a:cubicBezTo>
                  <a:lnTo>
                    <a:pt x="171983" y="9976"/>
                  </a:lnTo>
                  <a:close/>
                  <a:moveTo>
                    <a:pt x="176511" y="4492"/>
                  </a:moveTo>
                  <a:lnTo>
                    <a:pt x="172551" y="9287"/>
                  </a:lnTo>
                  <a:cubicBezTo>
                    <a:pt x="172019" y="9419"/>
                    <a:pt x="171483" y="9553"/>
                    <a:pt x="170940" y="9697"/>
                  </a:cubicBezTo>
                  <a:cubicBezTo>
                    <a:pt x="169589" y="10050"/>
                    <a:pt x="168262" y="10378"/>
                    <a:pt x="166888" y="10772"/>
                  </a:cubicBezTo>
                  <a:cubicBezTo>
                    <a:pt x="165799" y="11527"/>
                    <a:pt x="164741" y="12267"/>
                    <a:pt x="163700" y="13008"/>
                  </a:cubicBezTo>
                  <a:cubicBezTo>
                    <a:pt x="161967" y="13497"/>
                    <a:pt x="160226" y="14008"/>
                    <a:pt x="158477" y="14540"/>
                  </a:cubicBezTo>
                  <a:lnTo>
                    <a:pt x="162240" y="8552"/>
                  </a:lnTo>
                  <a:cubicBezTo>
                    <a:pt x="167047" y="7055"/>
                    <a:pt x="171805" y="5702"/>
                    <a:pt x="176511" y="4492"/>
                  </a:cubicBezTo>
                  <a:close/>
                  <a:moveTo>
                    <a:pt x="159787" y="11324"/>
                  </a:moveTo>
                  <a:lnTo>
                    <a:pt x="157648" y="14803"/>
                  </a:lnTo>
                  <a:lnTo>
                    <a:pt x="154471" y="15809"/>
                  </a:lnTo>
                  <a:lnTo>
                    <a:pt x="153033" y="16292"/>
                  </a:lnTo>
                  <a:cubicBezTo>
                    <a:pt x="152698" y="16023"/>
                    <a:pt x="152344" y="15761"/>
                    <a:pt x="151971" y="15509"/>
                  </a:cubicBezTo>
                  <a:lnTo>
                    <a:pt x="151970" y="15508"/>
                  </a:lnTo>
                  <a:lnTo>
                    <a:pt x="152946" y="13577"/>
                  </a:lnTo>
                  <a:lnTo>
                    <a:pt x="156375" y="12416"/>
                  </a:lnTo>
                  <a:lnTo>
                    <a:pt x="159787" y="11324"/>
                  </a:lnTo>
                  <a:close/>
                  <a:moveTo>
                    <a:pt x="151362" y="16713"/>
                  </a:moveTo>
                  <a:cubicBezTo>
                    <a:pt x="151405" y="16745"/>
                    <a:pt x="151445" y="16779"/>
                    <a:pt x="151487" y="16810"/>
                  </a:cubicBezTo>
                  <a:lnTo>
                    <a:pt x="151276" y="16882"/>
                  </a:lnTo>
                  <a:lnTo>
                    <a:pt x="151276" y="16882"/>
                  </a:lnTo>
                  <a:lnTo>
                    <a:pt x="151362" y="16713"/>
                  </a:lnTo>
                  <a:close/>
                  <a:moveTo>
                    <a:pt x="162913" y="13571"/>
                  </a:moveTo>
                  <a:lnTo>
                    <a:pt x="162913" y="13571"/>
                  </a:lnTo>
                  <a:cubicBezTo>
                    <a:pt x="162301" y="14011"/>
                    <a:pt x="161694" y="14454"/>
                    <a:pt x="161092" y="14897"/>
                  </a:cubicBezTo>
                  <a:lnTo>
                    <a:pt x="161091" y="14897"/>
                  </a:lnTo>
                  <a:cubicBezTo>
                    <a:pt x="159897" y="15252"/>
                    <a:pt x="158713" y="15596"/>
                    <a:pt x="157521" y="15957"/>
                  </a:cubicBezTo>
                  <a:lnTo>
                    <a:pt x="153932" y="17089"/>
                  </a:lnTo>
                  <a:cubicBezTo>
                    <a:pt x="153734" y="16895"/>
                    <a:pt x="153525" y="16707"/>
                    <a:pt x="153310" y="16523"/>
                  </a:cubicBezTo>
                  <a:lnTo>
                    <a:pt x="154258" y="16205"/>
                  </a:lnTo>
                  <a:lnTo>
                    <a:pt x="157417" y="15205"/>
                  </a:lnTo>
                  <a:lnTo>
                    <a:pt x="158196" y="14959"/>
                  </a:lnTo>
                  <a:cubicBezTo>
                    <a:pt x="159776" y="14477"/>
                    <a:pt x="161347" y="14014"/>
                    <a:pt x="162913" y="13571"/>
                  </a:cubicBezTo>
                  <a:close/>
                  <a:moveTo>
                    <a:pt x="152581" y="12861"/>
                  </a:moveTo>
                  <a:lnTo>
                    <a:pt x="152269" y="13496"/>
                  </a:lnTo>
                  <a:lnTo>
                    <a:pt x="151210" y="15650"/>
                  </a:lnTo>
                  <a:cubicBezTo>
                    <a:pt x="148677" y="16528"/>
                    <a:pt x="146137" y="17446"/>
                    <a:pt x="143589" y="18407"/>
                  </a:cubicBezTo>
                  <a:cubicBezTo>
                    <a:pt x="143027" y="18887"/>
                    <a:pt x="142475" y="19370"/>
                    <a:pt x="141931" y="19856"/>
                  </a:cubicBezTo>
                  <a:lnTo>
                    <a:pt x="143076" y="16350"/>
                  </a:lnTo>
                  <a:cubicBezTo>
                    <a:pt x="144661" y="15743"/>
                    <a:pt x="146241" y="15158"/>
                    <a:pt x="147830" y="14560"/>
                  </a:cubicBezTo>
                  <a:lnTo>
                    <a:pt x="152581" y="12861"/>
                  </a:lnTo>
                  <a:close/>
                  <a:moveTo>
                    <a:pt x="150767" y="16290"/>
                  </a:moveTo>
                  <a:cubicBezTo>
                    <a:pt x="150799" y="16312"/>
                    <a:pt x="150830" y="16336"/>
                    <a:pt x="150862" y="16359"/>
                  </a:cubicBezTo>
                  <a:lnTo>
                    <a:pt x="150473" y="17150"/>
                  </a:lnTo>
                  <a:lnTo>
                    <a:pt x="146131" y="18689"/>
                  </a:lnTo>
                  <a:cubicBezTo>
                    <a:pt x="144979" y="19121"/>
                    <a:pt x="143832" y="19544"/>
                    <a:pt x="142685" y="19975"/>
                  </a:cubicBezTo>
                  <a:cubicBezTo>
                    <a:pt x="143177" y="19542"/>
                    <a:pt x="143673" y="19108"/>
                    <a:pt x="144182" y="18670"/>
                  </a:cubicBezTo>
                  <a:cubicBezTo>
                    <a:pt x="146387" y="17832"/>
                    <a:pt x="148569" y="17069"/>
                    <a:pt x="150767" y="16290"/>
                  </a:cubicBezTo>
                  <a:close/>
                  <a:moveTo>
                    <a:pt x="141658" y="15848"/>
                  </a:moveTo>
                  <a:lnTo>
                    <a:pt x="140162" y="20948"/>
                  </a:lnTo>
                  <a:cubicBezTo>
                    <a:pt x="138741" y="21491"/>
                    <a:pt x="137312" y="22070"/>
                    <a:pt x="135885" y="22654"/>
                  </a:cubicBezTo>
                  <a:lnTo>
                    <a:pt x="136774" y="17813"/>
                  </a:lnTo>
                  <a:cubicBezTo>
                    <a:pt x="138403" y="17142"/>
                    <a:pt x="140033" y="16477"/>
                    <a:pt x="141658" y="15848"/>
                  </a:cubicBezTo>
                  <a:close/>
                  <a:moveTo>
                    <a:pt x="140538" y="21111"/>
                  </a:moveTo>
                  <a:lnTo>
                    <a:pt x="140538" y="21111"/>
                  </a:lnTo>
                  <a:cubicBezTo>
                    <a:pt x="140066" y="21543"/>
                    <a:pt x="139599" y="21972"/>
                    <a:pt x="139145" y="22395"/>
                  </a:cubicBezTo>
                  <a:cubicBezTo>
                    <a:pt x="137992" y="22835"/>
                    <a:pt x="136833" y="23309"/>
                    <a:pt x="135676" y="23781"/>
                  </a:cubicBezTo>
                  <a:lnTo>
                    <a:pt x="135824" y="22980"/>
                  </a:lnTo>
                  <a:cubicBezTo>
                    <a:pt x="137397" y="22339"/>
                    <a:pt x="138969" y="21716"/>
                    <a:pt x="140538" y="21111"/>
                  </a:cubicBezTo>
                  <a:close/>
                  <a:moveTo>
                    <a:pt x="134533" y="23511"/>
                  </a:moveTo>
                  <a:lnTo>
                    <a:pt x="134381" y="24307"/>
                  </a:lnTo>
                  <a:cubicBezTo>
                    <a:pt x="133924" y="24494"/>
                    <a:pt x="133468" y="24681"/>
                    <a:pt x="133009" y="24879"/>
                  </a:cubicBezTo>
                  <a:cubicBezTo>
                    <a:pt x="132666" y="24780"/>
                    <a:pt x="132313" y="24685"/>
                    <a:pt x="131955" y="24594"/>
                  </a:cubicBezTo>
                  <a:cubicBezTo>
                    <a:pt x="132814" y="24228"/>
                    <a:pt x="133673" y="23867"/>
                    <a:pt x="134533" y="23511"/>
                  </a:cubicBezTo>
                  <a:close/>
                  <a:moveTo>
                    <a:pt x="135523" y="18327"/>
                  </a:moveTo>
                  <a:lnTo>
                    <a:pt x="134597" y="23179"/>
                  </a:lnTo>
                  <a:cubicBezTo>
                    <a:pt x="134311" y="23295"/>
                    <a:pt x="134027" y="23412"/>
                    <a:pt x="133743" y="23529"/>
                  </a:cubicBezTo>
                  <a:lnTo>
                    <a:pt x="131504" y="24480"/>
                  </a:lnTo>
                  <a:cubicBezTo>
                    <a:pt x="130899" y="24335"/>
                    <a:pt x="130274" y="24201"/>
                    <a:pt x="129625" y="24085"/>
                  </a:cubicBezTo>
                  <a:cubicBezTo>
                    <a:pt x="128861" y="24424"/>
                    <a:pt x="128096" y="24762"/>
                    <a:pt x="127333" y="25100"/>
                  </a:cubicBezTo>
                  <a:lnTo>
                    <a:pt x="127317" y="21866"/>
                  </a:lnTo>
                  <a:cubicBezTo>
                    <a:pt x="128507" y="21343"/>
                    <a:pt x="129699" y="20797"/>
                    <a:pt x="130890" y="20292"/>
                  </a:cubicBezTo>
                  <a:lnTo>
                    <a:pt x="134474" y="18761"/>
                  </a:lnTo>
                  <a:cubicBezTo>
                    <a:pt x="134823" y="18616"/>
                    <a:pt x="135173" y="18471"/>
                    <a:pt x="135523" y="18327"/>
                  </a:cubicBezTo>
                  <a:close/>
                  <a:moveTo>
                    <a:pt x="128813" y="24917"/>
                  </a:moveTo>
                  <a:cubicBezTo>
                    <a:pt x="129204" y="24982"/>
                    <a:pt x="129584" y="25059"/>
                    <a:pt x="129959" y="25140"/>
                  </a:cubicBezTo>
                  <a:cubicBezTo>
                    <a:pt x="129085" y="25518"/>
                    <a:pt x="128211" y="25914"/>
                    <a:pt x="127338" y="26295"/>
                  </a:cubicBezTo>
                  <a:lnTo>
                    <a:pt x="127335" y="25571"/>
                  </a:lnTo>
                  <a:cubicBezTo>
                    <a:pt x="127828" y="25353"/>
                    <a:pt x="128320" y="25135"/>
                    <a:pt x="128813" y="24917"/>
                  </a:cubicBezTo>
                  <a:close/>
                  <a:moveTo>
                    <a:pt x="182904" y="21334"/>
                  </a:moveTo>
                  <a:cubicBezTo>
                    <a:pt x="183018" y="21334"/>
                    <a:pt x="183131" y="21335"/>
                    <a:pt x="183242" y="21337"/>
                  </a:cubicBezTo>
                  <a:lnTo>
                    <a:pt x="184973" y="21416"/>
                  </a:lnTo>
                  <a:lnTo>
                    <a:pt x="186705" y="21512"/>
                  </a:lnTo>
                  <a:cubicBezTo>
                    <a:pt x="187281" y="21548"/>
                    <a:pt x="187874" y="21573"/>
                    <a:pt x="188381" y="21660"/>
                  </a:cubicBezTo>
                  <a:lnTo>
                    <a:pt x="183085" y="25341"/>
                  </a:lnTo>
                  <a:cubicBezTo>
                    <a:pt x="181136" y="25090"/>
                    <a:pt x="179030" y="24963"/>
                    <a:pt x="176780" y="24963"/>
                  </a:cubicBezTo>
                  <a:cubicBezTo>
                    <a:pt x="172722" y="24963"/>
                    <a:pt x="168192" y="25377"/>
                    <a:pt x="163259" y="26230"/>
                  </a:cubicBezTo>
                  <a:cubicBezTo>
                    <a:pt x="160450" y="26716"/>
                    <a:pt x="157556" y="27339"/>
                    <a:pt x="154603" y="28082"/>
                  </a:cubicBezTo>
                  <a:lnTo>
                    <a:pt x="156974" y="24950"/>
                  </a:lnTo>
                  <a:lnTo>
                    <a:pt x="159167" y="24403"/>
                  </a:lnTo>
                  <a:lnTo>
                    <a:pt x="160265" y="24133"/>
                  </a:lnTo>
                  <a:lnTo>
                    <a:pt x="161326" y="23909"/>
                  </a:lnTo>
                  <a:cubicBezTo>
                    <a:pt x="162741" y="23614"/>
                    <a:pt x="164157" y="23326"/>
                    <a:pt x="165573" y="23045"/>
                  </a:cubicBezTo>
                  <a:cubicBezTo>
                    <a:pt x="166295" y="22892"/>
                    <a:pt x="166973" y="22785"/>
                    <a:pt x="167651" y="22682"/>
                  </a:cubicBezTo>
                  <a:lnTo>
                    <a:pt x="169700" y="22367"/>
                  </a:lnTo>
                  <a:cubicBezTo>
                    <a:pt x="171069" y="22163"/>
                    <a:pt x="172461" y="21940"/>
                    <a:pt x="173739" y="21840"/>
                  </a:cubicBezTo>
                  <a:cubicBezTo>
                    <a:pt x="175051" y="21711"/>
                    <a:pt x="176362" y="21592"/>
                    <a:pt x="177670" y="21482"/>
                  </a:cubicBezTo>
                  <a:cubicBezTo>
                    <a:pt x="178935" y="21414"/>
                    <a:pt x="180158" y="21392"/>
                    <a:pt x="181398" y="21361"/>
                  </a:cubicBezTo>
                  <a:cubicBezTo>
                    <a:pt x="181896" y="21354"/>
                    <a:pt x="182412" y="21334"/>
                    <a:pt x="182904" y="21334"/>
                  </a:cubicBezTo>
                  <a:close/>
                  <a:moveTo>
                    <a:pt x="126493" y="25946"/>
                  </a:moveTo>
                  <a:lnTo>
                    <a:pt x="126512" y="26660"/>
                  </a:lnTo>
                  <a:cubicBezTo>
                    <a:pt x="125451" y="27124"/>
                    <a:pt x="124393" y="27629"/>
                    <a:pt x="123333" y="28110"/>
                  </a:cubicBezTo>
                  <a:lnTo>
                    <a:pt x="121746" y="28841"/>
                  </a:lnTo>
                  <a:lnTo>
                    <a:pt x="121222" y="29090"/>
                  </a:lnTo>
                  <a:cubicBezTo>
                    <a:pt x="121568" y="28683"/>
                    <a:pt x="121921" y="28275"/>
                    <a:pt x="122285" y="27867"/>
                  </a:cubicBezTo>
                  <a:lnTo>
                    <a:pt x="125544" y="26368"/>
                  </a:lnTo>
                  <a:cubicBezTo>
                    <a:pt x="125861" y="26227"/>
                    <a:pt x="126176" y="26087"/>
                    <a:pt x="126493" y="25947"/>
                  </a:cubicBezTo>
                  <a:lnTo>
                    <a:pt x="126493" y="25946"/>
                  </a:lnTo>
                  <a:close/>
                  <a:moveTo>
                    <a:pt x="126443" y="24093"/>
                  </a:moveTo>
                  <a:lnTo>
                    <a:pt x="126481" y="25480"/>
                  </a:lnTo>
                  <a:cubicBezTo>
                    <a:pt x="126161" y="25623"/>
                    <a:pt x="125840" y="25765"/>
                    <a:pt x="125520" y="25908"/>
                  </a:cubicBezTo>
                  <a:cubicBezTo>
                    <a:pt x="124157" y="26535"/>
                    <a:pt x="122792" y="27158"/>
                    <a:pt x="121431" y="27792"/>
                  </a:cubicBezTo>
                  <a:cubicBezTo>
                    <a:pt x="120976" y="28308"/>
                    <a:pt x="120537" y="28820"/>
                    <a:pt x="120108" y="29326"/>
                  </a:cubicBezTo>
                  <a:lnTo>
                    <a:pt x="119663" y="27233"/>
                  </a:lnTo>
                  <a:lnTo>
                    <a:pt x="121352" y="26426"/>
                  </a:lnTo>
                  <a:lnTo>
                    <a:pt x="123047" y="25645"/>
                  </a:lnTo>
                  <a:cubicBezTo>
                    <a:pt x="124179" y="25130"/>
                    <a:pt x="125310" y="24591"/>
                    <a:pt x="126443" y="24093"/>
                  </a:cubicBezTo>
                  <a:close/>
                  <a:moveTo>
                    <a:pt x="175972" y="25525"/>
                  </a:moveTo>
                  <a:cubicBezTo>
                    <a:pt x="178222" y="25525"/>
                    <a:pt x="180324" y="25655"/>
                    <a:pt x="182267" y="25910"/>
                  </a:cubicBezTo>
                  <a:lnTo>
                    <a:pt x="175546" y="30582"/>
                  </a:lnTo>
                  <a:cubicBezTo>
                    <a:pt x="173722" y="30321"/>
                    <a:pt x="171736" y="30191"/>
                    <a:pt x="169612" y="30191"/>
                  </a:cubicBezTo>
                  <a:cubicBezTo>
                    <a:pt x="164197" y="30191"/>
                    <a:pt x="157887" y="31037"/>
                    <a:pt x="151096" y="32715"/>
                  </a:cubicBezTo>
                  <a:lnTo>
                    <a:pt x="154228" y="28577"/>
                  </a:lnTo>
                  <a:cubicBezTo>
                    <a:pt x="157139" y="27845"/>
                    <a:pt x="159990" y="27234"/>
                    <a:pt x="162758" y="26758"/>
                  </a:cubicBezTo>
                  <a:cubicBezTo>
                    <a:pt x="167579" y="25928"/>
                    <a:pt x="172005" y="25525"/>
                    <a:pt x="175972" y="25525"/>
                  </a:cubicBezTo>
                  <a:close/>
                  <a:moveTo>
                    <a:pt x="118639" y="26922"/>
                  </a:moveTo>
                  <a:lnTo>
                    <a:pt x="118746" y="27374"/>
                  </a:lnTo>
                  <a:lnTo>
                    <a:pt x="119366" y="29975"/>
                  </a:lnTo>
                  <a:cubicBezTo>
                    <a:pt x="116506" y="31336"/>
                    <a:pt x="113662" y="32760"/>
                    <a:pt x="110838" y="34213"/>
                  </a:cubicBezTo>
                  <a:lnTo>
                    <a:pt x="109354" y="31540"/>
                  </a:lnTo>
                  <a:cubicBezTo>
                    <a:pt x="112429" y="29957"/>
                    <a:pt x="115526" y="28407"/>
                    <a:pt x="118639" y="26922"/>
                  </a:cubicBezTo>
                  <a:close/>
                  <a:moveTo>
                    <a:pt x="143697" y="28909"/>
                  </a:moveTo>
                  <a:lnTo>
                    <a:pt x="142390" y="31733"/>
                  </a:lnTo>
                  <a:cubicBezTo>
                    <a:pt x="139483" y="32731"/>
                    <a:pt x="136558" y="33822"/>
                    <a:pt x="133612" y="35006"/>
                  </a:cubicBezTo>
                  <a:lnTo>
                    <a:pt x="134077" y="32479"/>
                  </a:lnTo>
                  <a:cubicBezTo>
                    <a:pt x="134739" y="32208"/>
                    <a:pt x="135401" y="31941"/>
                    <a:pt x="136059" y="31690"/>
                  </a:cubicBezTo>
                  <a:lnTo>
                    <a:pt x="139884" y="30257"/>
                  </a:lnTo>
                  <a:cubicBezTo>
                    <a:pt x="140522" y="30021"/>
                    <a:pt x="141164" y="29780"/>
                    <a:pt x="141800" y="29551"/>
                  </a:cubicBezTo>
                  <a:lnTo>
                    <a:pt x="143697" y="28909"/>
                  </a:lnTo>
                  <a:close/>
                  <a:moveTo>
                    <a:pt x="119270" y="30330"/>
                  </a:moveTo>
                  <a:cubicBezTo>
                    <a:pt x="118943" y="30727"/>
                    <a:pt x="118621" y="31123"/>
                    <a:pt x="118309" y="31514"/>
                  </a:cubicBezTo>
                  <a:cubicBezTo>
                    <a:pt x="117123" y="32092"/>
                    <a:pt x="115941" y="32682"/>
                    <a:pt x="114757" y="33265"/>
                  </a:cubicBezTo>
                  <a:cubicBezTo>
                    <a:pt x="113574" y="33851"/>
                    <a:pt x="112402" y="34464"/>
                    <a:pt x="111225" y="35062"/>
                  </a:cubicBezTo>
                  <a:cubicBezTo>
                    <a:pt x="111098" y="35061"/>
                    <a:pt x="110970" y="35060"/>
                    <a:pt x="110842" y="35060"/>
                  </a:cubicBezTo>
                  <a:cubicBezTo>
                    <a:pt x="110491" y="35060"/>
                    <a:pt x="110137" y="35065"/>
                    <a:pt x="109781" y="35073"/>
                  </a:cubicBezTo>
                  <a:cubicBezTo>
                    <a:pt x="109917" y="35001"/>
                    <a:pt x="110053" y="34928"/>
                    <a:pt x="110190" y="34857"/>
                  </a:cubicBezTo>
                  <a:cubicBezTo>
                    <a:pt x="113198" y="33309"/>
                    <a:pt x="116223" y="31781"/>
                    <a:pt x="119270" y="30330"/>
                  </a:cubicBezTo>
                  <a:close/>
                  <a:moveTo>
                    <a:pt x="187744" y="27091"/>
                  </a:moveTo>
                  <a:cubicBezTo>
                    <a:pt x="188724" y="27403"/>
                    <a:pt x="189640" y="27759"/>
                    <a:pt x="190488" y="28160"/>
                  </a:cubicBezTo>
                  <a:lnTo>
                    <a:pt x="180514" y="33834"/>
                  </a:lnTo>
                  <a:cubicBezTo>
                    <a:pt x="180740" y="33959"/>
                    <a:pt x="180958" y="34087"/>
                    <a:pt x="181173" y="34220"/>
                  </a:cubicBezTo>
                  <a:lnTo>
                    <a:pt x="178044" y="35932"/>
                  </a:lnTo>
                  <a:cubicBezTo>
                    <a:pt x="177275" y="35431"/>
                    <a:pt x="176409" y="34994"/>
                    <a:pt x="175409" y="34645"/>
                  </a:cubicBezTo>
                  <a:lnTo>
                    <a:pt x="187744" y="27091"/>
                  </a:lnTo>
                  <a:close/>
                  <a:moveTo>
                    <a:pt x="132713" y="33039"/>
                  </a:moveTo>
                  <a:lnTo>
                    <a:pt x="132229" y="35568"/>
                  </a:lnTo>
                  <a:cubicBezTo>
                    <a:pt x="130930" y="36100"/>
                    <a:pt x="129632" y="36650"/>
                    <a:pt x="128333" y="37217"/>
                  </a:cubicBezTo>
                  <a:lnTo>
                    <a:pt x="128408" y="34844"/>
                  </a:lnTo>
                  <a:cubicBezTo>
                    <a:pt x="129045" y="34556"/>
                    <a:pt x="129681" y="34286"/>
                    <a:pt x="130317" y="34026"/>
                  </a:cubicBezTo>
                  <a:lnTo>
                    <a:pt x="132229" y="33236"/>
                  </a:lnTo>
                  <a:cubicBezTo>
                    <a:pt x="132391" y="33171"/>
                    <a:pt x="132552" y="33104"/>
                    <a:pt x="132713" y="33039"/>
                  </a:cubicBezTo>
                  <a:close/>
                  <a:moveTo>
                    <a:pt x="142189" y="32170"/>
                  </a:moveTo>
                  <a:lnTo>
                    <a:pt x="140515" y="35789"/>
                  </a:lnTo>
                  <a:lnTo>
                    <a:pt x="138998" y="36290"/>
                  </a:lnTo>
                  <a:cubicBezTo>
                    <a:pt x="138487" y="36471"/>
                    <a:pt x="137971" y="36665"/>
                    <a:pt x="137459" y="36852"/>
                  </a:cubicBezTo>
                  <a:lnTo>
                    <a:pt x="134388" y="37986"/>
                  </a:lnTo>
                  <a:cubicBezTo>
                    <a:pt x="133914" y="38163"/>
                    <a:pt x="133438" y="38354"/>
                    <a:pt x="132960" y="38549"/>
                  </a:cubicBezTo>
                  <a:lnTo>
                    <a:pt x="133465" y="35808"/>
                  </a:lnTo>
                  <a:lnTo>
                    <a:pt x="133541" y="35391"/>
                  </a:lnTo>
                  <a:cubicBezTo>
                    <a:pt x="136435" y="34229"/>
                    <a:pt x="139319" y="33156"/>
                    <a:pt x="142189" y="32170"/>
                  </a:cubicBezTo>
                  <a:close/>
                  <a:moveTo>
                    <a:pt x="132156" y="35953"/>
                  </a:moveTo>
                  <a:lnTo>
                    <a:pt x="131550" y="39124"/>
                  </a:lnTo>
                  <a:cubicBezTo>
                    <a:pt x="131468" y="39156"/>
                    <a:pt x="131387" y="39190"/>
                    <a:pt x="131306" y="39223"/>
                  </a:cubicBezTo>
                  <a:lnTo>
                    <a:pt x="129766" y="39851"/>
                  </a:lnTo>
                  <a:cubicBezTo>
                    <a:pt x="129253" y="40057"/>
                    <a:pt x="128741" y="40272"/>
                    <a:pt x="128227" y="40505"/>
                  </a:cubicBezTo>
                  <a:lnTo>
                    <a:pt x="128320" y="37575"/>
                  </a:lnTo>
                  <a:cubicBezTo>
                    <a:pt x="129599" y="37019"/>
                    <a:pt x="130876" y="36478"/>
                    <a:pt x="132156" y="35953"/>
                  </a:cubicBezTo>
                  <a:close/>
                  <a:moveTo>
                    <a:pt x="107641" y="35885"/>
                  </a:moveTo>
                  <a:cubicBezTo>
                    <a:pt x="104799" y="37390"/>
                    <a:pt x="101989" y="38949"/>
                    <a:pt x="99207" y="40536"/>
                  </a:cubicBezTo>
                  <a:cubicBezTo>
                    <a:pt x="99401" y="40171"/>
                    <a:pt x="99603" y="39802"/>
                    <a:pt x="99814" y="39430"/>
                  </a:cubicBezTo>
                  <a:cubicBezTo>
                    <a:pt x="100855" y="38838"/>
                    <a:pt x="101898" y="38251"/>
                    <a:pt x="102955" y="37678"/>
                  </a:cubicBezTo>
                  <a:cubicBezTo>
                    <a:pt x="104009" y="37105"/>
                    <a:pt x="105055" y="36520"/>
                    <a:pt x="106117" y="35958"/>
                  </a:cubicBezTo>
                  <a:cubicBezTo>
                    <a:pt x="106634" y="35929"/>
                    <a:pt x="107140" y="35905"/>
                    <a:pt x="107641" y="35885"/>
                  </a:cubicBezTo>
                  <a:close/>
                  <a:moveTo>
                    <a:pt x="183724" y="26129"/>
                  </a:moveTo>
                  <a:cubicBezTo>
                    <a:pt x="184223" y="26214"/>
                    <a:pt x="184709" y="26309"/>
                    <a:pt x="185184" y="26412"/>
                  </a:cubicBezTo>
                  <a:lnTo>
                    <a:pt x="173474" y="34040"/>
                  </a:lnTo>
                  <a:cubicBezTo>
                    <a:pt x="171316" y="33517"/>
                    <a:pt x="168949" y="33157"/>
                    <a:pt x="166167" y="33157"/>
                  </a:cubicBezTo>
                  <a:cubicBezTo>
                    <a:pt x="166044" y="33157"/>
                    <a:pt x="165920" y="33158"/>
                    <a:pt x="165795" y="33159"/>
                  </a:cubicBezTo>
                  <a:lnTo>
                    <a:pt x="164633" y="33151"/>
                  </a:lnTo>
                  <a:lnTo>
                    <a:pt x="164056" y="33147"/>
                  </a:lnTo>
                  <a:lnTo>
                    <a:pt x="163426" y="33189"/>
                  </a:lnTo>
                  <a:lnTo>
                    <a:pt x="160922" y="33356"/>
                  </a:lnTo>
                  <a:cubicBezTo>
                    <a:pt x="160125" y="33384"/>
                    <a:pt x="159190" y="33543"/>
                    <a:pt x="158315" y="33648"/>
                  </a:cubicBezTo>
                  <a:cubicBezTo>
                    <a:pt x="157425" y="33771"/>
                    <a:pt x="156570" y="33862"/>
                    <a:pt x="155661" y="34011"/>
                  </a:cubicBezTo>
                  <a:lnTo>
                    <a:pt x="152882" y="34530"/>
                  </a:lnTo>
                  <a:lnTo>
                    <a:pt x="151503" y="34790"/>
                  </a:lnTo>
                  <a:lnTo>
                    <a:pt x="150061" y="35133"/>
                  </a:lnTo>
                  <a:lnTo>
                    <a:pt x="147195" y="35813"/>
                  </a:lnTo>
                  <a:cubicBezTo>
                    <a:pt x="146217" y="36077"/>
                    <a:pt x="145224" y="36369"/>
                    <a:pt x="144244" y="36644"/>
                  </a:cubicBezTo>
                  <a:lnTo>
                    <a:pt x="142774" y="37061"/>
                  </a:lnTo>
                  <a:cubicBezTo>
                    <a:pt x="142285" y="37199"/>
                    <a:pt x="141772" y="37382"/>
                    <a:pt x="141273" y="37541"/>
                  </a:cubicBezTo>
                  <a:lnTo>
                    <a:pt x="138272" y="38520"/>
                  </a:lnTo>
                  <a:cubicBezTo>
                    <a:pt x="137268" y="38864"/>
                    <a:pt x="136245" y="39258"/>
                    <a:pt x="135236" y="39624"/>
                  </a:cubicBezTo>
                  <a:cubicBezTo>
                    <a:pt x="134351" y="39947"/>
                    <a:pt x="133469" y="40267"/>
                    <a:pt x="132577" y="40632"/>
                  </a:cubicBezTo>
                  <a:lnTo>
                    <a:pt x="132811" y="39355"/>
                  </a:lnTo>
                  <a:cubicBezTo>
                    <a:pt x="135873" y="38139"/>
                    <a:pt x="138923" y="37042"/>
                    <a:pt x="141902" y="36108"/>
                  </a:cubicBezTo>
                  <a:lnTo>
                    <a:pt x="144310" y="31459"/>
                  </a:lnTo>
                  <a:cubicBezTo>
                    <a:pt x="146962" y="30590"/>
                    <a:pt x="149581" y="29807"/>
                    <a:pt x="152169" y="29111"/>
                  </a:cubicBezTo>
                  <a:lnTo>
                    <a:pt x="152169" y="29111"/>
                  </a:lnTo>
                  <a:lnTo>
                    <a:pt x="148590" y="34156"/>
                  </a:lnTo>
                  <a:cubicBezTo>
                    <a:pt x="153759" y="32813"/>
                    <a:pt x="158604" y="31988"/>
                    <a:pt x="163078" y="31564"/>
                  </a:cubicBezTo>
                  <a:cubicBezTo>
                    <a:pt x="164765" y="31399"/>
                    <a:pt x="166370" y="31321"/>
                    <a:pt x="167892" y="31321"/>
                  </a:cubicBezTo>
                  <a:cubicBezTo>
                    <a:pt x="170523" y="31321"/>
                    <a:pt x="172908" y="31553"/>
                    <a:pt x="175048" y="31970"/>
                  </a:cubicBezTo>
                  <a:lnTo>
                    <a:pt x="183724" y="26129"/>
                  </a:lnTo>
                  <a:close/>
                  <a:moveTo>
                    <a:pt x="107141" y="31632"/>
                  </a:moveTo>
                  <a:lnTo>
                    <a:pt x="109264" y="35033"/>
                  </a:lnTo>
                  <a:cubicBezTo>
                    <a:pt x="109227" y="35052"/>
                    <a:pt x="109190" y="35071"/>
                    <a:pt x="109155" y="35090"/>
                  </a:cubicBezTo>
                  <a:cubicBezTo>
                    <a:pt x="108333" y="35115"/>
                    <a:pt x="107494" y="35156"/>
                    <a:pt x="106630" y="35204"/>
                  </a:cubicBezTo>
                  <a:cubicBezTo>
                    <a:pt x="105292" y="35902"/>
                    <a:pt x="103979" y="36633"/>
                    <a:pt x="102656" y="37355"/>
                  </a:cubicBezTo>
                  <a:cubicBezTo>
                    <a:pt x="101328" y="38072"/>
                    <a:pt x="100027" y="38818"/>
                    <a:pt x="98717" y="39558"/>
                  </a:cubicBezTo>
                  <a:cubicBezTo>
                    <a:pt x="98362" y="40171"/>
                    <a:pt x="98040" y="40778"/>
                    <a:pt x="97742" y="41377"/>
                  </a:cubicBezTo>
                  <a:cubicBezTo>
                    <a:pt x="97480" y="41528"/>
                    <a:pt x="97218" y="41679"/>
                    <a:pt x="96957" y="41830"/>
                  </a:cubicBezTo>
                  <a:lnTo>
                    <a:pt x="93384" y="39210"/>
                  </a:lnTo>
                  <a:cubicBezTo>
                    <a:pt x="97902" y="36602"/>
                    <a:pt x="102489" y="34054"/>
                    <a:pt x="107141" y="31632"/>
                  </a:cubicBezTo>
                  <a:close/>
                  <a:moveTo>
                    <a:pt x="173454" y="35840"/>
                  </a:moveTo>
                  <a:cubicBezTo>
                    <a:pt x="174400" y="36177"/>
                    <a:pt x="175218" y="36600"/>
                    <a:pt x="175941" y="37083"/>
                  </a:cubicBezTo>
                  <a:lnTo>
                    <a:pt x="172988" y="38699"/>
                  </a:lnTo>
                  <a:cubicBezTo>
                    <a:pt x="172768" y="38575"/>
                    <a:pt x="172537" y="38458"/>
                    <a:pt x="172332" y="38326"/>
                  </a:cubicBezTo>
                  <a:cubicBezTo>
                    <a:pt x="171911" y="38111"/>
                    <a:pt x="171607" y="37827"/>
                    <a:pt x="171079" y="37679"/>
                  </a:cubicBezTo>
                  <a:lnTo>
                    <a:pt x="169777" y="38466"/>
                  </a:lnTo>
                  <a:cubicBezTo>
                    <a:pt x="170287" y="38611"/>
                    <a:pt x="170576" y="38889"/>
                    <a:pt x="170982" y="39099"/>
                  </a:cubicBezTo>
                  <a:cubicBezTo>
                    <a:pt x="171175" y="39226"/>
                    <a:pt x="171395" y="39339"/>
                    <a:pt x="171604" y="39458"/>
                  </a:cubicBezTo>
                  <a:lnTo>
                    <a:pt x="168873" y="40953"/>
                  </a:lnTo>
                  <a:cubicBezTo>
                    <a:pt x="168685" y="40845"/>
                    <a:pt x="168488" y="40741"/>
                    <a:pt x="168317" y="40624"/>
                  </a:cubicBezTo>
                  <a:cubicBezTo>
                    <a:pt x="167940" y="40424"/>
                    <a:pt x="167682" y="40155"/>
                    <a:pt x="167203" y="40019"/>
                  </a:cubicBezTo>
                  <a:lnTo>
                    <a:pt x="165894" y="40809"/>
                  </a:lnTo>
                  <a:cubicBezTo>
                    <a:pt x="166357" y="40940"/>
                    <a:pt x="166599" y="41205"/>
                    <a:pt x="166963" y="41399"/>
                  </a:cubicBezTo>
                  <a:cubicBezTo>
                    <a:pt x="167123" y="41511"/>
                    <a:pt x="167308" y="41610"/>
                    <a:pt x="167485" y="41712"/>
                  </a:cubicBezTo>
                  <a:lnTo>
                    <a:pt x="166969" y="41994"/>
                  </a:lnTo>
                  <a:cubicBezTo>
                    <a:pt x="166408" y="41621"/>
                    <a:pt x="165774" y="41277"/>
                    <a:pt x="165079" y="40969"/>
                  </a:cubicBezTo>
                  <a:lnTo>
                    <a:pt x="173454" y="35840"/>
                  </a:lnTo>
                  <a:close/>
                  <a:moveTo>
                    <a:pt x="162623" y="34353"/>
                  </a:moveTo>
                  <a:lnTo>
                    <a:pt x="163174" y="34360"/>
                  </a:lnTo>
                  <a:lnTo>
                    <a:pt x="164284" y="34373"/>
                  </a:lnTo>
                  <a:cubicBezTo>
                    <a:pt x="164375" y="34373"/>
                    <a:pt x="164466" y="34372"/>
                    <a:pt x="164557" y="34372"/>
                  </a:cubicBezTo>
                  <a:cubicBezTo>
                    <a:pt x="167255" y="34372"/>
                    <a:pt x="169534" y="34733"/>
                    <a:pt x="171612" y="35249"/>
                  </a:cubicBezTo>
                  <a:lnTo>
                    <a:pt x="163650" y="40437"/>
                  </a:lnTo>
                  <a:cubicBezTo>
                    <a:pt x="162888" y="40216"/>
                    <a:pt x="162061" y="40056"/>
                    <a:pt x="161263" y="39913"/>
                  </a:cubicBezTo>
                  <a:cubicBezTo>
                    <a:pt x="159952" y="39667"/>
                    <a:pt x="158437" y="39618"/>
                    <a:pt x="157271" y="39603"/>
                  </a:cubicBezTo>
                  <a:cubicBezTo>
                    <a:pt x="157132" y="39596"/>
                    <a:pt x="156985" y="39593"/>
                    <a:pt x="156835" y="39593"/>
                  </a:cubicBezTo>
                  <a:cubicBezTo>
                    <a:pt x="156537" y="39593"/>
                    <a:pt x="156224" y="39604"/>
                    <a:pt x="155918" y="39615"/>
                  </a:cubicBezTo>
                  <a:cubicBezTo>
                    <a:pt x="155644" y="39624"/>
                    <a:pt x="155371" y="39633"/>
                    <a:pt x="155106" y="39635"/>
                  </a:cubicBezTo>
                  <a:lnTo>
                    <a:pt x="155027" y="39639"/>
                  </a:lnTo>
                  <a:cubicBezTo>
                    <a:pt x="154715" y="39670"/>
                    <a:pt x="154418" y="39688"/>
                    <a:pt x="154120" y="39705"/>
                  </a:cubicBezTo>
                  <a:cubicBezTo>
                    <a:pt x="153660" y="39732"/>
                    <a:pt x="153188" y="39761"/>
                    <a:pt x="152649" y="39837"/>
                  </a:cubicBezTo>
                  <a:cubicBezTo>
                    <a:pt x="146293" y="40492"/>
                    <a:pt x="139277" y="42317"/>
                    <a:pt x="131727" y="45256"/>
                  </a:cubicBezTo>
                  <a:lnTo>
                    <a:pt x="131767" y="45037"/>
                  </a:lnTo>
                  <a:cubicBezTo>
                    <a:pt x="137811" y="42653"/>
                    <a:pt x="143714" y="41002"/>
                    <a:pt x="149032" y="40082"/>
                  </a:cubicBezTo>
                  <a:cubicBezTo>
                    <a:pt x="150506" y="39771"/>
                    <a:pt x="151762" y="39700"/>
                    <a:pt x="153137" y="39511"/>
                  </a:cubicBezTo>
                  <a:cubicBezTo>
                    <a:pt x="153850" y="39397"/>
                    <a:pt x="154412" y="39422"/>
                    <a:pt x="155055" y="39374"/>
                  </a:cubicBezTo>
                  <a:cubicBezTo>
                    <a:pt x="155675" y="39349"/>
                    <a:pt x="156337" y="39290"/>
                    <a:pt x="156941" y="39282"/>
                  </a:cubicBezTo>
                  <a:lnTo>
                    <a:pt x="158673" y="39331"/>
                  </a:lnTo>
                  <a:lnTo>
                    <a:pt x="159558" y="39348"/>
                  </a:lnTo>
                  <a:lnTo>
                    <a:pt x="160340" y="39446"/>
                  </a:lnTo>
                  <a:lnTo>
                    <a:pt x="161933" y="39632"/>
                  </a:lnTo>
                  <a:cubicBezTo>
                    <a:pt x="162444" y="39714"/>
                    <a:pt x="162868" y="39856"/>
                    <a:pt x="163351" y="39959"/>
                  </a:cubicBezTo>
                  <a:lnTo>
                    <a:pt x="164560" y="39149"/>
                  </a:lnTo>
                  <a:cubicBezTo>
                    <a:pt x="164058" y="39044"/>
                    <a:pt x="163615" y="38900"/>
                    <a:pt x="163085" y="38817"/>
                  </a:cubicBezTo>
                  <a:lnTo>
                    <a:pt x="161434" y="38628"/>
                  </a:lnTo>
                  <a:lnTo>
                    <a:pt x="160620" y="38530"/>
                  </a:lnTo>
                  <a:lnTo>
                    <a:pt x="159705" y="38514"/>
                  </a:lnTo>
                  <a:lnTo>
                    <a:pt x="157908" y="38468"/>
                  </a:lnTo>
                  <a:cubicBezTo>
                    <a:pt x="157283" y="38478"/>
                    <a:pt x="156600" y="38539"/>
                    <a:pt x="155957" y="38568"/>
                  </a:cubicBezTo>
                  <a:cubicBezTo>
                    <a:pt x="155292" y="38617"/>
                    <a:pt x="154706" y="38595"/>
                    <a:pt x="153972" y="38712"/>
                  </a:cubicBezTo>
                  <a:cubicBezTo>
                    <a:pt x="152553" y="38908"/>
                    <a:pt x="151251" y="38988"/>
                    <a:pt x="149730" y="39307"/>
                  </a:cubicBezTo>
                  <a:cubicBezTo>
                    <a:pt x="144231" y="40265"/>
                    <a:pt x="138120" y="41982"/>
                    <a:pt x="131876" y="44448"/>
                  </a:cubicBezTo>
                  <a:lnTo>
                    <a:pt x="132086" y="43300"/>
                  </a:lnTo>
                  <a:cubicBezTo>
                    <a:pt x="138724" y="40672"/>
                    <a:pt x="145239" y="38828"/>
                    <a:pt x="151094" y="37795"/>
                  </a:cubicBezTo>
                  <a:cubicBezTo>
                    <a:pt x="152706" y="37456"/>
                    <a:pt x="154098" y="37358"/>
                    <a:pt x="155605" y="37149"/>
                  </a:cubicBezTo>
                  <a:cubicBezTo>
                    <a:pt x="156384" y="37026"/>
                    <a:pt x="157014" y="37041"/>
                    <a:pt x="157723" y="36986"/>
                  </a:cubicBezTo>
                  <a:cubicBezTo>
                    <a:pt x="158409" y="36953"/>
                    <a:pt x="159135" y="36888"/>
                    <a:pt x="159804" y="36874"/>
                  </a:cubicBezTo>
                  <a:lnTo>
                    <a:pt x="161727" y="36912"/>
                  </a:lnTo>
                  <a:lnTo>
                    <a:pt x="162703" y="36927"/>
                  </a:lnTo>
                  <a:lnTo>
                    <a:pt x="163577" y="37025"/>
                  </a:lnTo>
                  <a:lnTo>
                    <a:pt x="165346" y="37218"/>
                  </a:lnTo>
                  <a:cubicBezTo>
                    <a:pt x="165914" y="37302"/>
                    <a:pt x="166394" y="37448"/>
                    <a:pt x="166931" y="37558"/>
                  </a:cubicBezTo>
                  <a:lnTo>
                    <a:pt x="168132" y="36754"/>
                  </a:lnTo>
                  <a:cubicBezTo>
                    <a:pt x="167576" y="36643"/>
                    <a:pt x="167076" y="36494"/>
                    <a:pt x="166490" y="36409"/>
                  </a:cubicBezTo>
                  <a:lnTo>
                    <a:pt x="164661" y="36214"/>
                  </a:lnTo>
                  <a:lnTo>
                    <a:pt x="163756" y="36117"/>
                  </a:lnTo>
                  <a:lnTo>
                    <a:pt x="162748" y="36105"/>
                  </a:lnTo>
                  <a:lnTo>
                    <a:pt x="160760" y="36070"/>
                  </a:lnTo>
                  <a:cubicBezTo>
                    <a:pt x="160071" y="36086"/>
                    <a:pt x="159323" y="36153"/>
                    <a:pt x="158614" y="36189"/>
                  </a:cubicBezTo>
                  <a:cubicBezTo>
                    <a:pt x="157883" y="36246"/>
                    <a:pt x="157230" y="36234"/>
                    <a:pt x="156429" y="36362"/>
                  </a:cubicBezTo>
                  <a:cubicBezTo>
                    <a:pt x="154878" y="36576"/>
                    <a:pt x="153439" y="36684"/>
                    <a:pt x="151781" y="37032"/>
                  </a:cubicBezTo>
                  <a:cubicBezTo>
                    <a:pt x="145745" y="38104"/>
                    <a:pt x="139025" y="40014"/>
                    <a:pt x="132190" y="42724"/>
                  </a:cubicBezTo>
                  <a:lnTo>
                    <a:pt x="132417" y="41492"/>
                  </a:lnTo>
                  <a:cubicBezTo>
                    <a:pt x="133265" y="41147"/>
                    <a:pt x="134103" y="40843"/>
                    <a:pt x="134943" y="40537"/>
                  </a:cubicBezTo>
                  <a:cubicBezTo>
                    <a:pt x="135914" y="40187"/>
                    <a:pt x="136900" y="39807"/>
                    <a:pt x="137864" y="39478"/>
                  </a:cubicBezTo>
                  <a:lnTo>
                    <a:pt x="140750" y="38538"/>
                  </a:lnTo>
                  <a:cubicBezTo>
                    <a:pt x="141229" y="38387"/>
                    <a:pt x="141724" y="38209"/>
                    <a:pt x="142193" y="38077"/>
                  </a:cubicBezTo>
                  <a:lnTo>
                    <a:pt x="143605" y="37679"/>
                  </a:lnTo>
                  <a:cubicBezTo>
                    <a:pt x="144547" y="37416"/>
                    <a:pt x="145502" y="37136"/>
                    <a:pt x="146442" y="36883"/>
                  </a:cubicBezTo>
                  <a:lnTo>
                    <a:pt x="149194" y="36233"/>
                  </a:lnTo>
                  <a:lnTo>
                    <a:pt x="150581" y="35905"/>
                  </a:lnTo>
                  <a:lnTo>
                    <a:pt x="151906" y="35658"/>
                  </a:lnTo>
                  <a:lnTo>
                    <a:pt x="154574" y="35163"/>
                  </a:lnTo>
                  <a:cubicBezTo>
                    <a:pt x="155447" y="35021"/>
                    <a:pt x="156266" y="34939"/>
                    <a:pt x="157121" y="34821"/>
                  </a:cubicBezTo>
                  <a:cubicBezTo>
                    <a:pt x="157959" y="34722"/>
                    <a:pt x="158859" y="34569"/>
                    <a:pt x="159621" y="34547"/>
                  </a:cubicBezTo>
                  <a:lnTo>
                    <a:pt x="162019" y="34392"/>
                  </a:lnTo>
                  <a:lnTo>
                    <a:pt x="162623" y="34353"/>
                  </a:lnTo>
                  <a:close/>
                  <a:moveTo>
                    <a:pt x="94028" y="40784"/>
                  </a:moveTo>
                  <a:lnTo>
                    <a:pt x="96175" y="42287"/>
                  </a:lnTo>
                  <a:cubicBezTo>
                    <a:pt x="95167" y="42876"/>
                    <a:pt x="94157" y="43463"/>
                    <a:pt x="93172" y="44068"/>
                  </a:cubicBezTo>
                  <a:cubicBezTo>
                    <a:pt x="92182" y="44671"/>
                    <a:pt x="91176" y="45267"/>
                    <a:pt x="90193" y="45878"/>
                  </a:cubicBezTo>
                  <a:lnTo>
                    <a:pt x="87625" y="44618"/>
                  </a:lnTo>
                  <a:cubicBezTo>
                    <a:pt x="88677" y="43966"/>
                    <a:pt x="89754" y="43329"/>
                    <a:pt x="90814" y="42685"/>
                  </a:cubicBezTo>
                  <a:cubicBezTo>
                    <a:pt x="91871" y="42041"/>
                    <a:pt x="92950" y="41412"/>
                    <a:pt x="94028" y="40784"/>
                  </a:cubicBezTo>
                  <a:close/>
                  <a:moveTo>
                    <a:pt x="97521" y="41829"/>
                  </a:moveTo>
                  <a:lnTo>
                    <a:pt x="97521" y="41829"/>
                  </a:lnTo>
                  <a:cubicBezTo>
                    <a:pt x="97351" y="42183"/>
                    <a:pt x="97187" y="42535"/>
                    <a:pt x="97034" y="42882"/>
                  </a:cubicBezTo>
                  <a:lnTo>
                    <a:pt x="95332" y="43878"/>
                  </a:lnTo>
                  <a:lnTo>
                    <a:pt x="93653" y="44895"/>
                  </a:lnTo>
                  <a:cubicBezTo>
                    <a:pt x="92871" y="45372"/>
                    <a:pt x="92078" y="45842"/>
                    <a:pt x="91302" y="46325"/>
                  </a:cubicBezTo>
                  <a:cubicBezTo>
                    <a:pt x="90716" y="46424"/>
                    <a:pt x="90120" y="46529"/>
                    <a:pt x="89520" y="46637"/>
                  </a:cubicBezTo>
                  <a:lnTo>
                    <a:pt x="89761" y="46487"/>
                  </a:lnTo>
                  <a:lnTo>
                    <a:pt x="90497" y="46026"/>
                  </a:lnTo>
                  <a:cubicBezTo>
                    <a:pt x="91474" y="45419"/>
                    <a:pt x="92476" y="44825"/>
                    <a:pt x="93461" y="44225"/>
                  </a:cubicBezTo>
                  <a:cubicBezTo>
                    <a:pt x="94441" y="43624"/>
                    <a:pt x="95446" y="43038"/>
                    <a:pt x="96448" y="42453"/>
                  </a:cubicBezTo>
                  <a:lnTo>
                    <a:pt x="97184" y="42022"/>
                  </a:lnTo>
                  <a:cubicBezTo>
                    <a:pt x="97296" y="41957"/>
                    <a:pt x="97410" y="41893"/>
                    <a:pt x="97521" y="41829"/>
                  </a:cubicBezTo>
                  <a:close/>
                  <a:moveTo>
                    <a:pt x="181789" y="34619"/>
                  </a:moveTo>
                  <a:cubicBezTo>
                    <a:pt x="183673" y="35918"/>
                    <a:pt x="185025" y="37567"/>
                    <a:pt x="185605" y="39606"/>
                  </a:cubicBezTo>
                  <a:lnTo>
                    <a:pt x="185606" y="39607"/>
                  </a:lnTo>
                  <a:cubicBezTo>
                    <a:pt x="186124" y="41412"/>
                    <a:pt x="186128" y="43473"/>
                    <a:pt x="185616" y="45741"/>
                  </a:cubicBezTo>
                  <a:lnTo>
                    <a:pt x="182011" y="46852"/>
                  </a:lnTo>
                  <a:cubicBezTo>
                    <a:pt x="182036" y="46765"/>
                    <a:pt x="182062" y="46677"/>
                    <a:pt x="182088" y="46590"/>
                  </a:cubicBezTo>
                  <a:cubicBezTo>
                    <a:pt x="182199" y="46275"/>
                    <a:pt x="182242" y="45983"/>
                    <a:pt x="182256" y="45701"/>
                  </a:cubicBezTo>
                  <a:lnTo>
                    <a:pt x="182340" y="44847"/>
                  </a:lnTo>
                  <a:lnTo>
                    <a:pt x="182423" y="44001"/>
                  </a:lnTo>
                  <a:lnTo>
                    <a:pt x="182459" y="43581"/>
                  </a:lnTo>
                  <a:lnTo>
                    <a:pt x="182411" y="43196"/>
                  </a:lnTo>
                  <a:lnTo>
                    <a:pt x="182221" y="41668"/>
                  </a:lnTo>
                  <a:lnTo>
                    <a:pt x="182168" y="41292"/>
                  </a:lnTo>
                  <a:lnTo>
                    <a:pt x="182035" y="40952"/>
                  </a:lnTo>
                  <a:lnTo>
                    <a:pt x="181770" y="40276"/>
                  </a:lnTo>
                  <a:cubicBezTo>
                    <a:pt x="181514" y="39340"/>
                    <a:pt x="180862" y="38597"/>
                    <a:pt x="180306" y="37822"/>
                  </a:cubicBezTo>
                  <a:cubicBezTo>
                    <a:pt x="179801" y="37299"/>
                    <a:pt x="179253" y="36802"/>
                    <a:pt x="178639" y="36346"/>
                  </a:cubicBezTo>
                  <a:lnTo>
                    <a:pt x="181789" y="34619"/>
                  </a:lnTo>
                  <a:close/>
                  <a:moveTo>
                    <a:pt x="176527" y="37501"/>
                  </a:moveTo>
                  <a:cubicBezTo>
                    <a:pt x="177102" y="37940"/>
                    <a:pt x="177615" y="38418"/>
                    <a:pt x="178088" y="38921"/>
                  </a:cubicBezTo>
                  <a:cubicBezTo>
                    <a:pt x="178605" y="39670"/>
                    <a:pt x="179225" y="40384"/>
                    <a:pt x="179452" y="41289"/>
                  </a:cubicBezTo>
                  <a:lnTo>
                    <a:pt x="179698" y="41940"/>
                  </a:lnTo>
                  <a:lnTo>
                    <a:pt x="179823" y="42267"/>
                  </a:lnTo>
                  <a:lnTo>
                    <a:pt x="179867" y="42628"/>
                  </a:lnTo>
                  <a:lnTo>
                    <a:pt x="180030" y="44098"/>
                  </a:lnTo>
                  <a:lnTo>
                    <a:pt x="180072" y="44468"/>
                  </a:lnTo>
                  <a:lnTo>
                    <a:pt x="180032" y="44873"/>
                  </a:lnTo>
                  <a:lnTo>
                    <a:pt x="179943" y="45685"/>
                  </a:lnTo>
                  <a:lnTo>
                    <a:pt x="179854" y="46505"/>
                  </a:lnTo>
                  <a:cubicBezTo>
                    <a:pt x="179839" y="46774"/>
                    <a:pt x="179794" y="47054"/>
                    <a:pt x="179684" y="47357"/>
                  </a:cubicBezTo>
                  <a:cubicBezTo>
                    <a:pt x="179660" y="47435"/>
                    <a:pt x="179636" y="47513"/>
                    <a:pt x="179612" y="47590"/>
                  </a:cubicBezTo>
                  <a:lnTo>
                    <a:pt x="176259" y="48625"/>
                  </a:lnTo>
                  <a:cubicBezTo>
                    <a:pt x="176545" y="47577"/>
                    <a:pt x="176700" y="46577"/>
                    <a:pt x="176723" y="45635"/>
                  </a:cubicBezTo>
                  <a:lnTo>
                    <a:pt x="176595" y="44306"/>
                  </a:lnTo>
                  <a:lnTo>
                    <a:pt x="176537" y="43647"/>
                  </a:lnTo>
                  <a:lnTo>
                    <a:pt x="176323" y="43056"/>
                  </a:lnTo>
                  <a:lnTo>
                    <a:pt x="175916" y="41883"/>
                  </a:lnTo>
                  <a:cubicBezTo>
                    <a:pt x="175711" y="41528"/>
                    <a:pt x="175454" y="41198"/>
                    <a:pt x="175231" y="40856"/>
                  </a:cubicBezTo>
                  <a:cubicBezTo>
                    <a:pt x="174888" y="40163"/>
                    <a:pt x="174146" y="39680"/>
                    <a:pt x="173570" y="39121"/>
                  </a:cubicBezTo>
                  <a:lnTo>
                    <a:pt x="176527" y="37501"/>
                  </a:lnTo>
                  <a:close/>
                  <a:moveTo>
                    <a:pt x="172180" y="39883"/>
                  </a:moveTo>
                  <a:cubicBezTo>
                    <a:pt x="172728" y="40428"/>
                    <a:pt x="173443" y="40896"/>
                    <a:pt x="173765" y="41569"/>
                  </a:cubicBezTo>
                  <a:cubicBezTo>
                    <a:pt x="173975" y="41904"/>
                    <a:pt x="174224" y="42223"/>
                    <a:pt x="174418" y="42569"/>
                  </a:cubicBezTo>
                  <a:lnTo>
                    <a:pt x="174802" y="43712"/>
                  </a:lnTo>
                  <a:lnTo>
                    <a:pt x="175005" y="44285"/>
                  </a:lnTo>
                  <a:lnTo>
                    <a:pt x="175055" y="44926"/>
                  </a:lnTo>
                  <a:lnTo>
                    <a:pt x="175167" y="46217"/>
                  </a:lnTo>
                  <a:cubicBezTo>
                    <a:pt x="175139" y="47129"/>
                    <a:pt x="174981" y="48095"/>
                    <a:pt x="174701" y="49106"/>
                  </a:cubicBezTo>
                  <a:lnTo>
                    <a:pt x="171644" y="50048"/>
                  </a:lnTo>
                  <a:cubicBezTo>
                    <a:pt x="171914" y="49108"/>
                    <a:pt x="172073" y="48210"/>
                    <a:pt x="172114" y="47359"/>
                  </a:cubicBezTo>
                  <a:lnTo>
                    <a:pt x="172025" y="46144"/>
                  </a:lnTo>
                  <a:lnTo>
                    <a:pt x="171993" y="45537"/>
                  </a:lnTo>
                  <a:lnTo>
                    <a:pt x="171809" y="44998"/>
                  </a:lnTo>
                  <a:lnTo>
                    <a:pt x="171472" y="43917"/>
                  </a:lnTo>
                  <a:cubicBezTo>
                    <a:pt x="171294" y="43591"/>
                    <a:pt x="171066" y="43289"/>
                    <a:pt x="170875" y="42972"/>
                  </a:cubicBezTo>
                  <a:cubicBezTo>
                    <a:pt x="170595" y="42337"/>
                    <a:pt x="169935" y="41899"/>
                    <a:pt x="169437" y="41385"/>
                  </a:cubicBezTo>
                  <a:lnTo>
                    <a:pt x="172180" y="39883"/>
                  </a:lnTo>
                  <a:close/>
                  <a:moveTo>
                    <a:pt x="168044" y="42147"/>
                  </a:moveTo>
                  <a:cubicBezTo>
                    <a:pt x="168516" y="42645"/>
                    <a:pt x="169149" y="43066"/>
                    <a:pt x="169409" y="43683"/>
                  </a:cubicBezTo>
                  <a:cubicBezTo>
                    <a:pt x="169589" y="43991"/>
                    <a:pt x="169808" y="44283"/>
                    <a:pt x="169979" y="44600"/>
                  </a:cubicBezTo>
                  <a:lnTo>
                    <a:pt x="170293" y="45649"/>
                  </a:lnTo>
                  <a:lnTo>
                    <a:pt x="170467" y="46171"/>
                  </a:lnTo>
                  <a:lnTo>
                    <a:pt x="170492" y="46760"/>
                  </a:lnTo>
                  <a:lnTo>
                    <a:pt x="170570" y="47936"/>
                  </a:lnTo>
                  <a:cubicBezTo>
                    <a:pt x="170523" y="48755"/>
                    <a:pt x="170364" y="49620"/>
                    <a:pt x="170099" y="50524"/>
                  </a:cubicBezTo>
                  <a:lnTo>
                    <a:pt x="169543" y="50696"/>
                  </a:lnTo>
                  <a:cubicBezTo>
                    <a:pt x="170531" y="47303"/>
                    <a:pt x="169794" y="44402"/>
                    <a:pt x="167535" y="42426"/>
                  </a:cubicBezTo>
                  <a:lnTo>
                    <a:pt x="168044" y="42147"/>
                  </a:lnTo>
                  <a:close/>
                  <a:moveTo>
                    <a:pt x="86023" y="44736"/>
                  </a:moveTo>
                  <a:lnTo>
                    <a:pt x="86531" y="44973"/>
                  </a:lnTo>
                  <a:lnTo>
                    <a:pt x="89452" y="46342"/>
                  </a:lnTo>
                  <a:cubicBezTo>
                    <a:pt x="89220" y="46487"/>
                    <a:pt x="88987" y="46632"/>
                    <a:pt x="88754" y="46778"/>
                  </a:cubicBezTo>
                  <a:cubicBezTo>
                    <a:pt x="87744" y="46966"/>
                    <a:pt x="86716" y="47168"/>
                    <a:pt x="85668" y="47383"/>
                  </a:cubicBezTo>
                  <a:lnTo>
                    <a:pt x="81918" y="49801"/>
                  </a:lnTo>
                  <a:cubicBezTo>
                    <a:pt x="81305" y="50205"/>
                    <a:pt x="80696" y="50610"/>
                    <a:pt x="80088" y="51017"/>
                  </a:cubicBezTo>
                  <a:lnTo>
                    <a:pt x="77380" y="50271"/>
                  </a:lnTo>
                  <a:cubicBezTo>
                    <a:pt x="78783" y="49326"/>
                    <a:pt x="80230" y="48399"/>
                    <a:pt x="81672" y="47475"/>
                  </a:cubicBezTo>
                  <a:cubicBezTo>
                    <a:pt x="83094" y="46547"/>
                    <a:pt x="84569" y="45643"/>
                    <a:pt x="86023" y="44736"/>
                  </a:cubicBezTo>
                  <a:close/>
                  <a:moveTo>
                    <a:pt x="87330" y="47669"/>
                  </a:moveTo>
                  <a:lnTo>
                    <a:pt x="87330" y="47669"/>
                  </a:lnTo>
                  <a:cubicBezTo>
                    <a:pt x="86705" y="48062"/>
                    <a:pt x="86084" y="48457"/>
                    <a:pt x="85475" y="48857"/>
                  </a:cubicBezTo>
                  <a:cubicBezTo>
                    <a:pt x="84160" y="49706"/>
                    <a:pt x="82837" y="50556"/>
                    <a:pt x="81561" y="51424"/>
                  </a:cubicBezTo>
                  <a:lnTo>
                    <a:pt x="80669" y="51177"/>
                  </a:lnTo>
                  <a:cubicBezTo>
                    <a:pt x="81269" y="50776"/>
                    <a:pt x="81871" y="50375"/>
                    <a:pt x="82475" y="49977"/>
                  </a:cubicBezTo>
                  <a:lnTo>
                    <a:pt x="85461" y="48048"/>
                  </a:lnTo>
                  <a:cubicBezTo>
                    <a:pt x="86087" y="47915"/>
                    <a:pt x="86710" y="47791"/>
                    <a:pt x="87330" y="47669"/>
                  </a:cubicBezTo>
                  <a:close/>
                  <a:moveTo>
                    <a:pt x="79483" y="52233"/>
                  </a:moveTo>
                  <a:lnTo>
                    <a:pt x="80116" y="52390"/>
                  </a:lnTo>
                  <a:cubicBezTo>
                    <a:pt x="79876" y="52553"/>
                    <a:pt x="79637" y="52717"/>
                    <a:pt x="79398" y="52880"/>
                  </a:cubicBezTo>
                  <a:cubicBezTo>
                    <a:pt x="79421" y="52666"/>
                    <a:pt x="79449" y="52451"/>
                    <a:pt x="79483" y="52233"/>
                  </a:cubicBezTo>
                  <a:close/>
                  <a:moveTo>
                    <a:pt x="192444" y="53705"/>
                  </a:moveTo>
                  <a:lnTo>
                    <a:pt x="192444" y="53705"/>
                  </a:lnTo>
                  <a:cubicBezTo>
                    <a:pt x="191812" y="54644"/>
                    <a:pt x="191122" y="55604"/>
                    <a:pt x="190376" y="56585"/>
                  </a:cubicBezTo>
                  <a:lnTo>
                    <a:pt x="181317" y="57594"/>
                  </a:lnTo>
                  <a:cubicBezTo>
                    <a:pt x="181925" y="56787"/>
                    <a:pt x="182487" y="55988"/>
                    <a:pt x="183098" y="55187"/>
                  </a:cubicBezTo>
                  <a:lnTo>
                    <a:pt x="192444" y="53705"/>
                  </a:lnTo>
                  <a:close/>
                  <a:moveTo>
                    <a:pt x="179357" y="48459"/>
                  </a:moveTo>
                  <a:lnTo>
                    <a:pt x="179357" y="48459"/>
                  </a:lnTo>
                  <a:cubicBezTo>
                    <a:pt x="179113" y="49285"/>
                    <a:pt x="178841" y="50123"/>
                    <a:pt x="178357" y="51027"/>
                  </a:cubicBezTo>
                  <a:lnTo>
                    <a:pt x="178358" y="51027"/>
                  </a:lnTo>
                  <a:cubicBezTo>
                    <a:pt x="177399" y="53334"/>
                    <a:pt x="175623" y="55864"/>
                    <a:pt x="173629" y="58451"/>
                  </a:cubicBezTo>
                  <a:lnTo>
                    <a:pt x="170583" y="58790"/>
                  </a:lnTo>
                  <a:cubicBezTo>
                    <a:pt x="173236" y="55462"/>
                    <a:pt x="175062" y="52316"/>
                    <a:pt x="175997" y="49492"/>
                  </a:cubicBezTo>
                  <a:lnTo>
                    <a:pt x="179357" y="48459"/>
                  </a:lnTo>
                  <a:close/>
                  <a:moveTo>
                    <a:pt x="174433" y="49974"/>
                  </a:moveTo>
                  <a:lnTo>
                    <a:pt x="174433" y="49974"/>
                  </a:lnTo>
                  <a:cubicBezTo>
                    <a:pt x="173510" y="52702"/>
                    <a:pt x="171733" y="55738"/>
                    <a:pt x="169166" y="58948"/>
                  </a:cubicBezTo>
                  <a:lnTo>
                    <a:pt x="169166" y="58949"/>
                  </a:lnTo>
                  <a:lnTo>
                    <a:pt x="166396" y="59256"/>
                  </a:lnTo>
                  <a:cubicBezTo>
                    <a:pt x="168795" y="56276"/>
                    <a:pt x="170469" y="53459"/>
                    <a:pt x="171365" y="50917"/>
                  </a:cubicBezTo>
                  <a:lnTo>
                    <a:pt x="174433" y="49974"/>
                  </a:lnTo>
                  <a:close/>
                  <a:moveTo>
                    <a:pt x="169814" y="51394"/>
                  </a:moveTo>
                  <a:lnTo>
                    <a:pt x="169814" y="51394"/>
                  </a:lnTo>
                  <a:cubicBezTo>
                    <a:pt x="168935" y="53840"/>
                    <a:pt x="167313" y="56548"/>
                    <a:pt x="165002" y="59412"/>
                  </a:cubicBezTo>
                  <a:lnTo>
                    <a:pt x="164470" y="59471"/>
                  </a:lnTo>
                  <a:cubicBezTo>
                    <a:pt x="166775" y="56668"/>
                    <a:pt x="168342" y="54071"/>
                    <a:pt x="169255" y="51566"/>
                  </a:cubicBezTo>
                  <a:lnTo>
                    <a:pt x="169814" y="51394"/>
                  </a:lnTo>
                  <a:close/>
                  <a:moveTo>
                    <a:pt x="78018" y="54195"/>
                  </a:moveTo>
                  <a:lnTo>
                    <a:pt x="78018" y="54195"/>
                  </a:lnTo>
                  <a:cubicBezTo>
                    <a:pt x="78004" y="54494"/>
                    <a:pt x="77998" y="54789"/>
                    <a:pt x="77999" y="55079"/>
                  </a:cubicBezTo>
                  <a:cubicBezTo>
                    <a:pt x="76927" y="55812"/>
                    <a:pt x="75924" y="56559"/>
                    <a:pt x="74879" y="57304"/>
                  </a:cubicBezTo>
                  <a:cubicBezTo>
                    <a:pt x="73826" y="58048"/>
                    <a:pt x="72830" y="58802"/>
                    <a:pt x="71816" y="59558"/>
                  </a:cubicBezTo>
                  <a:cubicBezTo>
                    <a:pt x="71118" y="59765"/>
                    <a:pt x="70410" y="59979"/>
                    <a:pt x="69699" y="60198"/>
                  </a:cubicBezTo>
                  <a:cubicBezTo>
                    <a:pt x="72387" y="58169"/>
                    <a:pt x="75171" y="56166"/>
                    <a:pt x="78018" y="54195"/>
                  </a:cubicBezTo>
                  <a:close/>
                  <a:moveTo>
                    <a:pt x="74468" y="50996"/>
                  </a:moveTo>
                  <a:lnTo>
                    <a:pt x="78595" y="52014"/>
                  </a:lnTo>
                  <a:cubicBezTo>
                    <a:pt x="78470" y="52098"/>
                    <a:pt x="78347" y="52181"/>
                    <a:pt x="78222" y="52263"/>
                  </a:cubicBezTo>
                  <a:cubicBezTo>
                    <a:pt x="78135" y="52777"/>
                    <a:pt x="78075" y="53294"/>
                    <a:pt x="78041" y="53813"/>
                  </a:cubicBezTo>
                  <a:cubicBezTo>
                    <a:pt x="74960" y="55940"/>
                    <a:pt x="71942" y="58103"/>
                    <a:pt x="69037" y="60297"/>
                  </a:cubicBezTo>
                  <a:lnTo>
                    <a:pt x="61932" y="59849"/>
                  </a:lnTo>
                  <a:cubicBezTo>
                    <a:pt x="65967" y="56842"/>
                    <a:pt x="70175" y="53886"/>
                    <a:pt x="74468" y="50996"/>
                  </a:cubicBezTo>
                  <a:close/>
                  <a:moveTo>
                    <a:pt x="113499" y="42000"/>
                  </a:moveTo>
                  <a:lnTo>
                    <a:pt x="114627" y="43790"/>
                  </a:lnTo>
                  <a:cubicBezTo>
                    <a:pt x="103671" y="49541"/>
                    <a:pt x="93260" y="56229"/>
                    <a:pt x="84497" y="63298"/>
                  </a:cubicBezTo>
                  <a:lnTo>
                    <a:pt x="80757" y="63236"/>
                  </a:lnTo>
                  <a:cubicBezTo>
                    <a:pt x="83080" y="61307"/>
                    <a:pt x="85709" y="59403"/>
                    <a:pt x="88240" y="57516"/>
                  </a:cubicBezTo>
                  <a:cubicBezTo>
                    <a:pt x="89559" y="56587"/>
                    <a:pt x="90893" y="55662"/>
                    <a:pt x="92226" y="54743"/>
                  </a:cubicBezTo>
                  <a:cubicBezTo>
                    <a:pt x="93536" y="53819"/>
                    <a:pt x="94922" y="52926"/>
                    <a:pt x="96306" y="52034"/>
                  </a:cubicBezTo>
                  <a:lnTo>
                    <a:pt x="98378" y="50702"/>
                  </a:lnTo>
                  <a:lnTo>
                    <a:pt x="99414" y="50040"/>
                  </a:lnTo>
                  <a:lnTo>
                    <a:pt x="100477" y="49395"/>
                  </a:lnTo>
                  <a:cubicBezTo>
                    <a:pt x="101896" y="48537"/>
                    <a:pt x="103317" y="47684"/>
                    <a:pt x="104742" y="46835"/>
                  </a:cubicBezTo>
                  <a:cubicBezTo>
                    <a:pt x="106173" y="45997"/>
                    <a:pt x="107641" y="45191"/>
                    <a:pt x="109094" y="44374"/>
                  </a:cubicBezTo>
                  <a:cubicBezTo>
                    <a:pt x="109822" y="43970"/>
                    <a:pt x="110546" y="43560"/>
                    <a:pt x="111280" y="43163"/>
                  </a:cubicBezTo>
                  <a:lnTo>
                    <a:pt x="113499" y="42000"/>
                  </a:lnTo>
                  <a:close/>
                  <a:moveTo>
                    <a:pt x="114798" y="44062"/>
                  </a:moveTo>
                  <a:lnTo>
                    <a:pt x="116193" y="46273"/>
                  </a:lnTo>
                  <a:lnTo>
                    <a:pt x="114401" y="47211"/>
                  </a:lnTo>
                  <a:cubicBezTo>
                    <a:pt x="113810" y="47532"/>
                    <a:pt x="113229" y="47865"/>
                    <a:pt x="112641" y="48193"/>
                  </a:cubicBezTo>
                  <a:cubicBezTo>
                    <a:pt x="111473" y="48854"/>
                    <a:pt x="110287" y="49503"/>
                    <a:pt x="109136" y="50180"/>
                  </a:cubicBezTo>
                  <a:lnTo>
                    <a:pt x="105711" y="52250"/>
                  </a:lnTo>
                  <a:lnTo>
                    <a:pt x="104854" y="52769"/>
                  </a:lnTo>
                  <a:lnTo>
                    <a:pt x="104027" y="53307"/>
                  </a:lnTo>
                  <a:lnTo>
                    <a:pt x="102372" y="54382"/>
                  </a:lnTo>
                  <a:cubicBezTo>
                    <a:pt x="101264" y="55101"/>
                    <a:pt x="100148" y="55819"/>
                    <a:pt x="99112" y="56565"/>
                  </a:cubicBezTo>
                  <a:lnTo>
                    <a:pt x="95935" y="58796"/>
                  </a:lnTo>
                  <a:cubicBezTo>
                    <a:pt x="93947" y="60316"/>
                    <a:pt x="91839" y="61840"/>
                    <a:pt x="90025" y="63390"/>
                  </a:cubicBezTo>
                  <a:lnTo>
                    <a:pt x="85087" y="63309"/>
                  </a:lnTo>
                  <a:cubicBezTo>
                    <a:pt x="93724" y="56332"/>
                    <a:pt x="103991" y="49733"/>
                    <a:pt x="114798" y="44062"/>
                  </a:cubicBezTo>
                  <a:close/>
                  <a:moveTo>
                    <a:pt x="188946" y="58399"/>
                  </a:moveTo>
                  <a:lnTo>
                    <a:pt x="188946" y="58399"/>
                  </a:lnTo>
                  <a:cubicBezTo>
                    <a:pt x="187180" y="60573"/>
                    <a:pt x="185228" y="62735"/>
                    <a:pt x="183117" y="64872"/>
                  </a:cubicBezTo>
                  <a:lnTo>
                    <a:pt x="174839" y="64755"/>
                  </a:lnTo>
                  <a:cubicBezTo>
                    <a:pt x="175659" y="63932"/>
                    <a:pt x="176537" y="63110"/>
                    <a:pt x="177291" y="62296"/>
                  </a:cubicBezTo>
                  <a:lnTo>
                    <a:pt x="179423" y="59877"/>
                  </a:lnTo>
                  <a:cubicBezTo>
                    <a:pt x="179606" y="59681"/>
                    <a:pt x="179782" y="59486"/>
                    <a:pt x="179951" y="59291"/>
                  </a:cubicBezTo>
                  <a:lnTo>
                    <a:pt x="188946" y="58399"/>
                  </a:lnTo>
                  <a:close/>
                  <a:moveTo>
                    <a:pt x="67521" y="61457"/>
                  </a:moveTo>
                  <a:lnTo>
                    <a:pt x="65706" y="62857"/>
                  </a:lnTo>
                  <a:cubicBezTo>
                    <a:pt x="64816" y="63539"/>
                    <a:pt x="63991" y="64226"/>
                    <a:pt x="63123" y="64913"/>
                  </a:cubicBezTo>
                  <a:lnTo>
                    <a:pt x="61834" y="64931"/>
                  </a:lnTo>
                  <a:cubicBezTo>
                    <a:pt x="62110" y="64712"/>
                    <a:pt x="62385" y="64492"/>
                    <a:pt x="62656" y="64273"/>
                  </a:cubicBezTo>
                  <a:lnTo>
                    <a:pt x="63978" y="63218"/>
                  </a:lnTo>
                  <a:lnTo>
                    <a:pt x="65342" y="62168"/>
                  </a:lnTo>
                  <a:cubicBezTo>
                    <a:pt x="66078" y="61925"/>
                    <a:pt x="66801" y="61689"/>
                    <a:pt x="67521" y="61457"/>
                  </a:cubicBezTo>
                  <a:close/>
                  <a:moveTo>
                    <a:pt x="64135" y="60597"/>
                  </a:moveTo>
                  <a:lnTo>
                    <a:pt x="67800" y="60792"/>
                  </a:lnTo>
                  <a:cubicBezTo>
                    <a:pt x="66946" y="61066"/>
                    <a:pt x="66085" y="61346"/>
                    <a:pt x="65212" y="61636"/>
                  </a:cubicBezTo>
                  <a:cubicBezTo>
                    <a:pt x="64070" y="62512"/>
                    <a:pt x="62919" y="63393"/>
                    <a:pt x="61828" y="64277"/>
                  </a:cubicBezTo>
                  <a:cubicBezTo>
                    <a:pt x="61551" y="64500"/>
                    <a:pt x="61273" y="64722"/>
                    <a:pt x="60993" y="64944"/>
                  </a:cubicBezTo>
                  <a:lnTo>
                    <a:pt x="58495" y="64981"/>
                  </a:lnTo>
                  <a:cubicBezTo>
                    <a:pt x="59431" y="64244"/>
                    <a:pt x="60327" y="63509"/>
                    <a:pt x="61287" y="62777"/>
                  </a:cubicBezTo>
                  <a:lnTo>
                    <a:pt x="64135" y="60597"/>
                  </a:lnTo>
                  <a:close/>
                  <a:moveTo>
                    <a:pt x="130986" y="42075"/>
                  </a:moveTo>
                  <a:lnTo>
                    <a:pt x="130751" y="43302"/>
                  </a:lnTo>
                  <a:lnTo>
                    <a:pt x="128696" y="44133"/>
                  </a:lnTo>
                  <a:lnTo>
                    <a:pt x="126044" y="45314"/>
                  </a:lnTo>
                  <a:lnTo>
                    <a:pt x="124719" y="45900"/>
                  </a:lnTo>
                  <a:cubicBezTo>
                    <a:pt x="124279" y="46100"/>
                    <a:pt x="123841" y="46322"/>
                    <a:pt x="123403" y="46532"/>
                  </a:cubicBezTo>
                  <a:lnTo>
                    <a:pt x="120771" y="47802"/>
                  </a:lnTo>
                  <a:cubicBezTo>
                    <a:pt x="117304" y="49574"/>
                    <a:pt x="113833" y="51426"/>
                    <a:pt x="110573" y="53442"/>
                  </a:cubicBezTo>
                  <a:cubicBezTo>
                    <a:pt x="107232" y="55426"/>
                    <a:pt x="104153" y="57563"/>
                    <a:pt x="101151" y="59709"/>
                  </a:cubicBezTo>
                  <a:cubicBezTo>
                    <a:pt x="98269" y="61897"/>
                    <a:pt x="95411" y="64134"/>
                    <a:pt x="93026" y="66384"/>
                  </a:cubicBezTo>
                  <a:lnTo>
                    <a:pt x="93996" y="66317"/>
                  </a:lnTo>
                  <a:cubicBezTo>
                    <a:pt x="96307" y="64131"/>
                    <a:pt x="99084" y="61957"/>
                    <a:pt x="101880" y="59830"/>
                  </a:cubicBezTo>
                  <a:cubicBezTo>
                    <a:pt x="104797" y="57743"/>
                    <a:pt x="107786" y="55665"/>
                    <a:pt x="111036" y="53735"/>
                  </a:cubicBezTo>
                  <a:cubicBezTo>
                    <a:pt x="114205" y="51773"/>
                    <a:pt x="117582" y="49974"/>
                    <a:pt x="120954" y="48248"/>
                  </a:cubicBezTo>
                  <a:lnTo>
                    <a:pt x="123514" y="47012"/>
                  </a:lnTo>
                  <a:cubicBezTo>
                    <a:pt x="123941" y="46809"/>
                    <a:pt x="124366" y="46593"/>
                    <a:pt x="124795" y="46398"/>
                  </a:cubicBezTo>
                  <a:lnTo>
                    <a:pt x="126084" y="45829"/>
                  </a:lnTo>
                  <a:lnTo>
                    <a:pt x="128664" y="44681"/>
                  </a:lnTo>
                  <a:lnTo>
                    <a:pt x="130641" y="43882"/>
                  </a:lnTo>
                  <a:lnTo>
                    <a:pt x="130421" y="45032"/>
                  </a:lnTo>
                  <a:lnTo>
                    <a:pt x="128596" y="45766"/>
                  </a:lnTo>
                  <a:lnTo>
                    <a:pt x="126162" y="46850"/>
                  </a:lnTo>
                  <a:lnTo>
                    <a:pt x="124943" y="47387"/>
                  </a:lnTo>
                  <a:cubicBezTo>
                    <a:pt x="124539" y="47570"/>
                    <a:pt x="124138" y="47776"/>
                    <a:pt x="123734" y="47969"/>
                  </a:cubicBezTo>
                  <a:lnTo>
                    <a:pt x="121317" y="49133"/>
                  </a:lnTo>
                  <a:cubicBezTo>
                    <a:pt x="118133" y="50765"/>
                    <a:pt x="114942" y="52462"/>
                    <a:pt x="111955" y="54317"/>
                  </a:cubicBezTo>
                  <a:cubicBezTo>
                    <a:pt x="108886" y="56138"/>
                    <a:pt x="106078" y="58101"/>
                    <a:pt x="103327" y="60068"/>
                  </a:cubicBezTo>
                  <a:cubicBezTo>
                    <a:pt x="100703" y="62075"/>
                    <a:pt x="98087" y="64123"/>
                    <a:pt x="95920" y="66186"/>
                  </a:cubicBezTo>
                  <a:lnTo>
                    <a:pt x="96903" y="66118"/>
                  </a:lnTo>
                  <a:cubicBezTo>
                    <a:pt x="98997" y="64118"/>
                    <a:pt x="101531" y="62135"/>
                    <a:pt x="104068" y="60190"/>
                  </a:cubicBezTo>
                  <a:cubicBezTo>
                    <a:pt x="106734" y="58283"/>
                    <a:pt x="109451" y="56379"/>
                    <a:pt x="112427" y="54614"/>
                  </a:cubicBezTo>
                  <a:cubicBezTo>
                    <a:pt x="115320" y="52815"/>
                    <a:pt x="118417" y="51170"/>
                    <a:pt x="121503" y="49586"/>
                  </a:cubicBezTo>
                  <a:lnTo>
                    <a:pt x="123848" y="48456"/>
                  </a:lnTo>
                  <a:cubicBezTo>
                    <a:pt x="124239" y="48270"/>
                    <a:pt x="124628" y="48071"/>
                    <a:pt x="125020" y="47893"/>
                  </a:cubicBezTo>
                  <a:lnTo>
                    <a:pt x="126201" y="47372"/>
                  </a:lnTo>
                  <a:lnTo>
                    <a:pt x="128563" y="46322"/>
                  </a:lnTo>
                  <a:lnTo>
                    <a:pt x="130309" y="45619"/>
                  </a:lnTo>
                  <a:lnTo>
                    <a:pt x="130309" y="45619"/>
                  </a:lnTo>
                  <a:lnTo>
                    <a:pt x="130269" y="45828"/>
                  </a:lnTo>
                  <a:lnTo>
                    <a:pt x="129753" y="46047"/>
                  </a:lnTo>
                  <a:cubicBezTo>
                    <a:pt x="129482" y="46160"/>
                    <a:pt x="129205" y="46272"/>
                    <a:pt x="128929" y="46384"/>
                  </a:cubicBezTo>
                  <a:lnTo>
                    <a:pt x="128482" y="46568"/>
                  </a:lnTo>
                  <a:cubicBezTo>
                    <a:pt x="128144" y="46725"/>
                    <a:pt x="127806" y="46868"/>
                    <a:pt x="127469" y="47011"/>
                  </a:cubicBezTo>
                  <a:cubicBezTo>
                    <a:pt x="127008" y="47207"/>
                    <a:pt x="126534" y="47408"/>
                    <a:pt x="126041" y="47647"/>
                  </a:cubicBezTo>
                  <a:cubicBezTo>
                    <a:pt x="124831" y="48171"/>
                    <a:pt x="123546" y="48800"/>
                    <a:pt x="122302" y="49409"/>
                  </a:cubicBezTo>
                  <a:cubicBezTo>
                    <a:pt x="121946" y="49584"/>
                    <a:pt x="121590" y="49758"/>
                    <a:pt x="121234" y="49931"/>
                  </a:cubicBezTo>
                  <a:cubicBezTo>
                    <a:pt x="117502" y="51842"/>
                    <a:pt x="114427" y="53563"/>
                    <a:pt x="111782" y="55224"/>
                  </a:cubicBezTo>
                  <a:cubicBezTo>
                    <a:pt x="110532" y="55975"/>
                    <a:pt x="109331" y="56777"/>
                    <a:pt x="108166" y="57556"/>
                  </a:cubicBezTo>
                  <a:lnTo>
                    <a:pt x="107443" y="58037"/>
                  </a:lnTo>
                  <a:cubicBezTo>
                    <a:pt x="107105" y="58281"/>
                    <a:pt x="106828" y="58472"/>
                    <a:pt x="106551" y="58661"/>
                  </a:cubicBezTo>
                  <a:cubicBezTo>
                    <a:pt x="106141" y="58944"/>
                    <a:pt x="105715" y="59236"/>
                    <a:pt x="105311" y="59547"/>
                  </a:cubicBezTo>
                  <a:cubicBezTo>
                    <a:pt x="105192" y="59634"/>
                    <a:pt x="105043" y="59740"/>
                    <a:pt x="104895" y="59845"/>
                  </a:cubicBezTo>
                  <a:cubicBezTo>
                    <a:pt x="104703" y="59981"/>
                    <a:pt x="104512" y="60117"/>
                    <a:pt x="104327" y="60255"/>
                  </a:cubicBezTo>
                  <a:cubicBezTo>
                    <a:pt x="103997" y="60512"/>
                    <a:pt x="103688" y="60745"/>
                    <a:pt x="103374" y="60979"/>
                  </a:cubicBezTo>
                  <a:cubicBezTo>
                    <a:pt x="103052" y="61207"/>
                    <a:pt x="102749" y="61451"/>
                    <a:pt x="102455" y="61688"/>
                  </a:cubicBezTo>
                  <a:lnTo>
                    <a:pt x="101442" y="62479"/>
                  </a:lnTo>
                  <a:cubicBezTo>
                    <a:pt x="101102" y="62767"/>
                    <a:pt x="100812" y="63007"/>
                    <a:pt x="100516" y="63247"/>
                  </a:cubicBezTo>
                  <a:lnTo>
                    <a:pt x="100055" y="63616"/>
                  </a:lnTo>
                  <a:lnTo>
                    <a:pt x="99568" y="64046"/>
                  </a:lnTo>
                  <a:cubicBezTo>
                    <a:pt x="99295" y="64283"/>
                    <a:pt x="99007" y="64527"/>
                    <a:pt x="98711" y="64772"/>
                  </a:cubicBezTo>
                  <a:lnTo>
                    <a:pt x="97814" y="65588"/>
                  </a:lnTo>
                  <a:cubicBezTo>
                    <a:pt x="97472" y="65876"/>
                    <a:pt x="97144" y="66192"/>
                    <a:pt x="96825" y="66499"/>
                  </a:cubicBezTo>
                  <a:lnTo>
                    <a:pt x="90425" y="67016"/>
                  </a:lnTo>
                  <a:cubicBezTo>
                    <a:pt x="91603" y="65938"/>
                    <a:pt x="92749" y="64867"/>
                    <a:pt x="94089" y="63796"/>
                  </a:cubicBezTo>
                  <a:cubicBezTo>
                    <a:pt x="94846" y="63178"/>
                    <a:pt x="95551" y="62559"/>
                    <a:pt x="96339" y="61947"/>
                  </a:cubicBezTo>
                  <a:lnTo>
                    <a:pt x="98730" y="60122"/>
                  </a:lnTo>
                  <a:cubicBezTo>
                    <a:pt x="99135" y="59820"/>
                    <a:pt x="99507" y="59513"/>
                    <a:pt x="99934" y="59216"/>
                  </a:cubicBezTo>
                  <a:lnTo>
                    <a:pt x="101200" y="58324"/>
                  </a:lnTo>
                  <a:cubicBezTo>
                    <a:pt x="102046" y="57734"/>
                    <a:pt x="102870" y="57137"/>
                    <a:pt x="103727" y="56553"/>
                  </a:cubicBezTo>
                  <a:lnTo>
                    <a:pt x="106368" y="54828"/>
                  </a:lnTo>
                  <a:cubicBezTo>
                    <a:pt x="106811" y="54544"/>
                    <a:pt x="107237" y="54251"/>
                    <a:pt x="107691" y="53973"/>
                  </a:cubicBezTo>
                  <a:lnTo>
                    <a:pt x="109060" y="53143"/>
                  </a:lnTo>
                  <a:cubicBezTo>
                    <a:pt x="109974" y="52594"/>
                    <a:pt x="110874" y="52033"/>
                    <a:pt x="111796" y="51492"/>
                  </a:cubicBezTo>
                  <a:lnTo>
                    <a:pt x="114607" y="49909"/>
                  </a:lnTo>
                  <a:cubicBezTo>
                    <a:pt x="115077" y="49649"/>
                    <a:pt x="115537" y="49375"/>
                    <a:pt x="116015" y="49126"/>
                  </a:cubicBezTo>
                  <a:lnTo>
                    <a:pt x="117451" y="48377"/>
                  </a:lnTo>
                  <a:cubicBezTo>
                    <a:pt x="118408" y="47881"/>
                    <a:pt x="119359" y="47369"/>
                    <a:pt x="120321" y="46887"/>
                  </a:cubicBezTo>
                  <a:lnTo>
                    <a:pt x="123231" y="45482"/>
                  </a:lnTo>
                  <a:cubicBezTo>
                    <a:pt x="123716" y="45253"/>
                    <a:pt x="124199" y="45002"/>
                    <a:pt x="124687" y="44789"/>
                  </a:cubicBezTo>
                  <a:lnTo>
                    <a:pt x="126152" y="44139"/>
                  </a:lnTo>
                  <a:cubicBezTo>
                    <a:pt x="127128" y="43710"/>
                    <a:pt x="128108" y="43256"/>
                    <a:pt x="129085" y="42846"/>
                  </a:cubicBezTo>
                  <a:lnTo>
                    <a:pt x="130986" y="42075"/>
                  </a:lnTo>
                  <a:close/>
                  <a:moveTo>
                    <a:pt x="62471" y="65435"/>
                  </a:moveTo>
                  <a:cubicBezTo>
                    <a:pt x="61768" y="65994"/>
                    <a:pt x="61098" y="66554"/>
                    <a:pt x="60429" y="67115"/>
                  </a:cubicBezTo>
                  <a:cubicBezTo>
                    <a:pt x="60284" y="66882"/>
                    <a:pt x="60144" y="66645"/>
                    <a:pt x="60015" y="66400"/>
                  </a:cubicBezTo>
                  <a:cubicBezTo>
                    <a:pt x="60390" y="66088"/>
                    <a:pt x="60777" y="65776"/>
                    <a:pt x="61166" y="65465"/>
                  </a:cubicBezTo>
                  <a:lnTo>
                    <a:pt x="62471" y="65435"/>
                  </a:lnTo>
                  <a:close/>
                  <a:moveTo>
                    <a:pt x="126192" y="38516"/>
                  </a:moveTo>
                  <a:lnTo>
                    <a:pt x="126370" y="42075"/>
                  </a:lnTo>
                  <a:cubicBezTo>
                    <a:pt x="128040" y="41329"/>
                    <a:pt x="129716" y="40613"/>
                    <a:pt x="131396" y="39925"/>
                  </a:cubicBezTo>
                  <a:lnTo>
                    <a:pt x="131396" y="39925"/>
                  </a:lnTo>
                  <a:lnTo>
                    <a:pt x="131150" y="41212"/>
                  </a:lnTo>
                  <a:lnTo>
                    <a:pt x="129147" y="42027"/>
                  </a:lnTo>
                  <a:cubicBezTo>
                    <a:pt x="128132" y="42453"/>
                    <a:pt x="127116" y="42923"/>
                    <a:pt x="126101" y="43370"/>
                  </a:cubicBezTo>
                  <a:lnTo>
                    <a:pt x="124580" y="44046"/>
                  </a:lnTo>
                  <a:cubicBezTo>
                    <a:pt x="124072" y="44268"/>
                    <a:pt x="123572" y="44527"/>
                    <a:pt x="123068" y="44765"/>
                  </a:cubicBezTo>
                  <a:lnTo>
                    <a:pt x="120049" y="46225"/>
                  </a:lnTo>
                  <a:cubicBezTo>
                    <a:pt x="119048" y="46726"/>
                    <a:pt x="118060" y="47257"/>
                    <a:pt x="117066" y="47771"/>
                  </a:cubicBezTo>
                  <a:lnTo>
                    <a:pt x="115577" y="48549"/>
                  </a:lnTo>
                  <a:cubicBezTo>
                    <a:pt x="115081" y="48809"/>
                    <a:pt x="114603" y="49092"/>
                    <a:pt x="114115" y="49363"/>
                  </a:cubicBezTo>
                  <a:lnTo>
                    <a:pt x="111194" y="51006"/>
                  </a:lnTo>
                  <a:cubicBezTo>
                    <a:pt x="110237" y="51568"/>
                    <a:pt x="109300" y="52148"/>
                    <a:pt x="108351" y="52720"/>
                  </a:cubicBezTo>
                  <a:lnTo>
                    <a:pt x="106930" y="53581"/>
                  </a:lnTo>
                  <a:cubicBezTo>
                    <a:pt x="106458" y="53871"/>
                    <a:pt x="106013" y="54174"/>
                    <a:pt x="105554" y="54469"/>
                  </a:cubicBezTo>
                  <a:lnTo>
                    <a:pt x="102808" y="56260"/>
                  </a:lnTo>
                  <a:cubicBezTo>
                    <a:pt x="101916" y="56867"/>
                    <a:pt x="101058" y="57487"/>
                    <a:pt x="100177" y="58101"/>
                  </a:cubicBezTo>
                  <a:lnTo>
                    <a:pt x="98861" y="59028"/>
                  </a:lnTo>
                  <a:cubicBezTo>
                    <a:pt x="98418" y="59336"/>
                    <a:pt x="98027" y="59654"/>
                    <a:pt x="97607" y="59968"/>
                  </a:cubicBezTo>
                  <a:lnTo>
                    <a:pt x="95116" y="61866"/>
                  </a:lnTo>
                  <a:cubicBezTo>
                    <a:pt x="94296" y="62502"/>
                    <a:pt x="93559" y="63145"/>
                    <a:pt x="92772" y="63788"/>
                  </a:cubicBezTo>
                  <a:cubicBezTo>
                    <a:pt x="91377" y="64901"/>
                    <a:pt x="90178" y="66014"/>
                    <a:pt x="88950" y="67134"/>
                  </a:cubicBezTo>
                  <a:lnTo>
                    <a:pt x="79730" y="67878"/>
                  </a:lnTo>
                  <a:cubicBezTo>
                    <a:pt x="80921" y="66803"/>
                    <a:pt x="82152" y="65734"/>
                    <a:pt x="83425" y="64672"/>
                  </a:cubicBezTo>
                  <a:lnTo>
                    <a:pt x="89842" y="64575"/>
                  </a:lnTo>
                  <a:lnTo>
                    <a:pt x="92920" y="62034"/>
                  </a:lnTo>
                  <a:lnTo>
                    <a:pt x="96207" y="59534"/>
                  </a:lnTo>
                  <a:lnTo>
                    <a:pt x="97029" y="58913"/>
                  </a:lnTo>
                  <a:lnTo>
                    <a:pt x="97897" y="58302"/>
                  </a:lnTo>
                  <a:lnTo>
                    <a:pt x="99631" y="57085"/>
                  </a:lnTo>
                  <a:cubicBezTo>
                    <a:pt x="100211" y="56681"/>
                    <a:pt x="100777" y="56273"/>
                    <a:pt x="101367" y="55875"/>
                  </a:cubicBezTo>
                  <a:lnTo>
                    <a:pt x="103178" y="54694"/>
                  </a:lnTo>
                  <a:cubicBezTo>
                    <a:pt x="107962" y="51568"/>
                    <a:pt x="113080" y="48570"/>
                    <a:pt x="118345" y="45908"/>
                  </a:cubicBezTo>
                  <a:lnTo>
                    <a:pt x="116881" y="42982"/>
                  </a:lnTo>
                  <a:cubicBezTo>
                    <a:pt x="119956" y="41412"/>
                    <a:pt x="123068" y="39920"/>
                    <a:pt x="126192" y="38516"/>
                  </a:cubicBezTo>
                  <a:close/>
                  <a:moveTo>
                    <a:pt x="133787" y="27416"/>
                  </a:moveTo>
                  <a:lnTo>
                    <a:pt x="133731" y="27710"/>
                  </a:lnTo>
                  <a:cubicBezTo>
                    <a:pt x="125353" y="31156"/>
                    <a:pt x="116968" y="35115"/>
                    <a:pt x="108960" y="39413"/>
                  </a:cubicBezTo>
                  <a:lnTo>
                    <a:pt x="109607" y="40280"/>
                  </a:lnTo>
                  <a:lnTo>
                    <a:pt x="110018" y="40062"/>
                  </a:lnTo>
                  <a:cubicBezTo>
                    <a:pt x="110309" y="39615"/>
                    <a:pt x="110613" y="39162"/>
                    <a:pt x="110930" y="38703"/>
                  </a:cubicBezTo>
                  <a:cubicBezTo>
                    <a:pt x="111954" y="38152"/>
                    <a:pt x="112994" y="37630"/>
                    <a:pt x="114028" y="37098"/>
                  </a:cubicBezTo>
                  <a:cubicBezTo>
                    <a:pt x="114214" y="37096"/>
                    <a:pt x="114399" y="37096"/>
                    <a:pt x="114582" y="37096"/>
                  </a:cubicBezTo>
                  <a:cubicBezTo>
                    <a:pt x="114963" y="37096"/>
                    <a:pt x="115339" y="37099"/>
                    <a:pt x="115709" y="37105"/>
                  </a:cubicBezTo>
                  <a:cubicBezTo>
                    <a:pt x="117201" y="36375"/>
                    <a:pt x="118687" y="35617"/>
                    <a:pt x="120187" y="34912"/>
                  </a:cubicBezTo>
                  <a:cubicBezTo>
                    <a:pt x="120573" y="34441"/>
                    <a:pt x="120972" y="33965"/>
                    <a:pt x="121384" y="33485"/>
                  </a:cubicBezTo>
                  <a:cubicBezTo>
                    <a:pt x="122434" y="32977"/>
                    <a:pt x="123490" y="32500"/>
                    <a:pt x="124545" y="32016"/>
                  </a:cubicBezTo>
                  <a:cubicBezTo>
                    <a:pt x="125036" y="32076"/>
                    <a:pt x="125515" y="32142"/>
                    <a:pt x="125981" y="32216"/>
                  </a:cubicBezTo>
                  <a:cubicBezTo>
                    <a:pt x="127489" y="31556"/>
                    <a:pt x="129002" y="30869"/>
                    <a:pt x="130513" y="30237"/>
                  </a:cubicBezTo>
                  <a:cubicBezTo>
                    <a:pt x="130994" y="29746"/>
                    <a:pt x="131488" y="29251"/>
                    <a:pt x="131995" y="28752"/>
                  </a:cubicBezTo>
                  <a:cubicBezTo>
                    <a:pt x="132552" y="28512"/>
                    <a:pt x="133108" y="28282"/>
                    <a:pt x="133664" y="28056"/>
                  </a:cubicBezTo>
                  <a:lnTo>
                    <a:pt x="133664" y="28056"/>
                  </a:lnTo>
                  <a:lnTo>
                    <a:pt x="133617" y="28300"/>
                  </a:lnTo>
                  <a:cubicBezTo>
                    <a:pt x="133190" y="28474"/>
                    <a:pt x="132762" y="28650"/>
                    <a:pt x="132334" y="28834"/>
                  </a:cubicBezTo>
                  <a:cubicBezTo>
                    <a:pt x="131827" y="29334"/>
                    <a:pt x="131332" y="29830"/>
                    <a:pt x="130851" y="30322"/>
                  </a:cubicBezTo>
                  <a:lnTo>
                    <a:pt x="129543" y="30875"/>
                  </a:lnTo>
                  <a:lnTo>
                    <a:pt x="128235" y="31450"/>
                  </a:lnTo>
                  <a:cubicBezTo>
                    <a:pt x="127364" y="31837"/>
                    <a:pt x="126493" y="32208"/>
                    <a:pt x="125625" y="32606"/>
                  </a:cubicBezTo>
                  <a:cubicBezTo>
                    <a:pt x="125158" y="32532"/>
                    <a:pt x="124680" y="32464"/>
                    <a:pt x="124189" y="32404"/>
                  </a:cubicBezTo>
                  <a:cubicBezTo>
                    <a:pt x="123389" y="32773"/>
                    <a:pt x="122587" y="33131"/>
                    <a:pt x="121789" y="33516"/>
                  </a:cubicBezTo>
                  <a:cubicBezTo>
                    <a:pt x="121379" y="33997"/>
                    <a:pt x="120980" y="34475"/>
                    <a:pt x="120594" y="34946"/>
                  </a:cubicBezTo>
                  <a:cubicBezTo>
                    <a:pt x="119730" y="35353"/>
                    <a:pt x="118869" y="35770"/>
                    <a:pt x="118012" y="36196"/>
                  </a:cubicBezTo>
                  <a:cubicBezTo>
                    <a:pt x="117155" y="36623"/>
                    <a:pt x="116292" y="37038"/>
                    <a:pt x="115439" y="37474"/>
                  </a:cubicBezTo>
                  <a:cubicBezTo>
                    <a:pt x="115047" y="37466"/>
                    <a:pt x="114650" y="37462"/>
                    <a:pt x="114246" y="37462"/>
                  </a:cubicBezTo>
                  <a:cubicBezTo>
                    <a:pt x="114084" y="37462"/>
                    <a:pt x="113921" y="37463"/>
                    <a:pt x="113758" y="37464"/>
                  </a:cubicBezTo>
                  <a:cubicBezTo>
                    <a:pt x="112971" y="37870"/>
                    <a:pt x="112178" y="38265"/>
                    <a:pt x="111399" y="38684"/>
                  </a:cubicBezTo>
                  <a:cubicBezTo>
                    <a:pt x="111085" y="39142"/>
                    <a:pt x="110785" y="39593"/>
                    <a:pt x="110496" y="40040"/>
                  </a:cubicBezTo>
                  <a:lnTo>
                    <a:pt x="109731" y="40445"/>
                  </a:lnTo>
                  <a:lnTo>
                    <a:pt x="109914" y="40690"/>
                  </a:lnTo>
                  <a:cubicBezTo>
                    <a:pt x="117537" y="36600"/>
                    <a:pt x="125365" y="32903"/>
                    <a:pt x="133367" y="29615"/>
                  </a:cubicBezTo>
                  <a:lnTo>
                    <a:pt x="133367" y="29615"/>
                  </a:lnTo>
                  <a:lnTo>
                    <a:pt x="133304" y="29946"/>
                  </a:lnTo>
                  <a:lnTo>
                    <a:pt x="132992" y="30072"/>
                  </a:lnTo>
                  <a:lnTo>
                    <a:pt x="132740" y="31631"/>
                  </a:lnTo>
                  <a:lnTo>
                    <a:pt x="132740" y="31631"/>
                  </a:lnTo>
                  <a:lnTo>
                    <a:pt x="133001" y="31526"/>
                  </a:lnTo>
                  <a:lnTo>
                    <a:pt x="132857" y="32283"/>
                  </a:lnTo>
                  <a:cubicBezTo>
                    <a:pt x="130574" y="33220"/>
                    <a:pt x="128297" y="34199"/>
                    <a:pt x="126027" y="35218"/>
                  </a:cubicBezTo>
                  <a:lnTo>
                    <a:pt x="126175" y="38171"/>
                  </a:lnTo>
                  <a:cubicBezTo>
                    <a:pt x="123008" y="39593"/>
                    <a:pt x="119855" y="41107"/>
                    <a:pt x="116739" y="42698"/>
                  </a:cubicBezTo>
                  <a:lnTo>
                    <a:pt x="115514" y="40253"/>
                  </a:lnTo>
                  <a:cubicBezTo>
                    <a:pt x="108626" y="43745"/>
                    <a:pt x="101891" y="47652"/>
                    <a:pt x="95557" y="51746"/>
                  </a:cubicBezTo>
                  <a:lnTo>
                    <a:pt x="93165" y="53296"/>
                  </a:lnTo>
                  <a:cubicBezTo>
                    <a:pt x="92380" y="53819"/>
                    <a:pt x="91619" y="54352"/>
                    <a:pt x="90846" y="54882"/>
                  </a:cubicBezTo>
                  <a:lnTo>
                    <a:pt x="88538" y="56484"/>
                  </a:lnTo>
                  <a:lnTo>
                    <a:pt x="87386" y="57288"/>
                  </a:lnTo>
                  <a:lnTo>
                    <a:pt x="86280" y="58104"/>
                  </a:lnTo>
                  <a:cubicBezTo>
                    <a:pt x="84806" y="59197"/>
                    <a:pt x="83330" y="60297"/>
                    <a:pt x="81873" y="61401"/>
                  </a:cubicBezTo>
                  <a:cubicBezTo>
                    <a:pt x="80479" y="62513"/>
                    <a:pt x="79090" y="63633"/>
                    <a:pt x="77707" y="64759"/>
                  </a:cubicBezTo>
                  <a:lnTo>
                    <a:pt x="82807" y="64682"/>
                  </a:lnTo>
                  <a:lnTo>
                    <a:pt x="82807" y="64682"/>
                  </a:lnTo>
                  <a:cubicBezTo>
                    <a:pt x="81515" y="65758"/>
                    <a:pt x="80265" y="66842"/>
                    <a:pt x="79056" y="67933"/>
                  </a:cubicBezTo>
                  <a:lnTo>
                    <a:pt x="74815" y="68275"/>
                  </a:lnTo>
                  <a:lnTo>
                    <a:pt x="74000" y="69000"/>
                  </a:lnTo>
                  <a:lnTo>
                    <a:pt x="67822" y="69626"/>
                  </a:lnTo>
                  <a:cubicBezTo>
                    <a:pt x="73502" y="64543"/>
                    <a:pt x="79934" y="59495"/>
                    <a:pt x="86886" y="54699"/>
                  </a:cubicBezTo>
                  <a:cubicBezTo>
                    <a:pt x="94087" y="49741"/>
                    <a:pt x="101890" y="45000"/>
                    <a:pt x="109910" y="40694"/>
                  </a:cubicBezTo>
                  <a:lnTo>
                    <a:pt x="109728" y="40450"/>
                  </a:lnTo>
                  <a:cubicBezTo>
                    <a:pt x="108727" y="40976"/>
                    <a:pt x="107748" y="41530"/>
                    <a:pt x="106757" y="42069"/>
                  </a:cubicBezTo>
                  <a:cubicBezTo>
                    <a:pt x="106140" y="42113"/>
                    <a:pt x="105504" y="42159"/>
                    <a:pt x="104870" y="42224"/>
                  </a:cubicBezTo>
                  <a:lnTo>
                    <a:pt x="102568" y="43532"/>
                  </a:lnTo>
                  <a:cubicBezTo>
                    <a:pt x="102336" y="43959"/>
                    <a:pt x="102121" y="44385"/>
                    <a:pt x="101925" y="44808"/>
                  </a:cubicBezTo>
                  <a:lnTo>
                    <a:pt x="99462" y="46257"/>
                  </a:lnTo>
                  <a:cubicBezTo>
                    <a:pt x="98646" y="46746"/>
                    <a:pt x="97842" y="47242"/>
                    <a:pt x="97029" y="47735"/>
                  </a:cubicBezTo>
                  <a:cubicBezTo>
                    <a:pt x="96337" y="47847"/>
                    <a:pt x="95623" y="47962"/>
                    <a:pt x="94915" y="48095"/>
                  </a:cubicBezTo>
                  <a:lnTo>
                    <a:pt x="92698" y="49490"/>
                  </a:lnTo>
                  <a:cubicBezTo>
                    <a:pt x="92571" y="49886"/>
                    <a:pt x="92456" y="50275"/>
                    <a:pt x="92368" y="50661"/>
                  </a:cubicBezTo>
                  <a:lnTo>
                    <a:pt x="90008" y="52202"/>
                  </a:lnTo>
                  <a:cubicBezTo>
                    <a:pt x="89222" y="52718"/>
                    <a:pt x="88462" y="53242"/>
                    <a:pt x="87686" y="53764"/>
                  </a:cubicBezTo>
                  <a:cubicBezTo>
                    <a:pt x="86927" y="53943"/>
                    <a:pt x="86152" y="54128"/>
                    <a:pt x="85376" y="54325"/>
                  </a:cubicBezTo>
                  <a:lnTo>
                    <a:pt x="83272" y="55796"/>
                  </a:lnTo>
                  <a:cubicBezTo>
                    <a:pt x="83257" y="56152"/>
                    <a:pt x="83241" y="56499"/>
                    <a:pt x="83263" y="56844"/>
                  </a:cubicBezTo>
                  <a:cubicBezTo>
                    <a:pt x="81778" y="57922"/>
                    <a:pt x="80276" y="59004"/>
                    <a:pt x="78847" y="60098"/>
                  </a:cubicBezTo>
                  <a:cubicBezTo>
                    <a:pt x="78027" y="60346"/>
                    <a:pt x="77196" y="60602"/>
                    <a:pt x="76355" y="60868"/>
                  </a:cubicBezTo>
                  <a:cubicBezTo>
                    <a:pt x="75690" y="61376"/>
                    <a:pt x="75047" y="61888"/>
                    <a:pt x="74390" y="62400"/>
                  </a:cubicBezTo>
                  <a:cubicBezTo>
                    <a:pt x="74485" y="62709"/>
                    <a:pt x="74591" y="63012"/>
                    <a:pt x="74710" y="63305"/>
                  </a:cubicBezTo>
                  <a:cubicBezTo>
                    <a:pt x="73351" y="64421"/>
                    <a:pt x="71933" y="65544"/>
                    <a:pt x="70638" y="66669"/>
                  </a:cubicBezTo>
                  <a:cubicBezTo>
                    <a:pt x="69766" y="66987"/>
                    <a:pt x="68883" y="67313"/>
                    <a:pt x="67991" y="67649"/>
                  </a:cubicBezTo>
                  <a:cubicBezTo>
                    <a:pt x="67361" y="68176"/>
                    <a:pt x="66782" y="68699"/>
                    <a:pt x="66186" y="69226"/>
                  </a:cubicBezTo>
                  <a:cubicBezTo>
                    <a:pt x="66332" y="69403"/>
                    <a:pt x="66485" y="69575"/>
                    <a:pt x="66641" y="69745"/>
                  </a:cubicBezTo>
                  <a:lnTo>
                    <a:pt x="65749" y="69835"/>
                  </a:lnTo>
                  <a:cubicBezTo>
                    <a:pt x="65657" y="69727"/>
                    <a:pt x="65564" y="69617"/>
                    <a:pt x="65476" y="69506"/>
                  </a:cubicBezTo>
                  <a:cubicBezTo>
                    <a:pt x="66257" y="68814"/>
                    <a:pt x="67027" y="68124"/>
                    <a:pt x="67854" y="67432"/>
                  </a:cubicBezTo>
                  <a:cubicBezTo>
                    <a:pt x="68744" y="67098"/>
                    <a:pt x="69625" y="66772"/>
                    <a:pt x="70495" y="66454"/>
                  </a:cubicBezTo>
                  <a:lnTo>
                    <a:pt x="71357" y="65721"/>
                  </a:lnTo>
                  <a:lnTo>
                    <a:pt x="72254" y="64988"/>
                  </a:lnTo>
                  <a:lnTo>
                    <a:pt x="74039" y="63532"/>
                  </a:lnTo>
                  <a:cubicBezTo>
                    <a:pt x="73905" y="63237"/>
                    <a:pt x="73812" y="62935"/>
                    <a:pt x="73716" y="62625"/>
                  </a:cubicBezTo>
                  <a:cubicBezTo>
                    <a:pt x="74587" y="61950"/>
                    <a:pt x="75423" y="61275"/>
                    <a:pt x="76316" y="60606"/>
                  </a:cubicBezTo>
                  <a:cubicBezTo>
                    <a:pt x="77156" y="60341"/>
                    <a:pt x="77985" y="60085"/>
                    <a:pt x="78804" y="59838"/>
                  </a:cubicBezTo>
                  <a:cubicBezTo>
                    <a:pt x="80043" y="58888"/>
                    <a:pt x="81351" y="57951"/>
                    <a:pt x="82637" y="57014"/>
                  </a:cubicBezTo>
                  <a:cubicBezTo>
                    <a:pt x="82616" y="56666"/>
                    <a:pt x="82618" y="56315"/>
                    <a:pt x="82642" y="55966"/>
                  </a:cubicBezTo>
                  <a:cubicBezTo>
                    <a:pt x="83568" y="55320"/>
                    <a:pt x="84482" y="54673"/>
                    <a:pt x="85414" y="54033"/>
                  </a:cubicBezTo>
                  <a:cubicBezTo>
                    <a:pt x="86195" y="53838"/>
                    <a:pt x="86964" y="53652"/>
                    <a:pt x="87723" y="53474"/>
                  </a:cubicBezTo>
                  <a:cubicBezTo>
                    <a:pt x="88398" y="53022"/>
                    <a:pt x="89057" y="52566"/>
                    <a:pt x="89741" y="52119"/>
                  </a:cubicBezTo>
                  <a:lnTo>
                    <a:pt x="91793" y="50780"/>
                  </a:lnTo>
                  <a:cubicBezTo>
                    <a:pt x="91885" y="50395"/>
                    <a:pt x="91988" y="50001"/>
                    <a:pt x="92119" y="49607"/>
                  </a:cubicBezTo>
                  <a:lnTo>
                    <a:pt x="95044" y="47768"/>
                  </a:lnTo>
                  <a:cubicBezTo>
                    <a:pt x="95756" y="47642"/>
                    <a:pt x="96459" y="47525"/>
                    <a:pt x="97151" y="47415"/>
                  </a:cubicBezTo>
                  <a:cubicBezTo>
                    <a:pt x="97856" y="46987"/>
                    <a:pt x="98554" y="46556"/>
                    <a:pt x="99264" y="46133"/>
                  </a:cubicBezTo>
                  <a:lnTo>
                    <a:pt x="101405" y="44874"/>
                  </a:lnTo>
                  <a:cubicBezTo>
                    <a:pt x="101605" y="44453"/>
                    <a:pt x="101811" y="44021"/>
                    <a:pt x="102044" y="43594"/>
                  </a:cubicBezTo>
                  <a:lnTo>
                    <a:pt x="105071" y="41875"/>
                  </a:lnTo>
                  <a:cubicBezTo>
                    <a:pt x="105711" y="41817"/>
                    <a:pt x="106341" y="41766"/>
                    <a:pt x="106959" y="41723"/>
                  </a:cubicBezTo>
                  <a:cubicBezTo>
                    <a:pt x="107841" y="41244"/>
                    <a:pt x="108711" y="40750"/>
                    <a:pt x="109602" y="40283"/>
                  </a:cubicBezTo>
                  <a:lnTo>
                    <a:pt x="108955" y="39417"/>
                  </a:lnTo>
                  <a:cubicBezTo>
                    <a:pt x="100496" y="43953"/>
                    <a:pt x="92256" y="48951"/>
                    <a:pt x="84635" y="54180"/>
                  </a:cubicBezTo>
                  <a:cubicBezTo>
                    <a:pt x="77258" y="59251"/>
                    <a:pt x="70412" y="64595"/>
                    <a:pt x="64360" y="69976"/>
                  </a:cubicBezTo>
                  <a:lnTo>
                    <a:pt x="63827" y="70029"/>
                  </a:lnTo>
                  <a:cubicBezTo>
                    <a:pt x="69936" y="64604"/>
                    <a:pt x="76848" y="59213"/>
                    <a:pt x="84292" y="54097"/>
                  </a:cubicBezTo>
                  <a:cubicBezTo>
                    <a:pt x="91978" y="48827"/>
                    <a:pt x="100287" y="43791"/>
                    <a:pt x="108812" y="39218"/>
                  </a:cubicBezTo>
                  <a:cubicBezTo>
                    <a:pt x="116885" y="34885"/>
                    <a:pt x="125339" y="30893"/>
                    <a:pt x="133787" y="27416"/>
                  </a:cubicBezTo>
                  <a:close/>
                  <a:moveTo>
                    <a:pt x="134074" y="25915"/>
                  </a:moveTo>
                  <a:lnTo>
                    <a:pt x="134003" y="26287"/>
                  </a:lnTo>
                  <a:cubicBezTo>
                    <a:pt x="127602" y="28913"/>
                    <a:pt x="121175" y="31874"/>
                    <a:pt x="114873" y="35022"/>
                  </a:cubicBezTo>
                  <a:cubicBezTo>
                    <a:pt x="108212" y="38393"/>
                    <a:pt x="101610" y="42008"/>
                    <a:pt x="95314" y="45841"/>
                  </a:cubicBezTo>
                  <a:lnTo>
                    <a:pt x="96032" y="46251"/>
                  </a:lnTo>
                  <a:cubicBezTo>
                    <a:pt x="102184" y="42501"/>
                    <a:pt x="108640" y="38965"/>
                    <a:pt x="115152" y="35669"/>
                  </a:cubicBezTo>
                  <a:cubicBezTo>
                    <a:pt x="121310" y="32593"/>
                    <a:pt x="127589" y="29701"/>
                    <a:pt x="133840" y="27139"/>
                  </a:cubicBezTo>
                  <a:lnTo>
                    <a:pt x="133840" y="27139"/>
                  </a:lnTo>
                  <a:lnTo>
                    <a:pt x="133815" y="27268"/>
                  </a:lnTo>
                  <a:cubicBezTo>
                    <a:pt x="125332" y="30760"/>
                    <a:pt x="116845" y="34768"/>
                    <a:pt x="108739" y="39119"/>
                  </a:cubicBezTo>
                  <a:cubicBezTo>
                    <a:pt x="100179" y="43709"/>
                    <a:pt x="91837" y="48766"/>
                    <a:pt x="84118" y="54056"/>
                  </a:cubicBezTo>
                  <a:cubicBezTo>
                    <a:pt x="76641" y="59193"/>
                    <a:pt x="69698" y="64608"/>
                    <a:pt x="63560" y="70057"/>
                  </a:cubicBezTo>
                  <a:lnTo>
                    <a:pt x="63333" y="70079"/>
                  </a:lnTo>
                  <a:cubicBezTo>
                    <a:pt x="67921" y="66018"/>
                    <a:pt x="72891" y="61994"/>
                    <a:pt x="78229" y="58096"/>
                  </a:cubicBezTo>
                  <a:cubicBezTo>
                    <a:pt x="83832" y="54005"/>
                    <a:pt x="89801" y="50016"/>
                    <a:pt x="96031" y="46251"/>
                  </a:cubicBezTo>
                  <a:lnTo>
                    <a:pt x="95314" y="45842"/>
                  </a:lnTo>
                  <a:cubicBezTo>
                    <a:pt x="88938" y="49692"/>
                    <a:pt x="82823" y="53772"/>
                    <a:pt x="77079" y="57958"/>
                  </a:cubicBezTo>
                  <a:cubicBezTo>
                    <a:pt x="71601" y="61952"/>
                    <a:pt x="66493" y="66075"/>
                    <a:pt x="61778" y="70237"/>
                  </a:cubicBezTo>
                  <a:lnTo>
                    <a:pt x="61098" y="70305"/>
                  </a:lnTo>
                  <a:cubicBezTo>
                    <a:pt x="65868" y="66100"/>
                    <a:pt x="71037" y="61933"/>
                    <a:pt x="76577" y="57897"/>
                  </a:cubicBezTo>
                  <a:cubicBezTo>
                    <a:pt x="82381" y="53671"/>
                    <a:pt x="88562" y="49550"/>
                    <a:pt x="95000" y="45663"/>
                  </a:cubicBezTo>
                  <a:lnTo>
                    <a:pt x="94843" y="45573"/>
                  </a:lnTo>
                  <a:lnTo>
                    <a:pt x="95001" y="45663"/>
                  </a:lnTo>
                  <a:cubicBezTo>
                    <a:pt x="101360" y="41793"/>
                    <a:pt x="108026" y="38143"/>
                    <a:pt x="114751" y="34740"/>
                  </a:cubicBezTo>
                  <a:cubicBezTo>
                    <a:pt x="121116" y="31560"/>
                    <a:pt x="127609" y="28569"/>
                    <a:pt x="134074" y="25915"/>
                  </a:cubicBezTo>
                  <a:close/>
                  <a:moveTo>
                    <a:pt x="134279" y="24838"/>
                  </a:moveTo>
                  <a:lnTo>
                    <a:pt x="134172" y="25398"/>
                  </a:lnTo>
                  <a:cubicBezTo>
                    <a:pt x="127616" y="28091"/>
                    <a:pt x="121035" y="31125"/>
                    <a:pt x="114581" y="34348"/>
                  </a:cubicBezTo>
                  <a:cubicBezTo>
                    <a:pt x="107767" y="37797"/>
                    <a:pt x="101014" y="41495"/>
                    <a:pt x="94567" y="45415"/>
                  </a:cubicBezTo>
                  <a:lnTo>
                    <a:pt x="94567" y="45415"/>
                  </a:lnTo>
                  <a:lnTo>
                    <a:pt x="94567" y="45415"/>
                  </a:lnTo>
                  <a:cubicBezTo>
                    <a:pt x="88037" y="49353"/>
                    <a:pt x="81770" y="53529"/>
                    <a:pt x="75880" y="57813"/>
                  </a:cubicBezTo>
                  <a:cubicBezTo>
                    <a:pt x="70253" y="61907"/>
                    <a:pt x="65003" y="66134"/>
                    <a:pt x="60154" y="70400"/>
                  </a:cubicBezTo>
                  <a:lnTo>
                    <a:pt x="59154" y="70501"/>
                  </a:lnTo>
                  <a:lnTo>
                    <a:pt x="61433" y="68510"/>
                  </a:lnTo>
                  <a:cubicBezTo>
                    <a:pt x="61140" y="68159"/>
                    <a:pt x="60867" y="67793"/>
                    <a:pt x="60617" y="67410"/>
                  </a:cubicBezTo>
                  <a:cubicBezTo>
                    <a:pt x="61408" y="66746"/>
                    <a:pt x="62196" y="66083"/>
                    <a:pt x="63023" y="65422"/>
                  </a:cubicBezTo>
                  <a:lnTo>
                    <a:pt x="63670" y="64904"/>
                  </a:lnTo>
                  <a:cubicBezTo>
                    <a:pt x="64531" y="64219"/>
                    <a:pt x="65350" y="63537"/>
                    <a:pt x="66236" y="62858"/>
                  </a:cubicBezTo>
                  <a:lnTo>
                    <a:pt x="68430" y="61163"/>
                  </a:lnTo>
                  <a:cubicBezTo>
                    <a:pt x="69610" y="60788"/>
                    <a:pt x="70779" y="60426"/>
                    <a:pt x="71950" y="60083"/>
                  </a:cubicBezTo>
                  <a:cubicBezTo>
                    <a:pt x="73165" y="59183"/>
                    <a:pt x="74337" y="58281"/>
                    <a:pt x="75592" y="57393"/>
                  </a:cubicBezTo>
                  <a:cubicBezTo>
                    <a:pt x="76825" y="56506"/>
                    <a:pt x="78042" y="55620"/>
                    <a:pt x="79317" y="54747"/>
                  </a:cubicBezTo>
                  <a:cubicBezTo>
                    <a:pt x="79312" y="54268"/>
                    <a:pt x="79323" y="53775"/>
                    <a:pt x="79362" y="53271"/>
                  </a:cubicBezTo>
                  <a:cubicBezTo>
                    <a:pt x="79980" y="52848"/>
                    <a:pt x="80601" y="52426"/>
                    <a:pt x="81223" y="52006"/>
                  </a:cubicBezTo>
                  <a:lnTo>
                    <a:pt x="83321" y="50602"/>
                  </a:lnTo>
                  <a:lnTo>
                    <a:pt x="85456" y="49217"/>
                  </a:lnTo>
                  <a:cubicBezTo>
                    <a:pt x="86328" y="48645"/>
                    <a:pt x="87218" y="48080"/>
                    <a:pt x="88111" y="47519"/>
                  </a:cubicBezTo>
                  <a:cubicBezTo>
                    <a:pt x="89127" y="47328"/>
                    <a:pt x="90128" y="47151"/>
                    <a:pt x="91101" y="46988"/>
                  </a:cubicBezTo>
                  <a:cubicBezTo>
                    <a:pt x="92081" y="46364"/>
                    <a:pt x="93099" y="45760"/>
                    <a:pt x="94101" y="45149"/>
                  </a:cubicBezTo>
                  <a:cubicBezTo>
                    <a:pt x="95426" y="44335"/>
                    <a:pt x="96782" y="43545"/>
                    <a:pt x="98135" y="42754"/>
                  </a:cubicBezTo>
                  <a:cubicBezTo>
                    <a:pt x="98383" y="42176"/>
                    <a:pt x="98662" y="41591"/>
                    <a:pt x="98965" y="41000"/>
                  </a:cubicBezTo>
                  <a:cubicBezTo>
                    <a:pt x="102037" y="39241"/>
                    <a:pt x="105147" y="37526"/>
                    <a:pt x="108294" y="35858"/>
                  </a:cubicBezTo>
                  <a:cubicBezTo>
                    <a:pt x="109120" y="35831"/>
                    <a:pt x="109927" y="35817"/>
                    <a:pt x="110713" y="35816"/>
                  </a:cubicBezTo>
                  <a:cubicBezTo>
                    <a:pt x="112117" y="35102"/>
                    <a:pt x="113514" y="34373"/>
                    <a:pt x="114923" y="33671"/>
                  </a:cubicBezTo>
                  <a:cubicBezTo>
                    <a:pt x="116337" y="32980"/>
                    <a:pt x="117742" y="32262"/>
                    <a:pt x="119162" y="31593"/>
                  </a:cubicBezTo>
                  <a:cubicBezTo>
                    <a:pt x="119680" y="30943"/>
                    <a:pt x="120221" y="30277"/>
                    <a:pt x="120784" y="29606"/>
                  </a:cubicBezTo>
                  <a:lnTo>
                    <a:pt x="121798" y="29122"/>
                  </a:lnTo>
                  <a:lnTo>
                    <a:pt x="123377" y="28396"/>
                  </a:lnTo>
                  <a:cubicBezTo>
                    <a:pt x="124431" y="27917"/>
                    <a:pt x="125486" y="27415"/>
                    <a:pt x="126542" y="26953"/>
                  </a:cubicBezTo>
                  <a:lnTo>
                    <a:pt x="127318" y="26610"/>
                  </a:lnTo>
                  <a:cubicBezTo>
                    <a:pt x="128355" y="26149"/>
                    <a:pt x="129392" y="25693"/>
                    <a:pt x="130432" y="25244"/>
                  </a:cubicBezTo>
                  <a:cubicBezTo>
                    <a:pt x="131041" y="25389"/>
                    <a:pt x="131629" y="25547"/>
                    <a:pt x="132194" y="25713"/>
                  </a:cubicBezTo>
                  <a:lnTo>
                    <a:pt x="133811" y="25028"/>
                  </a:lnTo>
                  <a:lnTo>
                    <a:pt x="134279" y="24838"/>
                  </a:lnTo>
                  <a:close/>
                  <a:moveTo>
                    <a:pt x="59414" y="68415"/>
                  </a:moveTo>
                  <a:cubicBezTo>
                    <a:pt x="59576" y="68641"/>
                    <a:pt x="59749" y="68858"/>
                    <a:pt x="59933" y="69067"/>
                  </a:cubicBezTo>
                  <a:lnTo>
                    <a:pt x="58177" y="70601"/>
                  </a:lnTo>
                  <a:lnTo>
                    <a:pt x="56718" y="70748"/>
                  </a:lnTo>
                  <a:cubicBezTo>
                    <a:pt x="57584" y="69993"/>
                    <a:pt x="58442" y="69242"/>
                    <a:pt x="59321" y="68492"/>
                  </a:cubicBezTo>
                  <a:cubicBezTo>
                    <a:pt x="59353" y="68466"/>
                    <a:pt x="59382" y="68440"/>
                    <a:pt x="59414" y="68415"/>
                  </a:cubicBezTo>
                  <a:close/>
                  <a:moveTo>
                    <a:pt x="60317" y="65484"/>
                  </a:moveTo>
                  <a:cubicBezTo>
                    <a:pt x="59707" y="65972"/>
                    <a:pt x="59102" y="66461"/>
                    <a:pt x="58523" y="66951"/>
                  </a:cubicBezTo>
                  <a:cubicBezTo>
                    <a:pt x="58737" y="67358"/>
                    <a:pt x="58962" y="67750"/>
                    <a:pt x="59215" y="68130"/>
                  </a:cubicBezTo>
                  <a:cubicBezTo>
                    <a:pt x="59160" y="68175"/>
                    <a:pt x="59107" y="68220"/>
                    <a:pt x="59052" y="68265"/>
                  </a:cubicBezTo>
                  <a:cubicBezTo>
                    <a:pt x="58030" y="69112"/>
                    <a:pt x="57082" y="69959"/>
                    <a:pt x="56099" y="70811"/>
                  </a:cubicBezTo>
                  <a:lnTo>
                    <a:pt x="49227" y="71507"/>
                  </a:lnTo>
                  <a:cubicBezTo>
                    <a:pt x="50337" y="70557"/>
                    <a:pt x="51410" y="69614"/>
                    <a:pt x="52560" y="68671"/>
                  </a:cubicBezTo>
                  <a:cubicBezTo>
                    <a:pt x="53832" y="67634"/>
                    <a:pt x="55042" y="66603"/>
                    <a:pt x="56348" y="65574"/>
                  </a:cubicBezTo>
                  <a:lnTo>
                    <a:pt x="57256" y="65554"/>
                  </a:lnTo>
                  <a:lnTo>
                    <a:pt x="60317" y="65484"/>
                  </a:lnTo>
                  <a:close/>
                  <a:moveTo>
                    <a:pt x="72344" y="70531"/>
                  </a:moveTo>
                  <a:lnTo>
                    <a:pt x="71588" y="71257"/>
                  </a:lnTo>
                  <a:lnTo>
                    <a:pt x="76118" y="70674"/>
                  </a:lnTo>
                  <a:lnTo>
                    <a:pt x="76118" y="70674"/>
                  </a:lnTo>
                  <a:cubicBezTo>
                    <a:pt x="75610" y="71164"/>
                    <a:pt x="75113" y="71655"/>
                    <a:pt x="74629" y="72144"/>
                  </a:cubicBezTo>
                  <a:lnTo>
                    <a:pt x="68852" y="73026"/>
                  </a:lnTo>
                  <a:cubicBezTo>
                    <a:pt x="69655" y="72231"/>
                    <a:pt x="70480" y="71436"/>
                    <a:pt x="71326" y="70641"/>
                  </a:cubicBezTo>
                  <a:lnTo>
                    <a:pt x="72344" y="70531"/>
                  </a:lnTo>
                  <a:close/>
                  <a:moveTo>
                    <a:pt x="57195" y="71459"/>
                  </a:moveTo>
                  <a:lnTo>
                    <a:pt x="55373" y="73121"/>
                  </a:lnTo>
                  <a:cubicBezTo>
                    <a:pt x="54595" y="73434"/>
                    <a:pt x="53808" y="73756"/>
                    <a:pt x="53018" y="74080"/>
                  </a:cubicBezTo>
                  <a:cubicBezTo>
                    <a:pt x="53909" y="73254"/>
                    <a:pt x="54814" y="72429"/>
                    <a:pt x="55734" y="71605"/>
                  </a:cubicBezTo>
                  <a:lnTo>
                    <a:pt x="57195" y="71459"/>
                  </a:lnTo>
                  <a:close/>
                  <a:moveTo>
                    <a:pt x="138736" y="1517"/>
                  </a:moveTo>
                  <a:lnTo>
                    <a:pt x="135585" y="18011"/>
                  </a:lnTo>
                  <a:cubicBezTo>
                    <a:pt x="132521" y="19283"/>
                    <a:pt x="129463" y="20607"/>
                    <a:pt x="126410" y="21982"/>
                  </a:cubicBezTo>
                  <a:lnTo>
                    <a:pt x="126410" y="21982"/>
                  </a:lnTo>
                  <a:lnTo>
                    <a:pt x="126410" y="21981"/>
                  </a:lnTo>
                  <a:lnTo>
                    <a:pt x="126410" y="21982"/>
                  </a:lnTo>
                  <a:cubicBezTo>
                    <a:pt x="126410" y="21982"/>
                    <a:pt x="126410" y="21982"/>
                    <a:pt x="126410" y="21982"/>
                  </a:cubicBezTo>
                  <a:lnTo>
                    <a:pt x="126410" y="21982"/>
                  </a:lnTo>
                  <a:lnTo>
                    <a:pt x="126458" y="23791"/>
                  </a:lnTo>
                  <a:cubicBezTo>
                    <a:pt x="125313" y="24295"/>
                    <a:pt x="124169" y="24838"/>
                    <a:pt x="123026" y="25359"/>
                  </a:cubicBezTo>
                  <a:lnTo>
                    <a:pt x="121313" y="26149"/>
                  </a:lnTo>
                  <a:lnTo>
                    <a:pt x="119605" y="26963"/>
                  </a:lnTo>
                  <a:lnTo>
                    <a:pt x="119453" y="26242"/>
                  </a:lnTo>
                  <a:cubicBezTo>
                    <a:pt x="115727" y="27996"/>
                    <a:pt x="112034" y="29866"/>
                    <a:pt x="108360" y="31752"/>
                  </a:cubicBezTo>
                  <a:lnTo>
                    <a:pt x="108360" y="31752"/>
                  </a:lnTo>
                  <a:lnTo>
                    <a:pt x="107886" y="30947"/>
                  </a:lnTo>
                  <a:cubicBezTo>
                    <a:pt x="102614" y="33690"/>
                    <a:pt x="97398" y="36564"/>
                    <a:pt x="92294" y="39540"/>
                  </a:cubicBezTo>
                  <a:lnTo>
                    <a:pt x="93807" y="40600"/>
                  </a:lnTo>
                  <a:cubicBezTo>
                    <a:pt x="92717" y="41235"/>
                    <a:pt x="91625" y="41869"/>
                    <a:pt x="90557" y="42521"/>
                  </a:cubicBezTo>
                  <a:cubicBezTo>
                    <a:pt x="89485" y="43172"/>
                    <a:pt x="88398" y="43815"/>
                    <a:pt x="87333" y="44473"/>
                  </a:cubicBezTo>
                  <a:lnTo>
                    <a:pt x="86546" y="44088"/>
                  </a:lnTo>
                  <a:cubicBezTo>
                    <a:pt x="84815" y="45173"/>
                    <a:pt x="83043" y="46247"/>
                    <a:pt x="81344" y="47355"/>
                  </a:cubicBezTo>
                  <a:lnTo>
                    <a:pt x="78762" y="49014"/>
                  </a:lnTo>
                  <a:lnTo>
                    <a:pt x="76222" y="50700"/>
                  </a:lnTo>
                  <a:lnTo>
                    <a:pt x="74920" y="50361"/>
                  </a:lnTo>
                  <a:cubicBezTo>
                    <a:pt x="70022" y="53623"/>
                    <a:pt x="65262" y="56981"/>
                    <a:pt x="60696" y="60397"/>
                  </a:cubicBezTo>
                  <a:lnTo>
                    <a:pt x="63676" y="60556"/>
                  </a:lnTo>
                  <a:lnTo>
                    <a:pt x="60794" y="62760"/>
                  </a:lnTo>
                  <a:cubicBezTo>
                    <a:pt x="59822" y="63500"/>
                    <a:pt x="58915" y="64243"/>
                    <a:pt x="57968" y="64988"/>
                  </a:cubicBezTo>
                  <a:lnTo>
                    <a:pt x="56547" y="65009"/>
                  </a:lnTo>
                  <a:cubicBezTo>
                    <a:pt x="54972" y="66236"/>
                    <a:pt x="53512" y="67466"/>
                    <a:pt x="51998" y="68706"/>
                  </a:cubicBezTo>
                  <a:cubicBezTo>
                    <a:pt x="50846" y="69658"/>
                    <a:pt x="49747" y="70608"/>
                    <a:pt x="48633" y="71566"/>
                  </a:cubicBezTo>
                  <a:lnTo>
                    <a:pt x="15015" y="74969"/>
                  </a:lnTo>
                  <a:lnTo>
                    <a:pt x="15484" y="74590"/>
                  </a:lnTo>
                  <a:cubicBezTo>
                    <a:pt x="17479" y="72985"/>
                    <a:pt x="19522" y="71340"/>
                    <a:pt x="21618" y="69725"/>
                  </a:cubicBezTo>
                  <a:lnTo>
                    <a:pt x="22203" y="69272"/>
                  </a:lnTo>
                  <a:cubicBezTo>
                    <a:pt x="23205" y="68494"/>
                    <a:pt x="24204" y="67719"/>
                    <a:pt x="25215" y="66946"/>
                  </a:cubicBezTo>
                  <a:lnTo>
                    <a:pt x="30685" y="62838"/>
                  </a:lnTo>
                  <a:lnTo>
                    <a:pt x="32526" y="61493"/>
                  </a:lnTo>
                  <a:lnTo>
                    <a:pt x="36228" y="58806"/>
                  </a:lnTo>
                  <a:cubicBezTo>
                    <a:pt x="37372" y="57988"/>
                    <a:pt x="38541" y="57164"/>
                    <a:pt x="39706" y="56344"/>
                  </a:cubicBezTo>
                  <a:lnTo>
                    <a:pt x="39959" y="56166"/>
                  </a:lnTo>
                  <a:cubicBezTo>
                    <a:pt x="41335" y="55195"/>
                    <a:pt x="42495" y="54382"/>
                    <a:pt x="43699" y="53561"/>
                  </a:cubicBezTo>
                  <a:lnTo>
                    <a:pt x="47493" y="50970"/>
                  </a:lnTo>
                  <a:cubicBezTo>
                    <a:pt x="48455" y="50320"/>
                    <a:pt x="49456" y="49654"/>
                    <a:pt x="50423" y="49013"/>
                  </a:cubicBezTo>
                  <a:lnTo>
                    <a:pt x="51299" y="48432"/>
                  </a:lnTo>
                  <a:cubicBezTo>
                    <a:pt x="53477" y="46975"/>
                    <a:pt x="55747" y="45517"/>
                    <a:pt x="57932" y="44112"/>
                  </a:cubicBezTo>
                  <a:lnTo>
                    <a:pt x="58972" y="43445"/>
                  </a:lnTo>
                  <a:cubicBezTo>
                    <a:pt x="64695" y="39818"/>
                    <a:pt x="69780" y="36703"/>
                    <a:pt x="74534" y="33914"/>
                  </a:cubicBezTo>
                  <a:cubicBezTo>
                    <a:pt x="84614" y="27958"/>
                    <a:pt x="95311" y="22120"/>
                    <a:pt x="106434" y="16500"/>
                  </a:cubicBezTo>
                  <a:cubicBezTo>
                    <a:pt x="112686" y="13369"/>
                    <a:pt x="117865" y="10866"/>
                    <a:pt x="122736" y="8623"/>
                  </a:cubicBezTo>
                  <a:cubicBezTo>
                    <a:pt x="124896" y="7609"/>
                    <a:pt x="127093" y="6623"/>
                    <a:pt x="129222" y="5668"/>
                  </a:cubicBezTo>
                  <a:cubicBezTo>
                    <a:pt x="129815" y="5402"/>
                    <a:pt x="130407" y="5136"/>
                    <a:pt x="130999" y="4870"/>
                  </a:cubicBezTo>
                  <a:cubicBezTo>
                    <a:pt x="132365" y="4268"/>
                    <a:pt x="133750" y="3665"/>
                    <a:pt x="135138" y="3061"/>
                  </a:cubicBezTo>
                  <a:lnTo>
                    <a:pt x="137224" y="2157"/>
                  </a:lnTo>
                  <a:lnTo>
                    <a:pt x="138736" y="1517"/>
                  </a:lnTo>
                  <a:close/>
                  <a:moveTo>
                    <a:pt x="95039" y="68235"/>
                  </a:moveTo>
                  <a:lnTo>
                    <a:pt x="95039" y="68235"/>
                  </a:lnTo>
                  <a:cubicBezTo>
                    <a:pt x="92606" y="70693"/>
                    <a:pt x="90663" y="73071"/>
                    <a:pt x="89136" y="75475"/>
                  </a:cubicBezTo>
                  <a:lnTo>
                    <a:pt x="88654" y="75623"/>
                  </a:lnTo>
                  <a:cubicBezTo>
                    <a:pt x="89964" y="73524"/>
                    <a:pt x="91712" y="71325"/>
                    <a:pt x="93874" y="69089"/>
                  </a:cubicBezTo>
                  <a:lnTo>
                    <a:pt x="93874" y="69089"/>
                  </a:lnTo>
                  <a:lnTo>
                    <a:pt x="92784" y="69252"/>
                  </a:lnTo>
                  <a:cubicBezTo>
                    <a:pt x="90539" y="71566"/>
                    <a:pt x="88721" y="73846"/>
                    <a:pt x="87356" y="76022"/>
                  </a:cubicBezTo>
                  <a:lnTo>
                    <a:pt x="86628" y="76246"/>
                  </a:lnTo>
                  <a:lnTo>
                    <a:pt x="84811" y="76808"/>
                  </a:lnTo>
                  <a:cubicBezTo>
                    <a:pt x="86286" y="74478"/>
                    <a:pt x="88243" y="72042"/>
                    <a:pt x="90651" y="69571"/>
                  </a:cubicBezTo>
                  <a:lnTo>
                    <a:pt x="90651" y="69571"/>
                  </a:lnTo>
                  <a:lnTo>
                    <a:pt x="89576" y="69732"/>
                  </a:lnTo>
                  <a:cubicBezTo>
                    <a:pt x="87084" y="72281"/>
                    <a:pt x="85057" y="74798"/>
                    <a:pt x="83525" y="77204"/>
                  </a:cubicBezTo>
                  <a:lnTo>
                    <a:pt x="80799" y="78045"/>
                  </a:lnTo>
                  <a:lnTo>
                    <a:pt x="80949" y="77810"/>
                  </a:lnTo>
                  <a:lnTo>
                    <a:pt x="81524" y="76910"/>
                  </a:lnTo>
                  <a:cubicBezTo>
                    <a:pt x="81740" y="76604"/>
                    <a:pt x="81995" y="76288"/>
                    <a:pt x="82227" y="75979"/>
                  </a:cubicBezTo>
                  <a:lnTo>
                    <a:pt x="83635" y="74131"/>
                  </a:lnTo>
                  <a:cubicBezTo>
                    <a:pt x="84149" y="73509"/>
                    <a:pt x="84731" y="72874"/>
                    <a:pt x="85271" y="72249"/>
                  </a:cubicBezTo>
                  <a:cubicBezTo>
                    <a:pt x="86116" y="71222"/>
                    <a:pt x="87203" y="70160"/>
                    <a:pt x="88244" y="69111"/>
                  </a:cubicBezTo>
                  <a:lnTo>
                    <a:pt x="95039" y="68235"/>
                  </a:lnTo>
                  <a:close/>
                  <a:moveTo>
                    <a:pt x="86673" y="69313"/>
                  </a:moveTo>
                  <a:cubicBezTo>
                    <a:pt x="85585" y="70405"/>
                    <a:pt x="84453" y="71510"/>
                    <a:pt x="83564" y="72580"/>
                  </a:cubicBezTo>
                  <a:cubicBezTo>
                    <a:pt x="82999" y="73231"/>
                    <a:pt x="82391" y="73892"/>
                    <a:pt x="81853" y="74540"/>
                  </a:cubicBezTo>
                  <a:lnTo>
                    <a:pt x="80374" y="76468"/>
                  </a:lnTo>
                  <a:cubicBezTo>
                    <a:pt x="80130" y="76790"/>
                    <a:pt x="79865" y="77120"/>
                    <a:pt x="79638" y="77438"/>
                  </a:cubicBezTo>
                  <a:lnTo>
                    <a:pt x="79030" y="78378"/>
                  </a:lnTo>
                  <a:lnTo>
                    <a:pt x="78858" y="78643"/>
                  </a:lnTo>
                  <a:lnTo>
                    <a:pt x="75927" y="79547"/>
                  </a:lnTo>
                  <a:cubicBezTo>
                    <a:pt x="77809" y="76729"/>
                    <a:pt x="80255" y="73792"/>
                    <a:pt x="83102" y="70849"/>
                  </a:cubicBezTo>
                  <a:lnTo>
                    <a:pt x="83102" y="70849"/>
                  </a:lnTo>
                  <a:lnTo>
                    <a:pt x="75371" y="72030"/>
                  </a:lnTo>
                  <a:cubicBezTo>
                    <a:pt x="75848" y="71549"/>
                    <a:pt x="76336" y="71065"/>
                    <a:pt x="76836" y="70581"/>
                  </a:cubicBezTo>
                  <a:lnTo>
                    <a:pt x="86673" y="69313"/>
                  </a:lnTo>
                  <a:close/>
                  <a:moveTo>
                    <a:pt x="144958" y="48998"/>
                  </a:moveTo>
                  <a:cubicBezTo>
                    <a:pt x="148513" y="48998"/>
                    <a:pt x="151091" y="49892"/>
                    <a:pt x="152184" y="51611"/>
                  </a:cubicBezTo>
                  <a:cubicBezTo>
                    <a:pt x="153694" y="53908"/>
                    <a:pt x="152466" y="57637"/>
                    <a:pt x="148731" y="61803"/>
                  </a:cubicBezTo>
                  <a:cubicBezTo>
                    <a:pt x="144937" y="66064"/>
                    <a:pt x="138694" y="70584"/>
                    <a:pt x="131762" y="74056"/>
                  </a:cubicBezTo>
                  <a:cubicBezTo>
                    <a:pt x="124837" y="77545"/>
                    <a:pt x="117613" y="79788"/>
                    <a:pt x="112146" y="80179"/>
                  </a:cubicBezTo>
                  <a:cubicBezTo>
                    <a:pt x="111533" y="80225"/>
                    <a:pt x="110945" y="80248"/>
                    <a:pt x="110383" y="80248"/>
                  </a:cubicBezTo>
                  <a:cubicBezTo>
                    <a:pt x="106038" y="80248"/>
                    <a:pt x="103275" y="78887"/>
                    <a:pt x="102690" y="76476"/>
                  </a:cubicBezTo>
                  <a:cubicBezTo>
                    <a:pt x="102012" y="73859"/>
                    <a:pt x="103956" y="70057"/>
                    <a:pt x="107906" y="66103"/>
                  </a:cubicBezTo>
                  <a:cubicBezTo>
                    <a:pt x="111745" y="62239"/>
                    <a:pt x="117470" y="58265"/>
                    <a:pt x="123600" y="55193"/>
                  </a:cubicBezTo>
                  <a:cubicBezTo>
                    <a:pt x="129724" y="52107"/>
                    <a:pt x="136231" y="49935"/>
                    <a:pt x="141449" y="49249"/>
                  </a:cubicBezTo>
                  <a:cubicBezTo>
                    <a:pt x="142700" y="49081"/>
                    <a:pt x="143875" y="48998"/>
                    <a:pt x="144958" y="48998"/>
                  </a:cubicBezTo>
                  <a:close/>
                  <a:moveTo>
                    <a:pt x="50892" y="75541"/>
                  </a:moveTo>
                  <a:cubicBezTo>
                    <a:pt x="49028" y="77306"/>
                    <a:pt x="47244" y="79073"/>
                    <a:pt x="45511" y="80843"/>
                  </a:cubicBezTo>
                  <a:lnTo>
                    <a:pt x="44131" y="81125"/>
                  </a:lnTo>
                  <a:cubicBezTo>
                    <a:pt x="44071" y="81095"/>
                    <a:pt x="44009" y="81066"/>
                    <a:pt x="43949" y="81037"/>
                  </a:cubicBezTo>
                  <a:cubicBezTo>
                    <a:pt x="44660" y="80296"/>
                    <a:pt x="45441" y="79543"/>
                    <a:pt x="46180" y="78801"/>
                  </a:cubicBezTo>
                  <a:lnTo>
                    <a:pt x="47300" y="77692"/>
                  </a:lnTo>
                  <a:lnTo>
                    <a:pt x="48472" y="76580"/>
                  </a:lnTo>
                  <a:cubicBezTo>
                    <a:pt x="49288" y="76228"/>
                    <a:pt x="50092" y="75882"/>
                    <a:pt x="50892" y="75541"/>
                  </a:cubicBezTo>
                  <a:close/>
                  <a:moveTo>
                    <a:pt x="44975" y="81406"/>
                  </a:moveTo>
                  <a:lnTo>
                    <a:pt x="44975" y="81406"/>
                  </a:lnTo>
                  <a:cubicBezTo>
                    <a:pt x="44950" y="81432"/>
                    <a:pt x="44925" y="81459"/>
                    <a:pt x="44900" y="81487"/>
                  </a:cubicBezTo>
                  <a:cubicBezTo>
                    <a:pt x="44866" y="81472"/>
                    <a:pt x="44832" y="81457"/>
                    <a:pt x="44800" y="81442"/>
                  </a:cubicBezTo>
                  <a:lnTo>
                    <a:pt x="44975" y="81406"/>
                  </a:lnTo>
                  <a:close/>
                  <a:moveTo>
                    <a:pt x="80374" y="72310"/>
                  </a:moveTo>
                  <a:lnTo>
                    <a:pt x="80374" y="72310"/>
                  </a:lnTo>
                  <a:cubicBezTo>
                    <a:pt x="77913" y="74955"/>
                    <a:pt x="75817" y="77570"/>
                    <a:pt x="74099" y="80111"/>
                  </a:cubicBezTo>
                  <a:lnTo>
                    <a:pt x="66662" y="82404"/>
                  </a:lnTo>
                  <a:cubicBezTo>
                    <a:pt x="68636" y="79509"/>
                    <a:pt x="71094" y="76498"/>
                    <a:pt x="74020" y="73422"/>
                  </a:cubicBezTo>
                  <a:lnTo>
                    <a:pt x="80374" y="72310"/>
                  </a:lnTo>
                  <a:close/>
                  <a:moveTo>
                    <a:pt x="54525" y="72203"/>
                  </a:moveTo>
                  <a:lnTo>
                    <a:pt x="54525" y="72203"/>
                  </a:lnTo>
                  <a:cubicBezTo>
                    <a:pt x="53665" y="72968"/>
                    <a:pt x="52824" y="73734"/>
                    <a:pt x="52000" y="74501"/>
                  </a:cubicBezTo>
                  <a:cubicBezTo>
                    <a:pt x="51898" y="74543"/>
                    <a:pt x="51797" y="74584"/>
                    <a:pt x="51695" y="74627"/>
                  </a:cubicBezTo>
                  <a:cubicBezTo>
                    <a:pt x="50478" y="75139"/>
                    <a:pt x="49247" y="75665"/>
                    <a:pt x="48001" y="76207"/>
                  </a:cubicBezTo>
                  <a:cubicBezTo>
                    <a:pt x="47015" y="77135"/>
                    <a:pt x="46020" y="78069"/>
                    <a:pt x="45102" y="78996"/>
                  </a:cubicBezTo>
                  <a:cubicBezTo>
                    <a:pt x="44293" y="79802"/>
                    <a:pt x="43454" y="80616"/>
                    <a:pt x="42677" y="81421"/>
                  </a:cubicBezTo>
                  <a:lnTo>
                    <a:pt x="34936" y="83003"/>
                  </a:lnTo>
                  <a:cubicBezTo>
                    <a:pt x="38226" y="79724"/>
                    <a:pt x="41666" y="76462"/>
                    <a:pt x="45370" y="73225"/>
                  </a:cubicBezTo>
                  <a:lnTo>
                    <a:pt x="54525" y="72203"/>
                  </a:lnTo>
                  <a:close/>
                  <a:moveTo>
                    <a:pt x="73256" y="73556"/>
                  </a:moveTo>
                  <a:lnTo>
                    <a:pt x="73256" y="73556"/>
                  </a:lnTo>
                  <a:cubicBezTo>
                    <a:pt x="70279" y="76680"/>
                    <a:pt x="67773" y="79740"/>
                    <a:pt x="65761" y="82683"/>
                  </a:cubicBezTo>
                  <a:lnTo>
                    <a:pt x="59949" y="84474"/>
                  </a:lnTo>
                  <a:cubicBezTo>
                    <a:pt x="62296" y="81178"/>
                    <a:pt x="65125" y="77799"/>
                    <a:pt x="68391" y="74407"/>
                  </a:cubicBezTo>
                  <a:lnTo>
                    <a:pt x="73256" y="73556"/>
                  </a:lnTo>
                  <a:close/>
                  <a:moveTo>
                    <a:pt x="155717" y="40491"/>
                  </a:moveTo>
                  <a:cubicBezTo>
                    <a:pt x="155867" y="40491"/>
                    <a:pt x="156012" y="40494"/>
                    <a:pt x="156151" y="40501"/>
                  </a:cubicBezTo>
                  <a:cubicBezTo>
                    <a:pt x="157294" y="40519"/>
                    <a:pt x="158747" y="40570"/>
                    <a:pt x="159985" y="40808"/>
                  </a:cubicBezTo>
                  <a:cubicBezTo>
                    <a:pt x="160760" y="40950"/>
                    <a:pt x="161561" y="41108"/>
                    <a:pt x="162289" y="41324"/>
                  </a:cubicBezTo>
                  <a:lnTo>
                    <a:pt x="156287" y="45233"/>
                  </a:lnTo>
                  <a:lnTo>
                    <a:pt x="156277" y="45231"/>
                  </a:lnTo>
                  <a:lnTo>
                    <a:pt x="152257" y="47852"/>
                  </a:lnTo>
                  <a:cubicBezTo>
                    <a:pt x="152325" y="47873"/>
                    <a:pt x="152406" y="47887"/>
                    <a:pt x="152460" y="47918"/>
                  </a:cubicBezTo>
                  <a:lnTo>
                    <a:pt x="152926" y="47618"/>
                  </a:lnTo>
                  <a:cubicBezTo>
                    <a:pt x="153017" y="47663"/>
                    <a:pt x="153089" y="47720"/>
                    <a:pt x="153190" y="47759"/>
                  </a:cubicBezTo>
                  <a:lnTo>
                    <a:pt x="153485" y="47896"/>
                  </a:lnTo>
                  <a:lnTo>
                    <a:pt x="153026" y="48180"/>
                  </a:lnTo>
                  <a:lnTo>
                    <a:pt x="153208" y="48263"/>
                  </a:lnTo>
                  <a:lnTo>
                    <a:pt x="157406" y="45693"/>
                  </a:lnTo>
                  <a:lnTo>
                    <a:pt x="157383" y="45682"/>
                  </a:lnTo>
                  <a:lnTo>
                    <a:pt x="163654" y="41842"/>
                  </a:lnTo>
                  <a:cubicBezTo>
                    <a:pt x="164442" y="42198"/>
                    <a:pt x="165143" y="42599"/>
                    <a:pt x="165745" y="43040"/>
                  </a:cubicBezTo>
                  <a:cubicBezTo>
                    <a:pt x="168183" y="45033"/>
                    <a:pt x="168919" y="48073"/>
                    <a:pt x="167724" y="51632"/>
                  </a:cubicBezTo>
                  <a:lnTo>
                    <a:pt x="167721" y="51643"/>
                  </a:lnTo>
                  <a:cubicBezTo>
                    <a:pt x="166801" y="54333"/>
                    <a:pt x="165103" y="57122"/>
                    <a:pt x="162515" y="60161"/>
                  </a:cubicBezTo>
                  <a:lnTo>
                    <a:pt x="162200" y="60531"/>
                  </a:lnTo>
                  <a:lnTo>
                    <a:pt x="162193" y="60538"/>
                  </a:lnTo>
                  <a:cubicBezTo>
                    <a:pt x="161948" y="60795"/>
                    <a:pt x="161724" y="61051"/>
                    <a:pt x="161501" y="61308"/>
                  </a:cubicBezTo>
                  <a:cubicBezTo>
                    <a:pt x="161202" y="61650"/>
                    <a:pt x="160920" y="61972"/>
                    <a:pt x="160594" y="62285"/>
                  </a:cubicBezTo>
                  <a:lnTo>
                    <a:pt x="159709" y="63220"/>
                  </a:lnTo>
                  <a:cubicBezTo>
                    <a:pt x="159438" y="63471"/>
                    <a:pt x="159120" y="63777"/>
                    <a:pt x="158814" y="64084"/>
                  </a:cubicBezTo>
                  <a:lnTo>
                    <a:pt x="158369" y="64536"/>
                  </a:lnTo>
                  <a:lnTo>
                    <a:pt x="157936" y="64918"/>
                  </a:lnTo>
                  <a:cubicBezTo>
                    <a:pt x="157590" y="65231"/>
                    <a:pt x="157263" y="65538"/>
                    <a:pt x="156946" y="65844"/>
                  </a:cubicBezTo>
                  <a:lnTo>
                    <a:pt x="155866" y="66777"/>
                  </a:lnTo>
                  <a:cubicBezTo>
                    <a:pt x="155583" y="67031"/>
                    <a:pt x="155316" y="67271"/>
                    <a:pt x="155026" y="67492"/>
                  </a:cubicBezTo>
                  <a:cubicBezTo>
                    <a:pt x="154612" y="67826"/>
                    <a:pt x="154248" y="68131"/>
                    <a:pt x="153891" y="68437"/>
                  </a:cubicBezTo>
                  <a:cubicBezTo>
                    <a:pt x="153747" y="68554"/>
                    <a:pt x="153562" y="68695"/>
                    <a:pt x="153378" y="68835"/>
                  </a:cubicBezTo>
                  <a:cubicBezTo>
                    <a:pt x="153184" y="68982"/>
                    <a:pt x="152992" y="69130"/>
                    <a:pt x="152807" y="69279"/>
                  </a:cubicBezTo>
                  <a:cubicBezTo>
                    <a:pt x="152418" y="69608"/>
                    <a:pt x="152002" y="69913"/>
                    <a:pt x="151562" y="70238"/>
                  </a:cubicBezTo>
                  <a:cubicBezTo>
                    <a:pt x="151209" y="70496"/>
                    <a:pt x="150857" y="70755"/>
                    <a:pt x="150523" y="71019"/>
                  </a:cubicBezTo>
                  <a:lnTo>
                    <a:pt x="149782" y="71541"/>
                  </a:lnTo>
                  <a:cubicBezTo>
                    <a:pt x="148474" y="72469"/>
                    <a:pt x="147119" y="73431"/>
                    <a:pt x="145696" y="74320"/>
                  </a:cubicBezTo>
                  <a:cubicBezTo>
                    <a:pt x="142646" y="76324"/>
                    <a:pt x="139069" y="78372"/>
                    <a:pt x="134724" y="80604"/>
                  </a:cubicBezTo>
                  <a:cubicBezTo>
                    <a:pt x="134340" y="80788"/>
                    <a:pt x="133901" y="81002"/>
                    <a:pt x="133462" y="81216"/>
                  </a:cubicBezTo>
                  <a:cubicBezTo>
                    <a:pt x="131932" y="81961"/>
                    <a:pt x="130488" y="82664"/>
                    <a:pt x="129022" y="83279"/>
                  </a:cubicBezTo>
                  <a:cubicBezTo>
                    <a:pt x="128441" y="83554"/>
                    <a:pt x="127950" y="83754"/>
                    <a:pt x="127431" y="83966"/>
                  </a:cubicBezTo>
                  <a:cubicBezTo>
                    <a:pt x="126983" y="84148"/>
                    <a:pt x="126537" y="84330"/>
                    <a:pt x="126090" y="84532"/>
                  </a:cubicBezTo>
                  <a:lnTo>
                    <a:pt x="125748" y="84664"/>
                  </a:lnTo>
                  <a:cubicBezTo>
                    <a:pt x="125387" y="84802"/>
                    <a:pt x="125024" y="84941"/>
                    <a:pt x="124661" y="85088"/>
                  </a:cubicBezTo>
                  <a:lnTo>
                    <a:pt x="124628" y="85101"/>
                  </a:lnTo>
                  <a:lnTo>
                    <a:pt x="125144" y="81157"/>
                  </a:lnTo>
                  <a:cubicBezTo>
                    <a:pt x="128939" y="79677"/>
                    <a:pt x="132790" y="77884"/>
                    <a:pt x="136496" y="75846"/>
                  </a:cubicBezTo>
                  <a:cubicBezTo>
                    <a:pt x="144529" y="71437"/>
                    <a:pt x="151549" y="66064"/>
                    <a:pt x="155968" y="61040"/>
                  </a:cubicBezTo>
                  <a:lnTo>
                    <a:pt x="155968" y="61040"/>
                  </a:lnTo>
                  <a:lnTo>
                    <a:pt x="155846" y="61053"/>
                  </a:lnTo>
                  <a:lnTo>
                    <a:pt x="155846" y="61053"/>
                  </a:lnTo>
                  <a:lnTo>
                    <a:pt x="156093" y="60751"/>
                  </a:lnTo>
                  <a:lnTo>
                    <a:pt x="151812" y="61242"/>
                  </a:lnTo>
                  <a:lnTo>
                    <a:pt x="151600" y="61500"/>
                  </a:lnTo>
                  <a:lnTo>
                    <a:pt x="150639" y="61602"/>
                  </a:lnTo>
                  <a:cubicBezTo>
                    <a:pt x="154680" y="57074"/>
                    <a:pt x="155978" y="53023"/>
                    <a:pt x="154298" y="50550"/>
                  </a:cubicBezTo>
                  <a:cubicBezTo>
                    <a:pt x="153098" y="48713"/>
                    <a:pt x="150305" y="47759"/>
                    <a:pt x="146481" y="47759"/>
                  </a:cubicBezTo>
                  <a:cubicBezTo>
                    <a:pt x="145281" y="47759"/>
                    <a:pt x="143979" y="47853"/>
                    <a:pt x="142593" y="48043"/>
                  </a:cubicBezTo>
                  <a:cubicBezTo>
                    <a:pt x="142300" y="48082"/>
                    <a:pt x="142002" y="48128"/>
                    <a:pt x="141703" y="48175"/>
                  </a:cubicBezTo>
                  <a:cubicBezTo>
                    <a:pt x="141669" y="47850"/>
                    <a:pt x="141606" y="47528"/>
                    <a:pt x="141513" y="47215"/>
                  </a:cubicBezTo>
                  <a:cubicBezTo>
                    <a:pt x="141335" y="46674"/>
                    <a:pt x="141016" y="46215"/>
                    <a:pt x="140622" y="45753"/>
                  </a:cubicBezTo>
                  <a:cubicBezTo>
                    <a:pt x="134052" y="47332"/>
                    <a:pt x="126572" y="50286"/>
                    <a:pt x="119715" y="54008"/>
                  </a:cubicBezTo>
                  <a:cubicBezTo>
                    <a:pt x="113195" y="57542"/>
                    <a:pt x="107161" y="61816"/>
                    <a:pt x="102719" y="66025"/>
                  </a:cubicBezTo>
                  <a:lnTo>
                    <a:pt x="97929" y="66412"/>
                  </a:lnTo>
                  <a:cubicBezTo>
                    <a:pt x="98236" y="66115"/>
                    <a:pt x="98526" y="65834"/>
                    <a:pt x="98845" y="65564"/>
                  </a:cubicBezTo>
                  <a:lnTo>
                    <a:pt x="99731" y="64755"/>
                  </a:lnTo>
                  <a:cubicBezTo>
                    <a:pt x="99994" y="64540"/>
                    <a:pt x="100302" y="64277"/>
                    <a:pt x="100601" y="64016"/>
                  </a:cubicBezTo>
                  <a:lnTo>
                    <a:pt x="101038" y="63629"/>
                  </a:lnTo>
                  <a:lnTo>
                    <a:pt x="101446" y="63303"/>
                  </a:lnTo>
                  <a:cubicBezTo>
                    <a:pt x="101773" y="63039"/>
                    <a:pt x="102083" y="62780"/>
                    <a:pt x="102387" y="62521"/>
                  </a:cubicBezTo>
                  <a:lnTo>
                    <a:pt x="103388" y="61738"/>
                  </a:lnTo>
                  <a:cubicBezTo>
                    <a:pt x="103651" y="61526"/>
                    <a:pt x="103900" y="61326"/>
                    <a:pt x="104160" y="61141"/>
                  </a:cubicBezTo>
                  <a:cubicBezTo>
                    <a:pt x="104534" y="60864"/>
                    <a:pt x="104866" y="60612"/>
                    <a:pt x="105190" y="60358"/>
                  </a:cubicBezTo>
                  <a:cubicBezTo>
                    <a:pt x="105319" y="60261"/>
                    <a:pt x="105484" y="60145"/>
                    <a:pt x="105648" y="60028"/>
                  </a:cubicBezTo>
                  <a:cubicBezTo>
                    <a:pt x="105821" y="59906"/>
                    <a:pt x="105992" y="59784"/>
                    <a:pt x="106158" y="59662"/>
                  </a:cubicBezTo>
                  <a:cubicBezTo>
                    <a:pt x="106509" y="59391"/>
                    <a:pt x="106875" y="59141"/>
                    <a:pt x="107261" y="58874"/>
                  </a:cubicBezTo>
                  <a:cubicBezTo>
                    <a:pt x="107570" y="58661"/>
                    <a:pt x="107879" y="58449"/>
                    <a:pt x="108174" y="58233"/>
                  </a:cubicBezTo>
                  <a:lnTo>
                    <a:pt x="108832" y="57796"/>
                  </a:lnTo>
                  <a:cubicBezTo>
                    <a:pt x="109958" y="57044"/>
                    <a:pt x="111120" y="56268"/>
                    <a:pt x="112318" y="55545"/>
                  </a:cubicBezTo>
                  <a:cubicBezTo>
                    <a:pt x="114892" y="53930"/>
                    <a:pt x="117860" y="52268"/>
                    <a:pt x="121434" y="50437"/>
                  </a:cubicBezTo>
                  <a:cubicBezTo>
                    <a:pt x="121750" y="50284"/>
                    <a:pt x="122114" y="50106"/>
                    <a:pt x="122477" y="49928"/>
                  </a:cubicBezTo>
                  <a:cubicBezTo>
                    <a:pt x="123731" y="49314"/>
                    <a:pt x="124916" y="48734"/>
                    <a:pt x="126120" y="48211"/>
                  </a:cubicBezTo>
                  <a:cubicBezTo>
                    <a:pt x="126598" y="47982"/>
                    <a:pt x="127002" y="47811"/>
                    <a:pt x="127430" y="47628"/>
                  </a:cubicBezTo>
                  <a:cubicBezTo>
                    <a:pt x="127798" y="47473"/>
                    <a:pt x="128167" y="47316"/>
                    <a:pt x="128535" y="47146"/>
                  </a:cubicBezTo>
                  <a:lnTo>
                    <a:pt x="128825" y="47028"/>
                  </a:lnTo>
                  <a:cubicBezTo>
                    <a:pt x="129123" y="46908"/>
                    <a:pt x="129419" y="46787"/>
                    <a:pt x="129716" y="46663"/>
                  </a:cubicBezTo>
                  <a:lnTo>
                    <a:pt x="130144" y="46481"/>
                  </a:lnTo>
                  <a:lnTo>
                    <a:pt x="130144" y="46484"/>
                  </a:lnTo>
                  <a:lnTo>
                    <a:pt x="130875" y="46194"/>
                  </a:lnTo>
                  <a:cubicBezTo>
                    <a:pt x="130914" y="46179"/>
                    <a:pt x="130954" y="46165"/>
                    <a:pt x="130993" y="46149"/>
                  </a:cubicBezTo>
                  <a:lnTo>
                    <a:pt x="131607" y="45914"/>
                  </a:lnTo>
                  <a:lnTo>
                    <a:pt x="131608" y="45910"/>
                  </a:lnTo>
                  <a:cubicBezTo>
                    <a:pt x="138877" y="43084"/>
                    <a:pt x="145639" y="41330"/>
                    <a:pt x="151776" y="40712"/>
                  </a:cubicBezTo>
                  <a:cubicBezTo>
                    <a:pt x="152274" y="40643"/>
                    <a:pt x="152691" y="40620"/>
                    <a:pt x="153132" y="40595"/>
                  </a:cubicBezTo>
                  <a:cubicBezTo>
                    <a:pt x="153439" y="40577"/>
                    <a:pt x="153748" y="40558"/>
                    <a:pt x="154071" y="40528"/>
                  </a:cubicBezTo>
                  <a:cubicBezTo>
                    <a:pt x="154338" y="40526"/>
                    <a:pt x="154613" y="40518"/>
                    <a:pt x="154889" y="40509"/>
                  </a:cubicBezTo>
                  <a:cubicBezTo>
                    <a:pt x="155177" y="40500"/>
                    <a:pt x="155454" y="40491"/>
                    <a:pt x="155717" y="40491"/>
                  </a:cubicBezTo>
                  <a:close/>
                  <a:moveTo>
                    <a:pt x="88597" y="76358"/>
                  </a:moveTo>
                  <a:lnTo>
                    <a:pt x="88597" y="76358"/>
                  </a:lnTo>
                  <a:cubicBezTo>
                    <a:pt x="86516" y="79941"/>
                    <a:pt x="85831" y="83337"/>
                    <a:pt x="86719" y="85994"/>
                  </a:cubicBezTo>
                  <a:lnTo>
                    <a:pt x="86187" y="86285"/>
                  </a:lnTo>
                  <a:cubicBezTo>
                    <a:pt x="85275" y="83656"/>
                    <a:pt x="85971" y="80262"/>
                    <a:pt x="88126" y="76502"/>
                  </a:cubicBezTo>
                  <a:lnTo>
                    <a:pt x="88597" y="76358"/>
                  </a:lnTo>
                  <a:close/>
                  <a:moveTo>
                    <a:pt x="71027" y="70086"/>
                  </a:moveTo>
                  <a:lnTo>
                    <a:pt x="70785" y="70310"/>
                  </a:lnTo>
                  <a:cubicBezTo>
                    <a:pt x="65373" y="75316"/>
                    <a:pt x="60834" y="80344"/>
                    <a:pt x="57293" y="85293"/>
                  </a:cubicBezTo>
                  <a:lnTo>
                    <a:pt x="56359" y="85581"/>
                  </a:lnTo>
                  <a:lnTo>
                    <a:pt x="56580" y="85281"/>
                  </a:lnTo>
                  <a:lnTo>
                    <a:pt x="52819" y="86408"/>
                  </a:lnTo>
                  <a:lnTo>
                    <a:pt x="52562" y="86752"/>
                  </a:lnTo>
                  <a:lnTo>
                    <a:pt x="51738" y="87006"/>
                  </a:lnTo>
                  <a:cubicBezTo>
                    <a:pt x="51765" y="86969"/>
                    <a:pt x="51790" y="86933"/>
                    <a:pt x="51817" y="86896"/>
                  </a:cubicBezTo>
                  <a:cubicBezTo>
                    <a:pt x="55722" y="81548"/>
                    <a:pt x="60869" y="75983"/>
                    <a:pt x="66851" y="70501"/>
                  </a:cubicBezTo>
                  <a:lnTo>
                    <a:pt x="67471" y="70439"/>
                  </a:lnTo>
                  <a:lnTo>
                    <a:pt x="67176" y="70716"/>
                  </a:lnTo>
                  <a:lnTo>
                    <a:pt x="67176" y="70716"/>
                  </a:lnTo>
                  <a:lnTo>
                    <a:pt x="70072" y="70395"/>
                  </a:lnTo>
                  <a:lnTo>
                    <a:pt x="70325" y="70156"/>
                  </a:lnTo>
                  <a:lnTo>
                    <a:pt x="71027" y="70086"/>
                  </a:lnTo>
                  <a:close/>
                  <a:moveTo>
                    <a:pt x="42533" y="81917"/>
                  </a:moveTo>
                  <a:cubicBezTo>
                    <a:pt x="42975" y="82137"/>
                    <a:pt x="43422" y="82347"/>
                    <a:pt x="43890" y="82543"/>
                  </a:cubicBezTo>
                  <a:cubicBezTo>
                    <a:pt x="43555" y="82894"/>
                    <a:pt x="43224" y="83243"/>
                    <a:pt x="42915" y="83589"/>
                  </a:cubicBezTo>
                  <a:lnTo>
                    <a:pt x="40940" y="85777"/>
                  </a:lnTo>
                  <a:lnTo>
                    <a:pt x="34315" y="87438"/>
                  </a:lnTo>
                  <a:lnTo>
                    <a:pt x="36492" y="85069"/>
                  </a:lnTo>
                  <a:cubicBezTo>
                    <a:pt x="37208" y="84289"/>
                    <a:pt x="38009" y="83492"/>
                    <a:pt x="38758" y="82709"/>
                  </a:cubicBezTo>
                  <a:lnTo>
                    <a:pt x="42533" y="81917"/>
                  </a:lnTo>
                  <a:close/>
                  <a:moveTo>
                    <a:pt x="66191" y="70566"/>
                  </a:moveTo>
                  <a:lnTo>
                    <a:pt x="64092" y="72522"/>
                  </a:lnTo>
                  <a:cubicBezTo>
                    <a:pt x="63166" y="72902"/>
                    <a:pt x="62253" y="73288"/>
                    <a:pt x="61337" y="73682"/>
                  </a:cubicBezTo>
                  <a:lnTo>
                    <a:pt x="59687" y="75288"/>
                  </a:lnTo>
                  <a:cubicBezTo>
                    <a:pt x="59984" y="75498"/>
                    <a:pt x="60319" y="75694"/>
                    <a:pt x="60665" y="75880"/>
                  </a:cubicBezTo>
                  <a:lnTo>
                    <a:pt x="58973" y="77623"/>
                  </a:lnTo>
                  <a:cubicBezTo>
                    <a:pt x="58424" y="78203"/>
                    <a:pt x="57904" y="78781"/>
                    <a:pt x="57365" y="79364"/>
                  </a:cubicBezTo>
                  <a:cubicBezTo>
                    <a:pt x="56414" y="79814"/>
                    <a:pt x="55439" y="80278"/>
                    <a:pt x="54483" y="80745"/>
                  </a:cubicBezTo>
                  <a:lnTo>
                    <a:pt x="53071" y="82363"/>
                  </a:lnTo>
                  <a:cubicBezTo>
                    <a:pt x="53504" y="82502"/>
                    <a:pt x="53920" y="82639"/>
                    <a:pt x="54396" y="82753"/>
                  </a:cubicBezTo>
                  <a:cubicBezTo>
                    <a:pt x="53453" y="83914"/>
                    <a:pt x="52484" y="85088"/>
                    <a:pt x="51641" y="86234"/>
                  </a:cubicBezTo>
                  <a:cubicBezTo>
                    <a:pt x="50665" y="86755"/>
                    <a:pt x="49681" y="87285"/>
                    <a:pt x="48689" y="87825"/>
                  </a:cubicBezTo>
                  <a:lnTo>
                    <a:pt x="48578" y="87980"/>
                  </a:lnTo>
                  <a:lnTo>
                    <a:pt x="47980" y="88164"/>
                  </a:lnTo>
                  <a:cubicBezTo>
                    <a:pt x="48080" y="88028"/>
                    <a:pt x="48180" y="87891"/>
                    <a:pt x="48285" y="87754"/>
                  </a:cubicBezTo>
                  <a:cubicBezTo>
                    <a:pt x="49276" y="87215"/>
                    <a:pt x="50259" y="86686"/>
                    <a:pt x="51234" y="86166"/>
                  </a:cubicBezTo>
                  <a:cubicBezTo>
                    <a:pt x="51967" y="85170"/>
                    <a:pt x="52819" y="84147"/>
                    <a:pt x="53639" y="83139"/>
                  </a:cubicBezTo>
                  <a:cubicBezTo>
                    <a:pt x="53166" y="83022"/>
                    <a:pt x="52721" y="82892"/>
                    <a:pt x="52303" y="82748"/>
                  </a:cubicBezTo>
                  <a:cubicBezTo>
                    <a:pt x="52929" y="82033"/>
                    <a:pt x="53539" y="81324"/>
                    <a:pt x="54175" y="80613"/>
                  </a:cubicBezTo>
                  <a:cubicBezTo>
                    <a:pt x="55144" y="80145"/>
                    <a:pt x="56103" y="79686"/>
                    <a:pt x="57055" y="79237"/>
                  </a:cubicBezTo>
                  <a:cubicBezTo>
                    <a:pt x="57524" y="78731"/>
                    <a:pt x="57976" y="78231"/>
                    <a:pt x="58456" y="77725"/>
                  </a:cubicBezTo>
                  <a:lnTo>
                    <a:pt x="59930" y="76209"/>
                  </a:lnTo>
                  <a:cubicBezTo>
                    <a:pt x="59590" y="76020"/>
                    <a:pt x="59247" y="75826"/>
                    <a:pt x="58942" y="75618"/>
                  </a:cubicBezTo>
                  <a:lnTo>
                    <a:pt x="61115" y="73505"/>
                  </a:lnTo>
                  <a:cubicBezTo>
                    <a:pt x="62023" y="73113"/>
                    <a:pt x="62964" y="72723"/>
                    <a:pt x="63877" y="72346"/>
                  </a:cubicBezTo>
                  <a:lnTo>
                    <a:pt x="65741" y="70611"/>
                  </a:lnTo>
                  <a:lnTo>
                    <a:pt x="66191" y="70566"/>
                  </a:lnTo>
                  <a:close/>
                  <a:moveTo>
                    <a:pt x="86825" y="76904"/>
                  </a:moveTo>
                  <a:lnTo>
                    <a:pt x="86825" y="76904"/>
                  </a:lnTo>
                  <a:cubicBezTo>
                    <a:pt x="84567" y="80807"/>
                    <a:pt x="83820" y="84337"/>
                    <a:pt x="84746" y="87075"/>
                  </a:cubicBezTo>
                  <a:lnTo>
                    <a:pt x="81902" y="88632"/>
                  </a:lnTo>
                  <a:cubicBezTo>
                    <a:pt x="80956" y="85679"/>
                    <a:pt x="81809" y="81879"/>
                    <a:pt x="84274" y="77688"/>
                  </a:cubicBezTo>
                  <a:lnTo>
                    <a:pt x="86825" y="76904"/>
                  </a:lnTo>
                  <a:close/>
                  <a:moveTo>
                    <a:pt x="63389" y="70844"/>
                  </a:moveTo>
                  <a:lnTo>
                    <a:pt x="63389" y="70844"/>
                  </a:lnTo>
                  <a:cubicBezTo>
                    <a:pt x="56994" y="76656"/>
                    <a:pt x="51451" y="82581"/>
                    <a:pt x="47208" y="88289"/>
                  </a:cubicBezTo>
                  <a:cubicBezTo>
                    <a:pt x="47172" y="88338"/>
                    <a:pt x="47137" y="88387"/>
                    <a:pt x="47102" y="88436"/>
                  </a:cubicBezTo>
                  <a:lnTo>
                    <a:pt x="46383" y="88657"/>
                  </a:lnTo>
                  <a:cubicBezTo>
                    <a:pt x="46422" y="88605"/>
                    <a:pt x="46458" y="88555"/>
                    <a:pt x="46496" y="88503"/>
                  </a:cubicBezTo>
                  <a:cubicBezTo>
                    <a:pt x="50792" y="82740"/>
                    <a:pt x="56397" y="76759"/>
                    <a:pt x="62855" y="70897"/>
                  </a:cubicBezTo>
                  <a:lnTo>
                    <a:pt x="63389" y="70844"/>
                  </a:lnTo>
                  <a:close/>
                  <a:moveTo>
                    <a:pt x="62588" y="70923"/>
                  </a:moveTo>
                  <a:lnTo>
                    <a:pt x="62588" y="70923"/>
                  </a:lnTo>
                  <a:cubicBezTo>
                    <a:pt x="56097" y="76811"/>
                    <a:pt x="50460" y="82820"/>
                    <a:pt x="46139" y="88611"/>
                  </a:cubicBezTo>
                  <a:cubicBezTo>
                    <a:pt x="46099" y="88663"/>
                    <a:pt x="46063" y="88716"/>
                    <a:pt x="46024" y="88769"/>
                  </a:cubicBezTo>
                  <a:lnTo>
                    <a:pt x="45731" y="88859"/>
                  </a:lnTo>
                  <a:cubicBezTo>
                    <a:pt x="46870" y="87326"/>
                    <a:pt x="48091" y="85784"/>
                    <a:pt x="49394" y="84232"/>
                  </a:cubicBezTo>
                  <a:cubicBezTo>
                    <a:pt x="53078" y="79845"/>
                    <a:pt x="57502" y="75366"/>
                    <a:pt x="62361" y="70946"/>
                  </a:cubicBezTo>
                  <a:lnTo>
                    <a:pt x="62588" y="70923"/>
                  </a:lnTo>
                  <a:close/>
                  <a:moveTo>
                    <a:pt x="44315" y="82716"/>
                  </a:moveTo>
                  <a:cubicBezTo>
                    <a:pt x="44653" y="82847"/>
                    <a:pt x="45003" y="82974"/>
                    <a:pt x="45372" y="83090"/>
                  </a:cubicBezTo>
                  <a:cubicBezTo>
                    <a:pt x="44645" y="83907"/>
                    <a:pt x="43895" y="84731"/>
                    <a:pt x="43175" y="85553"/>
                  </a:cubicBezTo>
                  <a:lnTo>
                    <a:pt x="41096" y="88017"/>
                  </a:lnTo>
                  <a:cubicBezTo>
                    <a:pt x="40251" y="88450"/>
                    <a:pt x="39404" y="88889"/>
                    <a:pt x="38553" y="89335"/>
                  </a:cubicBezTo>
                  <a:cubicBezTo>
                    <a:pt x="39421" y="88268"/>
                    <a:pt x="40323" y="87197"/>
                    <a:pt x="41237" y="86130"/>
                  </a:cubicBezTo>
                  <a:cubicBezTo>
                    <a:pt x="41387" y="85951"/>
                    <a:pt x="41548" y="85767"/>
                    <a:pt x="41717" y="85582"/>
                  </a:cubicBezTo>
                  <a:lnTo>
                    <a:pt x="43675" y="83407"/>
                  </a:lnTo>
                  <a:cubicBezTo>
                    <a:pt x="43880" y="83179"/>
                    <a:pt x="44096" y="82947"/>
                    <a:pt x="44315" y="82716"/>
                  </a:cubicBezTo>
                  <a:close/>
                  <a:moveTo>
                    <a:pt x="60806" y="71100"/>
                  </a:moveTo>
                  <a:cubicBezTo>
                    <a:pt x="55806" y="75632"/>
                    <a:pt x="51244" y="80230"/>
                    <a:pt x="47434" y="84737"/>
                  </a:cubicBezTo>
                  <a:cubicBezTo>
                    <a:pt x="46086" y="86334"/>
                    <a:pt x="44820" y="87923"/>
                    <a:pt x="43634" y="89506"/>
                  </a:cubicBezTo>
                  <a:lnTo>
                    <a:pt x="42715" y="89789"/>
                  </a:lnTo>
                  <a:cubicBezTo>
                    <a:pt x="43917" y="88188"/>
                    <a:pt x="45205" y="86579"/>
                    <a:pt x="46576" y="84960"/>
                  </a:cubicBezTo>
                  <a:cubicBezTo>
                    <a:pt x="50442" y="80398"/>
                    <a:pt x="55064" y="75748"/>
                    <a:pt x="60126" y="71169"/>
                  </a:cubicBezTo>
                  <a:lnTo>
                    <a:pt x="60806" y="71100"/>
                  </a:lnTo>
                  <a:close/>
                  <a:moveTo>
                    <a:pt x="106313" y="66271"/>
                  </a:moveTo>
                  <a:lnTo>
                    <a:pt x="106313" y="66271"/>
                  </a:lnTo>
                  <a:cubicBezTo>
                    <a:pt x="102022" y="70548"/>
                    <a:pt x="99877" y="74687"/>
                    <a:pt x="100577" y="77537"/>
                  </a:cubicBezTo>
                  <a:cubicBezTo>
                    <a:pt x="101181" y="80187"/>
                    <a:pt x="104190" y="81693"/>
                    <a:pt x="108945" y="81693"/>
                  </a:cubicBezTo>
                  <a:cubicBezTo>
                    <a:pt x="109530" y="81693"/>
                    <a:pt x="110142" y="81670"/>
                    <a:pt x="110778" y="81624"/>
                  </a:cubicBezTo>
                  <a:cubicBezTo>
                    <a:pt x="111079" y="81602"/>
                    <a:pt x="111386" y="81576"/>
                    <a:pt x="111697" y="81545"/>
                  </a:cubicBezTo>
                  <a:lnTo>
                    <a:pt x="111697" y="81545"/>
                  </a:lnTo>
                  <a:cubicBezTo>
                    <a:pt x="111670" y="81975"/>
                    <a:pt x="111675" y="82407"/>
                    <a:pt x="111710" y="82837"/>
                  </a:cubicBezTo>
                  <a:cubicBezTo>
                    <a:pt x="111790" y="83586"/>
                    <a:pt x="112036" y="84254"/>
                    <a:pt x="112361" y="84945"/>
                  </a:cubicBezTo>
                  <a:cubicBezTo>
                    <a:pt x="115564" y="84338"/>
                    <a:pt x="119032" y="83372"/>
                    <a:pt x="122594" y="82108"/>
                  </a:cubicBezTo>
                  <a:lnTo>
                    <a:pt x="122594" y="82108"/>
                  </a:lnTo>
                  <a:lnTo>
                    <a:pt x="121489" y="86268"/>
                  </a:lnTo>
                  <a:cubicBezTo>
                    <a:pt x="113493" y="89096"/>
                    <a:pt x="106383" y="90518"/>
                    <a:pt x="100395" y="90518"/>
                  </a:cubicBezTo>
                  <a:cubicBezTo>
                    <a:pt x="100201" y="90518"/>
                    <a:pt x="100009" y="90516"/>
                    <a:pt x="99818" y="90514"/>
                  </a:cubicBezTo>
                  <a:cubicBezTo>
                    <a:pt x="99715" y="90517"/>
                    <a:pt x="99617" y="90519"/>
                    <a:pt x="99521" y="90519"/>
                  </a:cubicBezTo>
                  <a:cubicBezTo>
                    <a:pt x="99147" y="90519"/>
                    <a:pt x="98819" y="90493"/>
                    <a:pt x="98477" y="90466"/>
                  </a:cubicBezTo>
                  <a:cubicBezTo>
                    <a:pt x="98180" y="90442"/>
                    <a:pt x="97882" y="90420"/>
                    <a:pt x="97567" y="90412"/>
                  </a:cubicBezTo>
                  <a:cubicBezTo>
                    <a:pt x="97316" y="90371"/>
                    <a:pt x="97055" y="90340"/>
                    <a:pt x="96794" y="90308"/>
                  </a:cubicBezTo>
                  <a:cubicBezTo>
                    <a:pt x="96369" y="90258"/>
                    <a:pt x="95970" y="90210"/>
                    <a:pt x="95627" y="90122"/>
                  </a:cubicBezTo>
                  <a:cubicBezTo>
                    <a:pt x="94592" y="89919"/>
                    <a:pt x="93307" y="89628"/>
                    <a:pt x="92313" y="89116"/>
                  </a:cubicBezTo>
                  <a:cubicBezTo>
                    <a:pt x="91426" y="88676"/>
                    <a:pt x="90520" y="88197"/>
                    <a:pt x="89907" y="87543"/>
                  </a:cubicBezTo>
                  <a:cubicBezTo>
                    <a:pt x="89267" y="86892"/>
                    <a:pt x="88766" y="86184"/>
                    <a:pt x="88413" y="85438"/>
                  </a:cubicBezTo>
                  <a:cubicBezTo>
                    <a:pt x="87337" y="82751"/>
                    <a:pt x="88030" y="79213"/>
                    <a:pt x="90284" y="75487"/>
                  </a:cubicBezTo>
                  <a:lnTo>
                    <a:pt x="90288" y="75481"/>
                  </a:lnTo>
                  <a:cubicBezTo>
                    <a:pt x="91786" y="73021"/>
                    <a:pt x="93732" y="70596"/>
                    <a:pt x="96212" y="68083"/>
                  </a:cubicBezTo>
                  <a:lnTo>
                    <a:pt x="104570" y="67006"/>
                  </a:lnTo>
                  <a:lnTo>
                    <a:pt x="104907" y="66637"/>
                  </a:lnTo>
                  <a:lnTo>
                    <a:pt x="105297" y="66593"/>
                  </a:lnTo>
                  <a:lnTo>
                    <a:pt x="105522" y="66355"/>
                  </a:lnTo>
                  <a:lnTo>
                    <a:pt x="106313" y="66271"/>
                  </a:lnTo>
                  <a:close/>
                  <a:moveTo>
                    <a:pt x="82983" y="78085"/>
                  </a:moveTo>
                  <a:cubicBezTo>
                    <a:pt x="80411" y="82422"/>
                    <a:pt x="79502" y="86358"/>
                    <a:pt x="80458" y="89423"/>
                  </a:cubicBezTo>
                  <a:lnTo>
                    <a:pt x="77355" y="91121"/>
                  </a:lnTo>
                  <a:cubicBezTo>
                    <a:pt x="77335" y="91015"/>
                    <a:pt x="77316" y="90907"/>
                    <a:pt x="77291" y="90803"/>
                  </a:cubicBezTo>
                  <a:lnTo>
                    <a:pt x="77003" y="89434"/>
                  </a:lnTo>
                  <a:lnTo>
                    <a:pt x="77021" y="87936"/>
                  </a:lnTo>
                  <a:lnTo>
                    <a:pt x="77033" y="87194"/>
                  </a:lnTo>
                  <a:cubicBezTo>
                    <a:pt x="77073" y="86931"/>
                    <a:pt x="77140" y="86657"/>
                    <a:pt x="77193" y="86391"/>
                  </a:cubicBezTo>
                  <a:lnTo>
                    <a:pt x="77518" y="84796"/>
                  </a:lnTo>
                  <a:lnTo>
                    <a:pt x="78137" y="83104"/>
                  </a:lnTo>
                  <a:lnTo>
                    <a:pt x="78443" y="82267"/>
                  </a:lnTo>
                  <a:lnTo>
                    <a:pt x="78893" y="81382"/>
                  </a:lnTo>
                  <a:lnTo>
                    <a:pt x="79786" y="79630"/>
                  </a:lnTo>
                  <a:lnTo>
                    <a:pt x="80232" y="78932"/>
                  </a:lnTo>
                  <a:lnTo>
                    <a:pt x="82628" y="78195"/>
                  </a:lnTo>
                  <a:lnTo>
                    <a:pt x="82983" y="78085"/>
                  </a:lnTo>
                  <a:close/>
                  <a:moveTo>
                    <a:pt x="59181" y="71261"/>
                  </a:moveTo>
                  <a:lnTo>
                    <a:pt x="59181" y="71261"/>
                  </a:lnTo>
                  <a:cubicBezTo>
                    <a:pt x="54034" y="75910"/>
                    <a:pt x="49326" y="80632"/>
                    <a:pt x="45383" y="85267"/>
                  </a:cubicBezTo>
                  <a:cubicBezTo>
                    <a:pt x="43985" y="86913"/>
                    <a:pt x="42669" y="88552"/>
                    <a:pt x="41437" y="90183"/>
                  </a:cubicBezTo>
                  <a:lnTo>
                    <a:pt x="36742" y="91631"/>
                  </a:lnTo>
                  <a:cubicBezTo>
                    <a:pt x="37056" y="91219"/>
                    <a:pt x="37379" y="90804"/>
                    <a:pt x="37708" y="90389"/>
                  </a:cubicBezTo>
                  <a:cubicBezTo>
                    <a:pt x="39140" y="89630"/>
                    <a:pt x="40559" y="88890"/>
                    <a:pt x="41964" y="88166"/>
                  </a:cubicBezTo>
                  <a:cubicBezTo>
                    <a:pt x="42741" y="87195"/>
                    <a:pt x="43599" y="86208"/>
                    <a:pt x="44405" y="85239"/>
                  </a:cubicBezTo>
                  <a:cubicBezTo>
                    <a:pt x="45262" y="84261"/>
                    <a:pt x="46142" y="83283"/>
                    <a:pt x="47009" y="82314"/>
                  </a:cubicBezTo>
                  <a:cubicBezTo>
                    <a:pt x="46422" y="82115"/>
                    <a:pt x="45857" y="81899"/>
                    <a:pt x="45312" y="81668"/>
                  </a:cubicBezTo>
                  <a:cubicBezTo>
                    <a:pt x="45449" y="81523"/>
                    <a:pt x="45586" y="81380"/>
                    <a:pt x="45720" y="81238"/>
                  </a:cubicBezTo>
                  <a:lnTo>
                    <a:pt x="46221" y="80709"/>
                  </a:lnTo>
                  <a:cubicBezTo>
                    <a:pt x="48037" y="78840"/>
                    <a:pt x="49936" y="76972"/>
                    <a:pt x="51921" y="75104"/>
                  </a:cubicBezTo>
                  <a:cubicBezTo>
                    <a:pt x="53230" y="74551"/>
                    <a:pt x="54531" y="74014"/>
                    <a:pt x="55845" y="73489"/>
                  </a:cubicBezTo>
                  <a:lnTo>
                    <a:pt x="58170" y="71362"/>
                  </a:lnTo>
                  <a:lnTo>
                    <a:pt x="59181" y="71261"/>
                  </a:lnTo>
                  <a:close/>
                  <a:moveTo>
                    <a:pt x="172292" y="60051"/>
                  </a:moveTo>
                  <a:lnTo>
                    <a:pt x="170964" y="61528"/>
                  </a:lnTo>
                  <a:lnTo>
                    <a:pt x="169959" y="62649"/>
                  </a:lnTo>
                  <a:cubicBezTo>
                    <a:pt x="169609" y="63025"/>
                    <a:pt x="169191" y="63403"/>
                    <a:pt x="168810" y="63781"/>
                  </a:cubicBezTo>
                  <a:lnTo>
                    <a:pt x="166459" y="66067"/>
                  </a:lnTo>
                  <a:cubicBezTo>
                    <a:pt x="165645" y="66831"/>
                    <a:pt x="164709" y="67590"/>
                    <a:pt x="163837" y="68357"/>
                  </a:cubicBezTo>
                  <a:cubicBezTo>
                    <a:pt x="162132" y="69908"/>
                    <a:pt x="160069" y="71409"/>
                    <a:pt x="158123" y="72940"/>
                  </a:cubicBezTo>
                  <a:cubicBezTo>
                    <a:pt x="157140" y="73708"/>
                    <a:pt x="156020" y="74435"/>
                    <a:pt x="154973" y="75187"/>
                  </a:cubicBezTo>
                  <a:cubicBezTo>
                    <a:pt x="153897" y="75931"/>
                    <a:pt x="152870" y="76701"/>
                    <a:pt x="151710" y="77408"/>
                  </a:cubicBezTo>
                  <a:lnTo>
                    <a:pt x="148308" y="79578"/>
                  </a:lnTo>
                  <a:cubicBezTo>
                    <a:pt x="147175" y="80307"/>
                    <a:pt x="145950" y="80965"/>
                    <a:pt x="144775" y="81664"/>
                  </a:cubicBezTo>
                  <a:cubicBezTo>
                    <a:pt x="142429" y="83085"/>
                    <a:pt x="139940" y="84327"/>
                    <a:pt x="137497" y="85632"/>
                  </a:cubicBezTo>
                  <a:cubicBezTo>
                    <a:pt x="132953" y="87876"/>
                    <a:pt x="128332" y="90026"/>
                    <a:pt x="123759" y="91754"/>
                  </a:cubicBezTo>
                  <a:lnTo>
                    <a:pt x="124506" y="86039"/>
                  </a:lnTo>
                  <a:lnTo>
                    <a:pt x="124598" y="86002"/>
                  </a:lnTo>
                  <a:cubicBezTo>
                    <a:pt x="124933" y="85866"/>
                    <a:pt x="125272" y="85737"/>
                    <a:pt x="125611" y="85607"/>
                  </a:cubicBezTo>
                  <a:lnTo>
                    <a:pt x="126146" y="85398"/>
                  </a:lnTo>
                  <a:cubicBezTo>
                    <a:pt x="126559" y="85209"/>
                    <a:pt x="126973" y="85042"/>
                    <a:pt x="127385" y="84873"/>
                  </a:cubicBezTo>
                  <a:cubicBezTo>
                    <a:pt x="127947" y="84645"/>
                    <a:pt x="128528" y="84408"/>
                    <a:pt x="129132" y="84118"/>
                  </a:cubicBezTo>
                  <a:cubicBezTo>
                    <a:pt x="130619" y="83499"/>
                    <a:pt x="132198" y="82730"/>
                    <a:pt x="133725" y="81986"/>
                  </a:cubicBezTo>
                  <a:cubicBezTo>
                    <a:pt x="134160" y="81775"/>
                    <a:pt x="134595" y="81563"/>
                    <a:pt x="135030" y="81354"/>
                  </a:cubicBezTo>
                  <a:cubicBezTo>
                    <a:pt x="139602" y="79006"/>
                    <a:pt x="143336" y="76865"/>
                    <a:pt x="146491" y="74789"/>
                  </a:cubicBezTo>
                  <a:cubicBezTo>
                    <a:pt x="147985" y="73855"/>
                    <a:pt x="149397" y="72851"/>
                    <a:pt x="150758" y="71885"/>
                  </a:cubicBezTo>
                  <a:lnTo>
                    <a:pt x="151575" y="71305"/>
                  </a:lnTo>
                  <a:cubicBezTo>
                    <a:pt x="151960" y="71004"/>
                    <a:pt x="152278" y="70771"/>
                    <a:pt x="152595" y="70537"/>
                  </a:cubicBezTo>
                  <a:cubicBezTo>
                    <a:pt x="153066" y="70189"/>
                    <a:pt x="153553" y="69831"/>
                    <a:pt x="154004" y="69450"/>
                  </a:cubicBezTo>
                  <a:cubicBezTo>
                    <a:pt x="154135" y="69344"/>
                    <a:pt x="154303" y="69216"/>
                    <a:pt x="154470" y="69088"/>
                  </a:cubicBezTo>
                  <a:cubicBezTo>
                    <a:pt x="154688" y="68921"/>
                    <a:pt x="154905" y="68755"/>
                    <a:pt x="155110" y="68587"/>
                  </a:cubicBezTo>
                  <a:cubicBezTo>
                    <a:pt x="155472" y="68276"/>
                    <a:pt x="155813" y="67991"/>
                    <a:pt x="156163" y="67707"/>
                  </a:cubicBezTo>
                  <a:cubicBezTo>
                    <a:pt x="156523" y="67432"/>
                    <a:pt x="156850" y="67138"/>
                    <a:pt x="157167" y="66852"/>
                  </a:cubicBezTo>
                  <a:lnTo>
                    <a:pt x="158262" y="65904"/>
                  </a:lnTo>
                  <a:cubicBezTo>
                    <a:pt x="158619" y="65560"/>
                    <a:pt x="158925" y="65274"/>
                    <a:pt x="159239" y="64988"/>
                  </a:cubicBezTo>
                  <a:lnTo>
                    <a:pt x="159726" y="64553"/>
                  </a:lnTo>
                  <a:lnTo>
                    <a:pt x="160227" y="64046"/>
                  </a:lnTo>
                  <a:cubicBezTo>
                    <a:pt x="160505" y="63767"/>
                    <a:pt x="160801" y="63480"/>
                    <a:pt x="161108" y="63194"/>
                  </a:cubicBezTo>
                  <a:lnTo>
                    <a:pt x="162003" y="62245"/>
                  </a:lnTo>
                  <a:cubicBezTo>
                    <a:pt x="162363" y="61902"/>
                    <a:pt x="162689" y="61525"/>
                    <a:pt x="163005" y="61161"/>
                  </a:cubicBezTo>
                  <a:cubicBezTo>
                    <a:pt x="163065" y="61093"/>
                    <a:pt x="163123" y="61023"/>
                    <a:pt x="163184" y="60955"/>
                  </a:cubicBezTo>
                  <a:lnTo>
                    <a:pt x="163737" y="60900"/>
                  </a:lnTo>
                  <a:lnTo>
                    <a:pt x="163737" y="60900"/>
                  </a:lnTo>
                  <a:cubicBezTo>
                    <a:pt x="159886" y="65231"/>
                    <a:pt x="154543" y="69708"/>
                    <a:pt x="148334" y="73927"/>
                  </a:cubicBezTo>
                  <a:cubicBezTo>
                    <a:pt x="141531" y="78501"/>
                    <a:pt x="133728" y="82585"/>
                    <a:pt x="126001" y="85774"/>
                  </a:cubicBezTo>
                  <a:lnTo>
                    <a:pt x="125947" y="86615"/>
                  </a:lnTo>
                  <a:cubicBezTo>
                    <a:pt x="133974" y="83307"/>
                    <a:pt x="142078" y="79066"/>
                    <a:pt x="149141" y="74310"/>
                  </a:cubicBezTo>
                  <a:cubicBezTo>
                    <a:pt x="155596" y="69922"/>
                    <a:pt x="161142" y="65261"/>
                    <a:pt x="165121" y="60762"/>
                  </a:cubicBezTo>
                  <a:lnTo>
                    <a:pt x="167872" y="60490"/>
                  </a:lnTo>
                  <a:lnTo>
                    <a:pt x="167872" y="60490"/>
                  </a:lnTo>
                  <a:cubicBezTo>
                    <a:pt x="163641" y="65319"/>
                    <a:pt x="157693" y="70346"/>
                    <a:pt x="150749" y="75073"/>
                  </a:cubicBezTo>
                  <a:cubicBezTo>
                    <a:pt x="143166" y="80189"/>
                    <a:pt x="134466" y="84749"/>
                    <a:pt x="125839" y="88293"/>
                  </a:cubicBezTo>
                  <a:lnTo>
                    <a:pt x="125785" y="89154"/>
                  </a:lnTo>
                  <a:cubicBezTo>
                    <a:pt x="134719" y="85489"/>
                    <a:pt x="143725" y="80766"/>
                    <a:pt x="151574" y="75465"/>
                  </a:cubicBezTo>
                  <a:cubicBezTo>
                    <a:pt x="158769" y="70563"/>
                    <a:pt x="164922" y="65348"/>
                    <a:pt x="169278" y="60350"/>
                  </a:cubicBezTo>
                  <a:lnTo>
                    <a:pt x="172292" y="60051"/>
                  </a:lnTo>
                  <a:close/>
                  <a:moveTo>
                    <a:pt x="36612" y="90972"/>
                  </a:moveTo>
                  <a:lnTo>
                    <a:pt x="36612" y="90972"/>
                  </a:lnTo>
                  <a:cubicBezTo>
                    <a:pt x="36365" y="91280"/>
                    <a:pt x="36121" y="91589"/>
                    <a:pt x="35887" y="91894"/>
                  </a:cubicBezTo>
                  <a:lnTo>
                    <a:pt x="33887" y="92511"/>
                  </a:lnTo>
                  <a:lnTo>
                    <a:pt x="33984" y="92383"/>
                  </a:lnTo>
                  <a:cubicBezTo>
                    <a:pt x="34865" y="91905"/>
                    <a:pt x="35741" y="91435"/>
                    <a:pt x="36612" y="90972"/>
                  </a:cubicBezTo>
                  <a:close/>
                  <a:moveTo>
                    <a:pt x="73513" y="80998"/>
                  </a:moveTo>
                  <a:lnTo>
                    <a:pt x="73513" y="80998"/>
                  </a:lnTo>
                  <a:cubicBezTo>
                    <a:pt x="73363" y="81229"/>
                    <a:pt x="73217" y="81458"/>
                    <a:pt x="73074" y="81688"/>
                  </a:cubicBezTo>
                  <a:cubicBezTo>
                    <a:pt x="71304" y="84737"/>
                    <a:pt x="70047" y="87682"/>
                    <a:pt x="69593" y="90338"/>
                  </a:cubicBezTo>
                  <a:lnTo>
                    <a:pt x="61188" y="94160"/>
                  </a:lnTo>
                  <a:cubicBezTo>
                    <a:pt x="61890" y="90843"/>
                    <a:pt x="63534" y="87176"/>
                    <a:pt x="66074" y="83286"/>
                  </a:cubicBezTo>
                  <a:lnTo>
                    <a:pt x="73513" y="80998"/>
                  </a:lnTo>
                  <a:close/>
                  <a:moveTo>
                    <a:pt x="40455" y="86330"/>
                  </a:moveTo>
                  <a:lnTo>
                    <a:pt x="40455" y="86330"/>
                  </a:lnTo>
                  <a:cubicBezTo>
                    <a:pt x="39629" y="87313"/>
                    <a:pt x="38741" y="88319"/>
                    <a:pt x="37943" y="89305"/>
                  </a:cubicBezTo>
                  <a:cubicBezTo>
                    <a:pt x="37788" y="89504"/>
                    <a:pt x="37629" y="89703"/>
                    <a:pt x="37469" y="89903"/>
                  </a:cubicBezTo>
                  <a:cubicBezTo>
                    <a:pt x="36037" y="90658"/>
                    <a:pt x="34591" y="91430"/>
                    <a:pt x="33132" y="92219"/>
                  </a:cubicBezTo>
                  <a:cubicBezTo>
                    <a:pt x="32950" y="92450"/>
                    <a:pt x="32770" y="92680"/>
                    <a:pt x="32592" y="92909"/>
                  </a:cubicBezTo>
                  <a:lnTo>
                    <a:pt x="26437" y="94808"/>
                  </a:lnTo>
                  <a:cubicBezTo>
                    <a:pt x="27205" y="93835"/>
                    <a:pt x="28053" y="92843"/>
                    <a:pt x="28839" y="91874"/>
                  </a:cubicBezTo>
                  <a:cubicBezTo>
                    <a:pt x="29755" y="90777"/>
                    <a:pt x="30761" y="89661"/>
                    <a:pt x="31709" y="88567"/>
                  </a:cubicBezTo>
                  <a:lnTo>
                    <a:pt x="33014" y="88234"/>
                  </a:lnTo>
                  <a:lnTo>
                    <a:pt x="40455" y="86330"/>
                  </a:lnTo>
                  <a:close/>
                  <a:moveTo>
                    <a:pt x="34772" y="93388"/>
                  </a:moveTo>
                  <a:lnTo>
                    <a:pt x="34772" y="93388"/>
                  </a:lnTo>
                  <a:cubicBezTo>
                    <a:pt x="33882" y="94595"/>
                    <a:pt x="33029" y="95800"/>
                    <a:pt x="32224" y="96996"/>
                  </a:cubicBezTo>
                  <a:cubicBezTo>
                    <a:pt x="31705" y="96970"/>
                    <a:pt x="31190" y="96940"/>
                    <a:pt x="30683" y="96901"/>
                  </a:cubicBezTo>
                  <a:cubicBezTo>
                    <a:pt x="31318" y="95957"/>
                    <a:pt x="32025" y="94993"/>
                    <a:pt x="32744" y="94031"/>
                  </a:cubicBezTo>
                  <a:lnTo>
                    <a:pt x="34772" y="93388"/>
                  </a:lnTo>
                  <a:close/>
                  <a:moveTo>
                    <a:pt x="65169" y="83564"/>
                  </a:moveTo>
                  <a:lnTo>
                    <a:pt x="65169" y="83564"/>
                  </a:lnTo>
                  <a:cubicBezTo>
                    <a:pt x="62575" y="87520"/>
                    <a:pt x="60889" y="91251"/>
                    <a:pt x="60160" y="94628"/>
                  </a:cubicBezTo>
                  <a:lnTo>
                    <a:pt x="53468" y="97671"/>
                  </a:lnTo>
                  <a:cubicBezTo>
                    <a:pt x="54313" y="94170"/>
                    <a:pt x="56143" y="90333"/>
                    <a:pt x="58642" y="86375"/>
                  </a:cubicBezTo>
                  <a:cubicBezTo>
                    <a:pt x="58865" y="86038"/>
                    <a:pt x="59095" y="85699"/>
                    <a:pt x="59329" y="85361"/>
                  </a:cubicBezTo>
                  <a:lnTo>
                    <a:pt x="65169" y="83564"/>
                  </a:lnTo>
                  <a:close/>
                  <a:moveTo>
                    <a:pt x="86978" y="86608"/>
                  </a:moveTo>
                  <a:cubicBezTo>
                    <a:pt x="87324" y="87275"/>
                    <a:pt x="87785" y="87910"/>
                    <a:pt x="88351" y="88500"/>
                  </a:cubicBezTo>
                  <a:cubicBezTo>
                    <a:pt x="88991" y="89194"/>
                    <a:pt x="89921" y="89697"/>
                    <a:pt x="90828" y="90157"/>
                  </a:cubicBezTo>
                  <a:cubicBezTo>
                    <a:pt x="91870" y="90702"/>
                    <a:pt x="93203" y="91012"/>
                    <a:pt x="94255" y="91222"/>
                  </a:cubicBezTo>
                  <a:cubicBezTo>
                    <a:pt x="94625" y="91320"/>
                    <a:pt x="95070" y="91375"/>
                    <a:pt x="95501" y="91428"/>
                  </a:cubicBezTo>
                  <a:cubicBezTo>
                    <a:pt x="95759" y="91460"/>
                    <a:pt x="96019" y="91492"/>
                    <a:pt x="96267" y="91535"/>
                  </a:cubicBezTo>
                  <a:lnTo>
                    <a:pt x="96342" y="91542"/>
                  </a:lnTo>
                  <a:cubicBezTo>
                    <a:pt x="96647" y="91549"/>
                    <a:pt x="96935" y="91572"/>
                    <a:pt x="97220" y="91596"/>
                  </a:cubicBezTo>
                  <a:cubicBezTo>
                    <a:pt x="97582" y="91627"/>
                    <a:pt x="97954" y="91657"/>
                    <a:pt x="98372" y="91657"/>
                  </a:cubicBezTo>
                  <a:cubicBezTo>
                    <a:pt x="98470" y="91657"/>
                    <a:pt x="98571" y="91656"/>
                    <a:pt x="98676" y="91652"/>
                  </a:cubicBezTo>
                  <a:cubicBezTo>
                    <a:pt x="98901" y="91656"/>
                    <a:pt x="99128" y="91658"/>
                    <a:pt x="99357" y="91658"/>
                  </a:cubicBezTo>
                  <a:cubicBezTo>
                    <a:pt x="105540" y="91658"/>
                    <a:pt x="112915" y="90189"/>
                    <a:pt x="121226" y="87255"/>
                  </a:cubicBezTo>
                  <a:lnTo>
                    <a:pt x="121226" y="87255"/>
                  </a:lnTo>
                  <a:lnTo>
                    <a:pt x="119630" y="93269"/>
                  </a:lnTo>
                  <a:cubicBezTo>
                    <a:pt x="115095" y="94805"/>
                    <a:pt x="110617" y="96171"/>
                    <a:pt x="106500" y="96976"/>
                  </a:cubicBezTo>
                  <a:cubicBezTo>
                    <a:pt x="104228" y="97527"/>
                    <a:pt x="102189" y="97764"/>
                    <a:pt x="100099" y="98090"/>
                  </a:cubicBezTo>
                  <a:lnTo>
                    <a:pt x="99323" y="98208"/>
                  </a:lnTo>
                  <a:lnTo>
                    <a:pt x="98599" y="98264"/>
                  </a:lnTo>
                  <a:lnTo>
                    <a:pt x="97157" y="98373"/>
                  </a:lnTo>
                  <a:cubicBezTo>
                    <a:pt x="96233" y="98426"/>
                    <a:pt x="95244" y="98553"/>
                    <a:pt x="94378" y="98553"/>
                  </a:cubicBezTo>
                  <a:cubicBezTo>
                    <a:pt x="94364" y="98553"/>
                    <a:pt x="94350" y="98553"/>
                    <a:pt x="94336" y="98553"/>
                  </a:cubicBezTo>
                  <a:lnTo>
                    <a:pt x="91747" y="98522"/>
                  </a:lnTo>
                  <a:cubicBezTo>
                    <a:pt x="91326" y="98511"/>
                    <a:pt x="90874" y="98529"/>
                    <a:pt x="90482" y="98494"/>
                  </a:cubicBezTo>
                  <a:lnTo>
                    <a:pt x="89340" y="98356"/>
                  </a:lnTo>
                  <a:lnTo>
                    <a:pt x="87077" y="98088"/>
                  </a:lnTo>
                  <a:lnTo>
                    <a:pt x="85126" y="97588"/>
                  </a:lnTo>
                  <a:lnTo>
                    <a:pt x="84159" y="97343"/>
                  </a:lnTo>
                  <a:cubicBezTo>
                    <a:pt x="83869" y="97237"/>
                    <a:pt x="83614" y="97107"/>
                    <a:pt x="83340" y="96991"/>
                  </a:cubicBezTo>
                  <a:lnTo>
                    <a:pt x="81733" y="96286"/>
                  </a:lnTo>
                  <a:cubicBezTo>
                    <a:pt x="81274" y="96003"/>
                    <a:pt x="80871" y="95684"/>
                    <a:pt x="80440" y="95388"/>
                  </a:cubicBezTo>
                  <a:lnTo>
                    <a:pt x="79805" y="94942"/>
                  </a:lnTo>
                  <a:cubicBezTo>
                    <a:pt x="79612" y="94783"/>
                    <a:pt x="79481" y="94584"/>
                    <a:pt x="79316" y="94408"/>
                  </a:cubicBezTo>
                  <a:lnTo>
                    <a:pt x="78379" y="93334"/>
                  </a:lnTo>
                  <a:cubicBezTo>
                    <a:pt x="78141" y="92938"/>
                    <a:pt x="77963" y="92508"/>
                    <a:pt x="77752" y="92102"/>
                  </a:cubicBezTo>
                  <a:lnTo>
                    <a:pt x="77579" y="91754"/>
                  </a:lnTo>
                  <a:lnTo>
                    <a:pt x="80685" y="90053"/>
                  </a:lnTo>
                  <a:cubicBezTo>
                    <a:pt x="81085" y="91019"/>
                    <a:pt x="81685" y="91887"/>
                    <a:pt x="82498" y="92640"/>
                  </a:cubicBezTo>
                  <a:cubicBezTo>
                    <a:pt x="82738" y="92993"/>
                    <a:pt x="83201" y="93204"/>
                    <a:pt x="83568" y="93480"/>
                  </a:cubicBezTo>
                  <a:cubicBezTo>
                    <a:pt x="83973" y="93734"/>
                    <a:pt x="84308" y="94038"/>
                    <a:pt x="84766" y="94258"/>
                  </a:cubicBezTo>
                  <a:lnTo>
                    <a:pt x="86225" y="94873"/>
                  </a:lnTo>
                  <a:cubicBezTo>
                    <a:pt x="86474" y="94974"/>
                    <a:pt x="86703" y="95091"/>
                    <a:pt x="86967" y="95182"/>
                  </a:cubicBezTo>
                  <a:lnTo>
                    <a:pt x="87843" y="95391"/>
                  </a:lnTo>
                  <a:lnTo>
                    <a:pt x="89601" y="95826"/>
                  </a:lnTo>
                  <a:cubicBezTo>
                    <a:pt x="90242" y="95931"/>
                    <a:pt x="90951" y="95980"/>
                    <a:pt x="91623" y="96063"/>
                  </a:cubicBezTo>
                  <a:cubicBezTo>
                    <a:pt x="92918" y="96285"/>
                    <a:pt x="94540" y="96218"/>
                    <a:pt x="96076" y="96241"/>
                  </a:cubicBezTo>
                  <a:cubicBezTo>
                    <a:pt x="96195" y="96248"/>
                    <a:pt x="96318" y="96251"/>
                    <a:pt x="96444" y="96251"/>
                  </a:cubicBezTo>
                  <a:cubicBezTo>
                    <a:pt x="97104" y="96251"/>
                    <a:pt x="97841" y="96170"/>
                    <a:pt x="98558" y="96114"/>
                  </a:cubicBezTo>
                  <a:lnTo>
                    <a:pt x="101138" y="95910"/>
                  </a:lnTo>
                  <a:lnTo>
                    <a:pt x="103924" y="95483"/>
                  </a:lnTo>
                  <a:cubicBezTo>
                    <a:pt x="104862" y="95334"/>
                    <a:pt x="105772" y="95230"/>
                    <a:pt x="106787" y="94977"/>
                  </a:cubicBezTo>
                  <a:lnTo>
                    <a:pt x="109772" y="94328"/>
                  </a:lnTo>
                  <a:lnTo>
                    <a:pt x="110520" y="94167"/>
                  </a:lnTo>
                  <a:lnTo>
                    <a:pt x="111302" y="93951"/>
                  </a:lnTo>
                  <a:lnTo>
                    <a:pt x="112868" y="93518"/>
                  </a:lnTo>
                  <a:cubicBezTo>
                    <a:pt x="113921" y="93215"/>
                    <a:pt x="114948" y="92976"/>
                    <a:pt x="116025" y="92624"/>
                  </a:cubicBezTo>
                  <a:lnTo>
                    <a:pt x="119271" y="91554"/>
                  </a:lnTo>
                  <a:lnTo>
                    <a:pt x="119549" y="90614"/>
                  </a:lnTo>
                  <a:lnTo>
                    <a:pt x="116412" y="91649"/>
                  </a:lnTo>
                  <a:cubicBezTo>
                    <a:pt x="115372" y="91991"/>
                    <a:pt x="114380" y="92221"/>
                    <a:pt x="113364" y="92515"/>
                  </a:cubicBezTo>
                  <a:lnTo>
                    <a:pt x="111849" y="92937"/>
                  </a:lnTo>
                  <a:lnTo>
                    <a:pt x="111094" y="93146"/>
                  </a:lnTo>
                  <a:lnTo>
                    <a:pt x="110371" y="93302"/>
                  </a:lnTo>
                  <a:lnTo>
                    <a:pt x="107486" y="93934"/>
                  </a:lnTo>
                  <a:cubicBezTo>
                    <a:pt x="106503" y="94180"/>
                    <a:pt x="105624" y="94280"/>
                    <a:pt x="104716" y="94426"/>
                  </a:cubicBezTo>
                  <a:lnTo>
                    <a:pt x="102018" y="94846"/>
                  </a:lnTo>
                  <a:lnTo>
                    <a:pt x="99519" y="95046"/>
                  </a:lnTo>
                  <a:cubicBezTo>
                    <a:pt x="98821" y="95103"/>
                    <a:pt x="98101" y="95184"/>
                    <a:pt x="97459" y="95184"/>
                  </a:cubicBezTo>
                  <a:cubicBezTo>
                    <a:pt x="97341" y="95184"/>
                    <a:pt x="97225" y="95182"/>
                    <a:pt x="97113" y="95175"/>
                  </a:cubicBezTo>
                  <a:cubicBezTo>
                    <a:pt x="96874" y="95172"/>
                    <a:pt x="96633" y="95171"/>
                    <a:pt x="96392" y="95171"/>
                  </a:cubicBezTo>
                  <a:cubicBezTo>
                    <a:pt x="96137" y="95171"/>
                    <a:pt x="95881" y="95172"/>
                    <a:pt x="95627" y="95172"/>
                  </a:cubicBezTo>
                  <a:cubicBezTo>
                    <a:pt x="94621" y="95172"/>
                    <a:pt x="93636" y="95158"/>
                    <a:pt x="92794" y="95015"/>
                  </a:cubicBezTo>
                  <a:cubicBezTo>
                    <a:pt x="92142" y="94936"/>
                    <a:pt x="91453" y="94892"/>
                    <a:pt x="90829" y="94793"/>
                  </a:cubicBezTo>
                  <a:lnTo>
                    <a:pt x="89122" y="94379"/>
                  </a:lnTo>
                  <a:lnTo>
                    <a:pt x="88268" y="94180"/>
                  </a:lnTo>
                  <a:cubicBezTo>
                    <a:pt x="88012" y="94093"/>
                    <a:pt x="87790" y="93981"/>
                    <a:pt x="87549" y="93884"/>
                  </a:cubicBezTo>
                  <a:lnTo>
                    <a:pt x="86126" y="93296"/>
                  </a:lnTo>
                  <a:cubicBezTo>
                    <a:pt x="85680" y="93085"/>
                    <a:pt x="85354" y="92790"/>
                    <a:pt x="84959" y="92548"/>
                  </a:cubicBezTo>
                  <a:cubicBezTo>
                    <a:pt x="84601" y="92283"/>
                    <a:pt x="84146" y="92083"/>
                    <a:pt x="83913" y="91741"/>
                  </a:cubicBezTo>
                  <a:cubicBezTo>
                    <a:pt x="83121" y="91019"/>
                    <a:pt x="82532" y="90186"/>
                    <a:pt x="82136" y="89259"/>
                  </a:cubicBezTo>
                  <a:lnTo>
                    <a:pt x="84991" y="87696"/>
                  </a:lnTo>
                  <a:cubicBezTo>
                    <a:pt x="85377" y="88547"/>
                    <a:pt x="85942" y="89313"/>
                    <a:pt x="86693" y="89974"/>
                  </a:cubicBezTo>
                  <a:cubicBezTo>
                    <a:pt x="86913" y="90292"/>
                    <a:pt x="87351" y="90471"/>
                    <a:pt x="87691" y="90717"/>
                  </a:cubicBezTo>
                  <a:cubicBezTo>
                    <a:pt x="88068" y="90938"/>
                    <a:pt x="88372" y="91213"/>
                    <a:pt x="88797" y="91405"/>
                  </a:cubicBezTo>
                  <a:lnTo>
                    <a:pt x="90145" y="91941"/>
                  </a:lnTo>
                  <a:cubicBezTo>
                    <a:pt x="90373" y="92030"/>
                    <a:pt x="90582" y="92134"/>
                    <a:pt x="90823" y="92214"/>
                  </a:cubicBezTo>
                  <a:lnTo>
                    <a:pt x="91631" y="92391"/>
                  </a:lnTo>
                  <a:lnTo>
                    <a:pt x="93236" y="92768"/>
                  </a:lnTo>
                  <a:cubicBezTo>
                    <a:pt x="93823" y="92856"/>
                    <a:pt x="94476" y="92890"/>
                    <a:pt x="95088" y="92962"/>
                  </a:cubicBezTo>
                  <a:cubicBezTo>
                    <a:pt x="95762" y="93074"/>
                    <a:pt x="96540" y="93094"/>
                    <a:pt x="97344" y="93094"/>
                  </a:cubicBezTo>
                  <a:cubicBezTo>
                    <a:pt x="97810" y="93094"/>
                    <a:pt x="98285" y="93087"/>
                    <a:pt x="98754" y="93087"/>
                  </a:cubicBezTo>
                  <a:cubicBezTo>
                    <a:pt x="98884" y="93087"/>
                    <a:pt x="99014" y="93088"/>
                    <a:pt x="99143" y="93089"/>
                  </a:cubicBezTo>
                  <a:cubicBezTo>
                    <a:pt x="99242" y="93095"/>
                    <a:pt x="99343" y="93097"/>
                    <a:pt x="99446" y="93097"/>
                  </a:cubicBezTo>
                  <a:cubicBezTo>
                    <a:pt x="100052" y="93097"/>
                    <a:pt x="100738" y="93014"/>
                    <a:pt x="101401" y="92958"/>
                  </a:cubicBezTo>
                  <a:lnTo>
                    <a:pt x="103739" y="92763"/>
                  </a:lnTo>
                  <a:lnTo>
                    <a:pt x="106263" y="92361"/>
                  </a:lnTo>
                  <a:cubicBezTo>
                    <a:pt x="107111" y="92223"/>
                    <a:pt x="107930" y="92130"/>
                    <a:pt x="108848" y="91895"/>
                  </a:cubicBezTo>
                  <a:lnTo>
                    <a:pt x="111540" y="91299"/>
                  </a:lnTo>
                  <a:lnTo>
                    <a:pt x="112213" y="91154"/>
                  </a:lnTo>
                  <a:lnTo>
                    <a:pt x="112917" y="90956"/>
                  </a:lnTo>
                  <a:lnTo>
                    <a:pt x="114328" y="90560"/>
                  </a:lnTo>
                  <a:cubicBezTo>
                    <a:pt x="115276" y="90283"/>
                    <a:pt x="116199" y="90071"/>
                    <a:pt x="117168" y="89750"/>
                  </a:cubicBezTo>
                  <a:lnTo>
                    <a:pt x="120090" y="88780"/>
                  </a:lnTo>
                  <a:lnTo>
                    <a:pt x="120361" y="87860"/>
                  </a:lnTo>
                  <a:lnTo>
                    <a:pt x="117549" y="88796"/>
                  </a:lnTo>
                  <a:cubicBezTo>
                    <a:pt x="116614" y="89107"/>
                    <a:pt x="115727" y="89310"/>
                    <a:pt x="114814" y="89577"/>
                  </a:cubicBezTo>
                  <a:lnTo>
                    <a:pt x="113454" y="89962"/>
                  </a:lnTo>
                  <a:lnTo>
                    <a:pt x="112775" y="90153"/>
                  </a:lnTo>
                  <a:lnTo>
                    <a:pt x="112126" y="90293"/>
                  </a:lnTo>
                  <a:lnTo>
                    <a:pt x="109534" y="90871"/>
                  </a:lnTo>
                  <a:cubicBezTo>
                    <a:pt x="108647" y="91100"/>
                    <a:pt x="107858" y="91189"/>
                    <a:pt x="107041" y="91322"/>
                  </a:cubicBezTo>
                  <a:lnTo>
                    <a:pt x="104605" y="91716"/>
                  </a:lnTo>
                  <a:lnTo>
                    <a:pt x="102349" y="91908"/>
                  </a:lnTo>
                  <a:cubicBezTo>
                    <a:pt x="101703" y="91964"/>
                    <a:pt x="101034" y="92047"/>
                    <a:pt x="100445" y="92047"/>
                  </a:cubicBezTo>
                  <a:cubicBezTo>
                    <a:pt x="100350" y="92047"/>
                    <a:pt x="100257" y="92045"/>
                    <a:pt x="100167" y="92040"/>
                  </a:cubicBezTo>
                  <a:cubicBezTo>
                    <a:pt x="100067" y="92040"/>
                    <a:pt x="99966" y="92039"/>
                    <a:pt x="99866" y="92039"/>
                  </a:cubicBezTo>
                  <a:cubicBezTo>
                    <a:pt x="99346" y="92039"/>
                    <a:pt x="98816" y="92050"/>
                    <a:pt x="98300" y="92050"/>
                  </a:cubicBezTo>
                  <a:cubicBezTo>
                    <a:pt x="97567" y="92050"/>
                    <a:pt x="96859" y="92029"/>
                    <a:pt x="96244" y="91927"/>
                  </a:cubicBezTo>
                  <a:cubicBezTo>
                    <a:pt x="95652" y="91860"/>
                    <a:pt x="95020" y="91830"/>
                    <a:pt x="94452" y="91748"/>
                  </a:cubicBezTo>
                  <a:lnTo>
                    <a:pt x="92896" y="91389"/>
                  </a:lnTo>
                  <a:lnTo>
                    <a:pt x="92112" y="91222"/>
                  </a:lnTo>
                  <a:cubicBezTo>
                    <a:pt x="91878" y="91146"/>
                    <a:pt x="91677" y="91046"/>
                    <a:pt x="91456" y="90961"/>
                  </a:cubicBezTo>
                  <a:lnTo>
                    <a:pt x="90146" y="90450"/>
                  </a:lnTo>
                  <a:cubicBezTo>
                    <a:pt x="89734" y="90267"/>
                    <a:pt x="89439" y="90002"/>
                    <a:pt x="89072" y="89790"/>
                  </a:cubicBezTo>
                  <a:cubicBezTo>
                    <a:pt x="88741" y="89556"/>
                    <a:pt x="88311" y="89388"/>
                    <a:pt x="88099" y="89079"/>
                  </a:cubicBezTo>
                  <a:cubicBezTo>
                    <a:pt x="87370" y="88447"/>
                    <a:pt x="86819" y="87717"/>
                    <a:pt x="86438" y="86903"/>
                  </a:cubicBezTo>
                  <a:lnTo>
                    <a:pt x="86978" y="86608"/>
                  </a:lnTo>
                  <a:close/>
                  <a:moveTo>
                    <a:pt x="78287" y="79530"/>
                  </a:moveTo>
                  <a:lnTo>
                    <a:pt x="77805" y="80279"/>
                  </a:lnTo>
                  <a:lnTo>
                    <a:pt x="76857" y="82110"/>
                  </a:lnTo>
                  <a:lnTo>
                    <a:pt x="76383" y="83034"/>
                  </a:lnTo>
                  <a:lnTo>
                    <a:pt x="76054" y="83910"/>
                  </a:lnTo>
                  <a:lnTo>
                    <a:pt x="75394" y="85680"/>
                  </a:lnTo>
                  <a:lnTo>
                    <a:pt x="75035" y="87350"/>
                  </a:lnTo>
                  <a:cubicBezTo>
                    <a:pt x="74978" y="87629"/>
                    <a:pt x="74906" y="87917"/>
                    <a:pt x="74862" y="88192"/>
                  </a:cubicBezTo>
                  <a:lnTo>
                    <a:pt x="74838" y="88971"/>
                  </a:lnTo>
                  <a:cubicBezTo>
                    <a:pt x="74829" y="89490"/>
                    <a:pt x="74796" y="90024"/>
                    <a:pt x="74804" y="90541"/>
                  </a:cubicBezTo>
                  <a:lnTo>
                    <a:pt x="74804" y="90542"/>
                  </a:lnTo>
                  <a:lnTo>
                    <a:pt x="75084" y="91982"/>
                  </a:lnTo>
                  <a:cubicBezTo>
                    <a:pt x="75109" y="92095"/>
                    <a:pt x="75128" y="92213"/>
                    <a:pt x="75149" y="92329"/>
                  </a:cubicBezTo>
                  <a:lnTo>
                    <a:pt x="71863" y="94128"/>
                  </a:lnTo>
                  <a:cubicBezTo>
                    <a:pt x="71835" y="94026"/>
                    <a:pt x="71806" y="93923"/>
                    <a:pt x="71780" y="93820"/>
                  </a:cubicBezTo>
                  <a:lnTo>
                    <a:pt x="60937" y="99619"/>
                  </a:lnTo>
                  <a:cubicBezTo>
                    <a:pt x="60740" y="98288"/>
                    <a:pt x="60755" y="96865"/>
                    <a:pt x="60973" y="95363"/>
                  </a:cubicBezTo>
                  <a:lnTo>
                    <a:pt x="71574" y="90365"/>
                  </a:lnTo>
                  <a:cubicBezTo>
                    <a:pt x="71838" y="87562"/>
                    <a:pt x="72992" y="84418"/>
                    <a:pt x="74952" y="81079"/>
                  </a:cubicBezTo>
                  <a:cubicBezTo>
                    <a:pt x="75082" y="80864"/>
                    <a:pt x="75214" y="80649"/>
                    <a:pt x="75351" y="80433"/>
                  </a:cubicBezTo>
                  <a:lnTo>
                    <a:pt x="78287" y="79530"/>
                  </a:lnTo>
                  <a:close/>
                  <a:moveTo>
                    <a:pt x="164629" y="73581"/>
                  </a:moveTo>
                  <a:lnTo>
                    <a:pt x="171344" y="75304"/>
                  </a:lnTo>
                  <a:cubicBezTo>
                    <a:pt x="158940" y="85050"/>
                    <a:pt x="143746" y="93795"/>
                    <a:pt x="128411" y="100207"/>
                  </a:cubicBezTo>
                  <a:lnTo>
                    <a:pt x="128251" y="94538"/>
                  </a:lnTo>
                  <a:lnTo>
                    <a:pt x="130694" y="93496"/>
                  </a:lnTo>
                  <a:lnTo>
                    <a:pt x="131917" y="92972"/>
                  </a:lnTo>
                  <a:cubicBezTo>
                    <a:pt x="132323" y="92789"/>
                    <a:pt x="132726" y="92590"/>
                    <a:pt x="133132" y="92401"/>
                  </a:cubicBezTo>
                  <a:lnTo>
                    <a:pt x="137994" y="90083"/>
                  </a:lnTo>
                  <a:cubicBezTo>
                    <a:pt x="139607" y="89290"/>
                    <a:pt x="141186" y="88419"/>
                    <a:pt x="142780" y="87587"/>
                  </a:cubicBezTo>
                  <a:cubicBezTo>
                    <a:pt x="143574" y="87165"/>
                    <a:pt x="144374" y="86751"/>
                    <a:pt x="145160" y="86319"/>
                  </a:cubicBezTo>
                  <a:lnTo>
                    <a:pt x="147476" y="84974"/>
                  </a:lnTo>
                  <a:lnTo>
                    <a:pt x="149785" y="83629"/>
                  </a:lnTo>
                  <a:cubicBezTo>
                    <a:pt x="150553" y="83179"/>
                    <a:pt x="151331" y="82739"/>
                    <a:pt x="152057" y="82257"/>
                  </a:cubicBezTo>
                  <a:lnTo>
                    <a:pt x="156464" y="79433"/>
                  </a:lnTo>
                  <a:cubicBezTo>
                    <a:pt x="157927" y="78495"/>
                    <a:pt x="159256" y="77492"/>
                    <a:pt x="160650" y="76528"/>
                  </a:cubicBezTo>
                  <a:lnTo>
                    <a:pt x="162705" y="75070"/>
                  </a:lnTo>
                  <a:cubicBezTo>
                    <a:pt x="163363" y="74578"/>
                    <a:pt x="163989" y="74077"/>
                    <a:pt x="164629" y="73581"/>
                  </a:cubicBezTo>
                  <a:close/>
                  <a:moveTo>
                    <a:pt x="189668" y="92633"/>
                  </a:moveTo>
                  <a:lnTo>
                    <a:pt x="189668" y="92633"/>
                  </a:lnTo>
                  <a:cubicBezTo>
                    <a:pt x="186737" y="94731"/>
                    <a:pt x="183719" y="96802"/>
                    <a:pt x="180614" y="98849"/>
                  </a:cubicBezTo>
                  <a:cubicBezTo>
                    <a:pt x="179477" y="99573"/>
                    <a:pt x="178354" y="100309"/>
                    <a:pt x="177221" y="101040"/>
                  </a:cubicBezTo>
                  <a:cubicBezTo>
                    <a:pt x="177266" y="100273"/>
                    <a:pt x="177297" y="99517"/>
                    <a:pt x="177311" y="98776"/>
                  </a:cubicBezTo>
                  <a:lnTo>
                    <a:pt x="179976" y="97059"/>
                  </a:lnTo>
                  <a:lnTo>
                    <a:pt x="182560" y="95304"/>
                  </a:lnTo>
                  <a:cubicBezTo>
                    <a:pt x="183756" y="94483"/>
                    <a:pt x="184978" y="93677"/>
                    <a:pt x="186146" y="92847"/>
                  </a:cubicBezTo>
                  <a:cubicBezTo>
                    <a:pt x="187302" y="92785"/>
                    <a:pt x="188476" y="92714"/>
                    <a:pt x="189668" y="92633"/>
                  </a:cubicBezTo>
                  <a:close/>
                  <a:moveTo>
                    <a:pt x="177791" y="59506"/>
                  </a:moveTo>
                  <a:lnTo>
                    <a:pt x="177791" y="59506"/>
                  </a:lnTo>
                  <a:cubicBezTo>
                    <a:pt x="177631" y="59686"/>
                    <a:pt x="177470" y="59866"/>
                    <a:pt x="177313" y="60047"/>
                  </a:cubicBezTo>
                  <a:cubicBezTo>
                    <a:pt x="176396" y="61056"/>
                    <a:pt x="175582" y="62067"/>
                    <a:pt x="174556" y="63091"/>
                  </a:cubicBezTo>
                  <a:lnTo>
                    <a:pt x="171397" y="66194"/>
                  </a:lnTo>
                  <a:lnTo>
                    <a:pt x="181300" y="66669"/>
                  </a:lnTo>
                  <a:cubicBezTo>
                    <a:pt x="178910" y="68977"/>
                    <a:pt x="176338" y="71253"/>
                    <a:pt x="173616" y="73483"/>
                  </a:cubicBezTo>
                  <a:lnTo>
                    <a:pt x="164961" y="71715"/>
                  </a:lnTo>
                  <a:cubicBezTo>
                    <a:pt x="163573" y="72781"/>
                    <a:pt x="162250" y="73871"/>
                    <a:pt x="160789" y="74924"/>
                  </a:cubicBezTo>
                  <a:lnTo>
                    <a:pt x="156313" y="78080"/>
                  </a:lnTo>
                  <a:cubicBezTo>
                    <a:pt x="153177" y="80129"/>
                    <a:pt x="150009" y="82191"/>
                    <a:pt x="146631" y="84090"/>
                  </a:cubicBezTo>
                  <a:cubicBezTo>
                    <a:pt x="139924" y="87941"/>
                    <a:pt x="132859" y="91422"/>
                    <a:pt x="125804" y="94278"/>
                  </a:cubicBezTo>
                  <a:lnTo>
                    <a:pt x="125429" y="101423"/>
                  </a:lnTo>
                  <a:cubicBezTo>
                    <a:pt x="124398" y="101833"/>
                    <a:pt x="123367" y="102232"/>
                    <a:pt x="122336" y="102621"/>
                  </a:cubicBezTo>
                  <a:lnTo>
                    <a:pt x="123576" y="93138"/>
                  </a:lnTo>
                  <a:cubicBezTo>
                    <a:pt x="128379" y="91325"/>
                    <a:pt x="133231" y="89072"/>
                    <a:pt x="138001" y="86714"/>
                  </a:cubicBezTo>
                  <a:cubicBezTo>
                    <a:pt x="140568" y="85346"/>
                    <a:pt x="143179" y="84039"/>
                    <a:pt x="145642" y="82548"/>
                  </a:cubicBezTo>
                  <a:cubicBezTo>
                    <a:pt x="146877" y="81814"/>
                    <a:pt x="148160" y="81122"/>
                    <a:pt x="149349" y="80357"/>
                  </a:cubicBezTo>
                  <a:lnTo>
                    <a:pt x="152919" y="78077"/>
                  </a:lnTo>
                  <a:cubicBezTo>
                    <a:pt x="154134" y="77333"/>
                    <a:pt x="155215" y="76525"/>
                    <a:pt x="156343" y="75742"/>
                  </a:cubicBezTo>
                  <a:cubicBezTo>
                    <a:pt x="157442" y="74952"/>
                    <a:pt x="158613" y="74187"/>
                    <a:pt x="159645" y="73381"/>
                  </a:cubicBezTo>
                  <a:cubicBezTo>
                    <a:pt x="161687" y="71773"/>
                    <a:pt x="163843" y="70196"/>
                    <a:pt x="165631" y="68568"/>
                  </a:cubicBezTo>
                  <a:cubicBezTo>
                    <a:pt x="166544" y="67763"/>
                    <a:pt x="167520" y="66965"/>
                    <a:pt x="168372" y="66162"/>
                  </a:cubicBezTo>
                  <a:lnTo>
                    <a:pt x="170828" y="63768"/>
                  </a:lnTo>
                  <a:cubicBezTo>
                    <a:pt x="171225" y="63371"/>
                    <a:pt x="171659" y="62974"/>
                    <a:pt x="172025" y="62580"/>
                  </a:cubicBezTo>
                  <a:lnTo>
                    <a:pt x="173075" y="61405"/>
                  </a:lnTo>
                  <a:lnTo>
                    <a:pt x="174477" y="59834"/>
                  </a:lnTo>
                  <a:lnTo>
                    <a:pt x="177791" y="59506"/>
                  </a:lnTo>
                  <a:close/>
                  <a:moveTo>
                    <a:pt x="172166" y="75516"/>
                  </a:moveTo>
                  <a:lnTo>
                    <a:pt x="177362" y="76849"/>
                  </a:lnTo>
                  <a:cubicBezTo>
                    <a:pt x="176513" y="77518"/>
                    <a:pt x="175678" y="78194"/>
                    <a:pt x="174804" y="78859"/>
                  </a:cubicBezTo>
                  <a:lnTo>
                    <a:pt x="172081" y="80833"/>
                  </a:lnTo>
                  <a:cubicBezTo>
                    <a:pt x="170231" y="82143"/>
                    <a:pt x="168439" y="83492"/>
                    <a:pt x="166492" y="84765"/>
                  </a:cubicBezTo>
                  <a:cubicBezTo>
                    <a:pt x="164542" y="86043"/>
                    <a:pt x="162575" y="87319"/>
                    <a:pt x="160592" y="88591"/>
                  </a:cubicBezTo>
                  <a:cubicBezTo>
                    <a:pt x="159611" y="89238"/>
                    <a:pt x="158575" y="89839"/>
                    <a:pt x="157546" y="90448"/>
                  </a:cubicBezTo>
                  <a:lnTo>
                    <a:pt x="154445" y="92271"/>
                  </a:lnTo>
                  <a:lnTo>
                    <a:pt x="151325" y="94084"/>
                  </a:lnTo>
                  <a:cubicBezTo>
                    <a:pt x="150268" y="94669"/>
                    <a:pt x="149194" y="95231"/>
                    <a:pt x="148127" y="95803"/>
                  </a:cubicBezTo>
                  <a:cubicBezTo>
                    <a:pt x="145980" y="96930"/>
                    <a:pt x="143849" y="98095"/>
                    <a:pt x="141677" y="99163"/>
                  </a:cubicBezTo>
                  <a:cubicBezTo>
                    <a:pt x="139496" y="100213"/>
                    <a:pt x="137313" y="101253"/>
                    <a:pt x="135125" y="102279"/>
                  </a:cubicBezTo>
                  <a:cubicBezTo>
                    <a:pt x="134580" y="102534"/>
                    <a:pt x="134034" y="102798"/>
                    <a:pt x="133487" y="103042"/>
                  </a:cubicBezTo>
                  <a:lnTo>
                    <a:pt x="131840" y="103748"/>
                  </a:lnTo>
                  <a:lnTo>
                    <a:pt x="128548" y="105144"/>
                  </a:lnTo>
                  <a:lnTo>
                    <a:pt x="128428" y="100898"/>
                  </a:lnTo>
                  <a:cubicBezTo>
                    <a:pt x="144055" y="94369"/>
                    <a:pt x="159539" y="85454"/>
                    <a:pt x="172166" y="75516"/>
                  </a:cubicBezTo>
                  <a:close/>
                  <a:moveTo>
                    <a:pt x="69910" y="95956"/>
                  </a:moveTo>
                  <a:lnTo>
                    <a:pt x="70448" y="97214"/>
                  </a:lnTo>
                  <a:cubicBezTo>
                    <a:pt x="70556" y="97436"/>
                    <a:pt x="70628" y="97681"/>
                    <a:pt x="70768" y="97885"/>
                  </a:cubicBezTo>
                  <a:lnTo>
                    <a:pt x="71229" y="98481"/>
                  </a:lnTo>
                  <a:lnTo>
                    <a:pt x="72178" y="99678"/>
                  </a:lnTo>
                  <a:cubicBezTo>
                    <a:pt x="72572" y="100036"/>
                    <a:pt x="73024" y="100359"/>
                    <a:pt x="73453" y="100699"/>
                  </a:cubicBezTo>
                  <a:lnTo>
                    <a:pt x="64842" y="106543"/>
                  </a:lnTo>
                  <a:cubicBezTo>
                    <a:pt x="62941" y="104955"/>
                    <a:pt x="61721" y="103000"/>
                    <a:pt x="61160" y="100747"/>
                  </a:cubicBezTo>
                  <a:lnTo>
                    <a:pt x="69910" y="95956"/>
                  </a:lnTo>
                  <a:close/>
                  <a:moveTo>
                    <a:pt x="31416" y="94451"/>
                  </a:moveTo>
                  <a:cubicBezTo>
                    <a:pt x="30545" y="95614"/>
                    <a:pt x="29715" y="96770"/>
                    <a:pt x="28927" y="97921"/>
                  </a:cubicBezTo>
                  <a:cubicBezTo>
                    <a:pt x="29745" y="97993"/>
                    <a:pt x="30623" y="98032"/>
                    <a:pt x="31525" y="98052"/>
                  </a:cubicBezTo>
                  <a:cubicBezTo>
                    <a:pt x="30628" y="99430"/>
                    <a:pt x="29802" y="100794"/>
                    <a:pt x="29068" y="102134"/>
                  </a:cubicBezTo>
                  <a:lnTo>
                    <a:pt x="15189" y="107516"/>
                  </a:lnTo>
                  <a:cubicBezTo>
                    <a:pt x="17151" y="104207"/>
                    <a:pt x="19557" y="100790"/>
                    <a:pt x="22199" y="97372"/>
                  </a:cubicBezTo>
                  <a:lnTo>
                    <a:pt x="31416" y="94451"/>
                  </a:lnTo>
                  <a:close/>
                  <a:moveTo>
                    <a:pt x="27259" y="105606"/>
                  </a:moveTo>
                  <a:lnTo>
                    <a:pt x="27259" y="105606"/>
                  </a:lnTo>
                  <a:cubicBezTo>
                    <a:pt x="27034" y="106068"/>
                    <a:pt x="26824" y="106526"/>
                    <a:pt x="26636" y="106977"/>
                  </a:cubicBezTo>
                  <a:lnTo>
                    <a:pt x="24304" y="107971"/>
                  </a:lnTo>
                  <a:cubicBezTo>
                    <a:pt x="24396" y="107768"/>
                    <a:pt x="24488" y="107566"/>
                    <a:pt x="24579" y="107365"/>
                  </a:cubicBezTo>
                  <a:cubicBezTo>
                    <a:pt x="25463" y="106776"/>
                    <a:pt x="26359" y="106191"/>
                    <a:pt x="27259" y="105606"/>
                  </a:cubicBezTo>
                  <a:close/>
                  <a:moveTo>
                    <a:pt x="75366" y="92968"/>
                  </a:moveTo>
                  <a:lnTo>
                    <a:pt x="75546" y="93348"/>
                  </a:lnTo>
                  <a:cubicBezTo>
                    <a:pt x="75759" y="93777"/>
                    <a:pt x="75941" y="94228"/>
                    <a:pt x="76183" y="94645"/>
                  </a:cubicBezTo>
                  <a:lnTo>
                    <a:pt x="77142" y="95780"/>
                  </a:lnTo>
                  <a:cubicBezTo>
                    <a:pt x="77312" y="95965"/>
                    <a:pt x="77448" y="96174"/>
                    <a:pt x="77647" y="96342"/>
                  </a:cubicBezTo>
                  <a:lnTo>
                    <a:pt x="78299" y="96816"/>
                  </a:lnTo>
                  <a:cubicBezTo>
                    <a:pt x="78743" y="97130"/>
                    <a:pt x="79161" y="97466"/>
                    <a:pt x="79635" y="97766"/>
                  </a:cubicBezTo>
                  <a:lnTo>
                    <a:pt x="81299" y="98516"/>
                  </a:lnTo>
                  <a:cubicBezTo>
                    <a:pt x="81583" y="98639"/>
                    <a:pt x="81850" y="98776"/>
                    <a:pt x="82150" y="98889"/>
                  </a:cubicBezTo>
                  <a:lnTo>
                    <a:pt x="83153" y="99153"/>
                  </a:lnTo>
                  <a:lnTo>
                    <a:pt x="85183" y="99687"/>
                  </a:lnTo>
                  <a:lnTo>
                    <a:pt x="87537" y="99982"/>
                  </a:lnTo>
                  <a:lnTo>
                    <a:pt x="88728" y="100129"/>
                  </a:lnTo>
                  <a:cubicBezTo>
                    <a:pt x="89138" y="100169"/>
                    <a:pt x="89609" y="100152"/>
                    <a:pt x="90047" y="100167"/>
                  </a:cubicBezTo>
                  <a:lnTo>
                    <a:pt x="92747" y="100209"/>
                  </a:lnTo>
                  <a:cubicBezTo>
                    <a:pt x="92772" y="100209"/>
                    <a:pt x="92797" y="100209"/>
                    <a:pt x="92823" y="100209"/>
                  </a:cubicBezTo>
                  <a:cubicBezTo>
                    <a:pt x="93720" y="100209"/>
                    <a:pt x="94738" y="100085"/>
                    <a:pt x="95692" y="100032"/>
                  </a:cubicBezTo>
                  <a:lnTo>
                    <a:pt x="97197" y="99923"/>
                  </a:lnTo>
                  <a:lnTo>
                    <a:pt x="97955" y="99866"/>
                  </a:lnTo>
                  <a:lnTo>
                    <a:pt x="98767" y="99746"/>
                  </a:lnTo>
                  <a:cubicBezTo>
                    <a:pt x="100951" y="99413"/>
                    <a:pt x="103090" y="99166"/>
                    <a:pt x="105468" y="98596"/>
                  </a:cubicBezTo>
                  <a:cubicBezTo>
                    <a:pt x="109786" y="97757"/>
                    <a:pt x="114482" y="96334"/>
                    <a:pt x="119242" y="94726"/>
                  </a:cubicBezTo>
                  <a:lnTo>
                    <a:pt x="119242" y="94726"/>
                  </a:lnTo>
                  <a:lnTo>
                    <a:pt x="116602" y="104667"/>
                  </a:lnTo>
                  <a:cubicBezTo>
                    <a:pt x="114355" y="105423"/>
                    <a:pt x="112121" y="106119"/>
                    <a:pt x="109903" y="106756"/>
                  </a:cubicBezTo>
                  <a:lnTo>
                    <a:pt x="113194" y="98726"/>
                  </a:lnTo>
                  <a:lnTo>
                    <a:pt x="113194" y="98726"/>
                  </a:lnTo>
                  <a:cubicBezTo>
                    <a:pt x="106534" y="100686"/>
                    <a:pt x="100295" y="101932"/>
                    <a:pt x="94755" y="102463"/>
                  </a:cubicBezTo>
                  <a:lnTo>
                    <a:pt x="90785" y="102730"/>
                  </a:lnTo>
                  <a:lnTo>
                    <a:pt x="87205" y="102652"/>
                  </a:lnTo>
                  <a:lnTo>
                    <a:pt x="86322" y="102631"/>
                  </a:lnTo>
                  <a:cubicBezTo>
                    <a:pt x="86041" y="102612"/>
                    <a:pt x="85789" y="102567"/>
                    <a:pt x="85522" y="102535"/>
                  </a:cubicBezTo>
                  <a:lnTo>
                    <a:pt x="83954" y="102328"/>
                  </a:lnTo>
                  <a:lnTo>
                    <a:pt x="82405" y="102118"/>
                  </a:lnTo>
                  <a:cubicBezTo>
                    <a:pt x="81935" y="102012"/>
                    <a:pt x="81500" y="101878"/>
                    <a:pt x="81049" y="101759"/>
                  </a:cubicBezTo>
                  <a:lnTo>
                    <a:pt x="71212" y="109765"/>
                  </a:lnTo>
                  <a:cubicBezTo>
                    <a:pt x="69065" y="109130"/>
                    <a:pt x="67263" y="108290"/>
                    <a:pt x="65789" y="107267"/>
                  </a:cubicBezTo>
                  <a:lnTo>
                    <a:pt x="76307" y="99895"/>
                  </a:lnTo>
                  <a:cubicBezTo>
                    <a:pt x="74191" y="98572"/>
                    <a:pt x="72794" y="96828"/>
                    <a:pt x="72067" y="94775"/>
                  </a:cubicBezTo>
                  <a:lnTo>
                    <a:pt x="75366" y="92968"/>
                  </a:lnTo>
                  <a:close/>
                  <a:moveTo>
                    <a:pt x="174782" y="103508"/>
                  </a:moveTo>
                  <a:cubicBezTo>
                    <a:pt x="174684" y="104310"/>
                    <a:pt x="174571" y="105123"/>
                    <a:pt x="174441" y="105952"/>
                  </a:cubicBezTo>
                  <a:cubicBezTo>
                    <a:pt x="172724" y="107011"/>
                    <a:pt x="170997" y="108064"/>
                    <a:pt x="169223" y="109072"/>
                  </a:cubicBezTo>
                  <a:cubicBezTo>
                    <a:pt x="168798" y="109314"/>
                    <a:pt x="168376" y="109558"/>
                    <a:pt x="167955" y="109804"/>
                  </a:cubicBezTo>
                  <a:lnTo>
                    <a:pt x="166672" y="108351"/>
                  </a:lnTo>
                  <a:lnTo>
                    <a:pt x="170127" y="106355"/>
                  </a:lnTo>
                  <a:lnTo>
                    <a:pt x="173500" y="104291"/>
                  </a:lnTo>
                  <a:cubicBezTo>
                    <a:pt x="173926" y="104029"/>
                    <a:pt x="174352" y="103767"/>
                    <a:pt x="174782" y="103508"/>
                  </a:cubicBezTo>
                  <a:close/>
                  <a:moveTo>
                    <a:pt x="28743" y="102701"/>
                  </a:moveTo>
                  <a:lnTo>
                    <a:pt x="28743" y="102701"/>
                  </a:lnTo>
                  <a:cubicBezTo>
                    <a:pt x="28424" y="103319"/>
                    <a:pt x="28094" y="103945"/>
                    <a:pt x="27776" y="104570"/>
                  </a:cubicBezTo>
                  <a:cubicBezTo>
                    <a:pt x="26289" y="105521"/>
                    <a:pt x="24793" y="106490"/>
                    <a:pt x="23304" y="107472"/>
                  </a:cubicBezTo>
                  <a:cubicBezTo>
                    <a:pt x="23131" y="107853"/>
                    <a:pt x="22953" y="108238"/>
                    <a:pt x="22775" y="108623"/>
                  </a:cubicBezTo>
                  <a:lnTo>
                    <a:pt x="18197" y="110574"/>
                  </a:lnTo>
                  <a:cubicBezTo>
                    <a:pt x="18883" y="109048"/>
                    <a:pt x="19788" y="107444"/>
                    <a:pt x="20643" y="105878"/>
                  </a:cubicBezTo>
                  <a:lnTo>
                    <a:pt x="28743" y="102701"/>
                  </a:lnTo>
                  <a:close/>
                  <a:moveTo>
                    <a:pt x="110210" y="100883"/>
                  </a:moveTo>
                  <a:lnTo>
                    <a:pt x="107104" y="107529"/>
                  </a:lnTo>
                  <a:cubicBezTo>
                    <a:pt x="98461" y="109818"/>
                    <a:pt x="90187" y="111114"/>
                    <a:pt x="82802" y="111153"/>
                  </a:cubicBezTo>
                  <a:cubicBezTo>
                    <a:pt x="82690" y="111153"/>
                    <a:pt x="82578" y="111154"/>
                    <a:pt x="82467" y="111154"/>
                  </a:cubicBezTo>
                  <a:cubicBezTo>
                    <a:pt x="78714" y="111154"/>
                    <a:pt x="75469" y="110809"/>
                    <a:pt x="72714" y="110162"/>
                  </a:cubicBezTo>
                  <a:lnTo>
                    <a:pt x="80430" y="103654"/>
                  </a:lnTo>
                  <a:lnTo>
                    <a:pt x="83273" y="104061"/>
                  </a:lnTo>
                  <a:cubicBezTo>
                    <a:pt x="83765" y="104118"/>
                    <a:pt x="84219" y="104212"/>
                    <a:pt x="84748" y="104237"/>
                  </a:cubicBezTo>
                  <a:lnTo>
                    <a:pt x="86372" y="104284"/>
                  </a:lnTo>
                  <a:cubicBezTo>
                    <a:pt x="87215" y="104294"/>
                    <a:pt x="88025" y="104344"/>
                    <a:pt x="88886" y="104344"/>
                  </a:cubicBezTo>
                  <a:cubicBezTo>
                    <a:pt x="89155" y="104344"/>
                    <a:pt x="89429" y="104339"/>
                    <a:pt x="89711" y="104327"/>
                  </a:cubicBezTo>
                  <a:lnTo>
                    <a:pt x="93367" y="104092"/>
                  </a:lnTo>
                  <a:cubicBezTo>
                    <a:pt x="98479" y="103585"/>
                    <a:pt x="104088" y="102650"/>
                    <a:pt x="110210" y="100883"/>
                  </a:cubicBezTo>
                  <a:close/>
                  <a:moveTo>
                    <a:pt x="26396" y="107515"/>
                  </a:moveTo>
                  <a:cubicBezTo>
                    <a:pt x="25817" y="108836"/>
                    <a:pt x="25335" y="110127"/>
                    <a:pt x="24917" y="111400"/>
                  </a:cubicBezTo>
                  <a:cubicBezTo>
                    <a:pt x="24187" y="111521"/>
                    <a:pt x="23466" y="111634"/>
                    <a:pt x="22760" y="111734"/>
                  </a:cubicBezTo>
                  <a:lnTo>
                    <a:pt x="23595" y="109565"/>
                  </a:lnTo>
                  <a:cubicBezTo>
                    <a:pt x="23738" y="109221"/>
                    <a:pt x="23894" y="108873"/>
                    <a:pt x="24052" y="108525"/>
                  </a:cubicBezTo>
                  <a:lnTo>
                    <a:pt x="26396" y="107515"/>
                  </a:lnTo>
                  <a:close/>
                  <a:moveTo>
                    <a:pt x="60091" y="101333"/>
                  </a:moveTo>
                  <a:cubicBezTo>
                    <a:pt x="60646" y="103633"/>
                    <a:pt x="61871" y="105631"/>
                    <a:pt x="63792" y="107257"/>
                  </a:cubicBezTo>
                  <a:lnTo>
                    <a:pt x="57082" y="111812"/>
                  </a:lnTo>
                  <a:cubicBezTo>
                    <a:pt x="56579" y="111330"/>
                    <a:pt x="56063" y="110861"/>
                    <a:pt x="55620" y="110351"/>
                  </a:cubicBezTo>
                  <a:lnTo>
                    <a:pt x="54560" y="108687"/>
                  </a:lnTo>
                  <a:lnTo>
                    <a:pt x="54070" y="107851"/>
                  </a:lnTo>
                  <a:cubicBezTo>
                    <a:pt x="53922" y="107566"/>
                    <a:pt x="53846" y="107239"/>
                    <a:pt x="53737" y="106934"/>
                  </a:cubicBezTo>
                  <a:lnTo>
                    <a:pt x="53194" y="105111"/>
                  </a:lnTo>
                  <a:lnTo>
                    <a:pt x="60091" y="101333"/>
                  </a:lnTo>
                  <a:close/>
                  <a:moveTo>
                    <a:pt x="165385" y="109097"/>
                  </a:moveTo>
                  <a:lnTo>
                    <a:pt x="166628" y="110576"/>
                  </a:lnTo>
                  <a:cubicBezTo>
                    <a:pt x="165729" y="111098"/>
                    <a:pt x="164825" y="111617"/>
                    <a:pt x="163908" y="112119"/>
                  </a:cubicBezTo>
                  <a:cubicBezTo>
                    <a:pt x="162863" y="111966"/>
                    <a:pt x="161842" y="111806"/>
                    <a:pt x="160841" y="111637"/>
                  </a:cubicBezTo>
                  <a:cubicBezTo>
                    <a:pt x="162367" y="110803"/>
                    <a:pt x="163900" y="109979"/>
                    <a:pt x="165385" y="109097"/>
                  </a:cubicBezTo>
                  <a:close/>
                  <a:moveTo>
                    <a:pt x="57534" y="85912"/>
                  </a:moveTo>
                  <a:lnTo>
                    <a:pt x="57534" y="85912"/>
                  </a:lnTo>
                  <a:cubicBezTo>
                    <a:pt x="57292" y="86263"/>
                    <a:pt x="57054" y="86615"/>
                    <a:pt x="56826" y="86965"/>
                  </a:cubicBezTo>
                  <a:cubicBezTo>
                    <a:pt x="53830" y="91597"/>
                    <a:pt x="51889" y="96008"/>
                    <a:pt x="51138" y="99997"/>
                  </a:cubicBezTo>
                  <a:lnTo>
                    <a:pt x="59935" y="95850"/>
                  </a:lnTo>
                  <a:lnTo>
                    <a:pt x="59935" y="95850"/>
                  </a:lnTo>
                  <a:cubicBezTo>
                    <a:pt x="59705" y="97381"/>
                    <a:pt x="59682" y="98831"/>
                    <a:pt x="59873" y="100187"/>
                  </a:cubicBezTo>
                  <a:lnTo>
                    <a:pt x="50882" y="104996"/>
                  </a:lnTo>
                  <a:cubicBezTo>
                    <a:pt x="50903" y="105191"/>
                    <a:pt x="50930" y="105383"/>
                    <a:pt x="50958" y="105575"/>
                  </a:cubicBezTo>
                  <a:lnTo>
                    <a:pt x="48775" y="106770"/>
                  </a:lnTo>
                  <a:lnTo>
                    <a:pt x="48769" y="106699"/>
                  </a:lnTo>
                  <a:lnTo>
                    <a:pt x="44142" y="109207"/>
                  </a:lnTo>
                  <a:lnTo>
                    <a:pt x="44149" y="109302"/>
                  </a:lnTo>
                  <a:lnTo>
                    <a:pt x="43139" y="109855"/>
                  </a:lnTo>
                  <a:cubicBezTo>
                    <a:pt x="42925" y="107647"/>
                    <a:pt x="43138" y="105263"/>
                    <a:pt x="43775" y="102741"/>
                  </a:cubicBezTo>
                  <a:lnTo>
                    <a:pt x="43775" y="102741"/>
                  </a:lnTo>
                  <a:lnTo>
                    <a:pt x="42737" y="103221"/>
                  </a:lnTo>
                  <a:cubicBezTo>
                    <a:pt x="42603" y="103833"/>
                    <a:pt x="42440" y="104461"/>
                    <a:pt x="42328" y="105069"/>
                  </a:cubicBezTo>
                  <a:cubicBezTo>
                    <a:pt x="41379" y="105771"/>
                    <a:pt x="40427" y="106484"/>
                    <a:pt x="39471" y="107207"/>
                  </a:cubicBezTo>
                  <a:cubicBezTo>
                    <a:pt x="39410" y="107679"/>
                    <a:pt x="39293" y="108181"/>
                    <a:pt x="39279" y="108633"/>
                  </a:cubicBezTo>
                  <a:cubicBezTo>
                    <a:pt x="40186" y="108431"/>
                    <a:pt x="41097" y="108221"/>
                    <a:pt x="42010" y="108001"/>
                  </a:cubicBezTo>
                  <a:lnTo>
                    <a:pt x="42010" y="108001"/>
                  </a:lnTo>
                  <a:cubicBezTo>
                    <a:pt x="41935" y="108857"/>
                    <a:pt x="42001" y="109647"/>
                    <a:pt x="42057" y="110447"/>
                  </a:cubicBezTo>
                  <a:lnTo>
                    <a:pt x="41312" y="110855"/>
                  </a:lnTo>
                  <a:cubicBezTo>
                    <a:pt x="41280" y="110102"/>
                    <a:pt x="41189" y="109385"/>
                    <a:pt x="41267" y="108585"/>
                  </a:cubicBezTo>
                  <a:lnTo>
                    <a:pt x="41267" y="108585"/>
                  </a:lnTo>
                  <a:cubicBezTo>
                    <a:pt x="40354" y="108804"/>
                    <a:pt x="39443" y="109015"/>
                    <a:pt x="38535" y="109216"/>
                  </a:cubicBezTo>
                  <a:cubicBezTo>
                    <a:pt x="38548" y="108622"/>
                    <a:pt x="38696" y="107965"/>
                    <a:pt x="38783" y="107342"/>
                  </a:cubicBezTo>
                  <a:cubicBezTo>
                    <a:pt x="39742" y="106617"/>
                    <a:pt x="40686" y="105909"/>
                    <a:pt x="41645" y="105203"/>
                  </a:cubicBezTo>
                  <a:lnTo>
                    <a:pt x="42027" y="103549"/>
                  </a:lnTo>
                  <a:lnTo>
                    <a:pt x="38300" y="105273"/>
                  </a:lnTo>
                  <a:cubicBezTo>
                    <a:pt x="37548" y="108003"/>
                    <a:pt x="37249" y="110590"/>
                    <a:pt x="37406" y="112993"/>
                  </a:cubicBezTo>
                  <a:lnTo>
                    <a:pt x="36512" y="113483"/>
                  </a:lnTo>
                  <a:cubicBezTo>
                    <a:pt x="36365" y="111048"/>
                    <a:pt x="36678" y="108428"/>
                    <a:pt x="37449" y="105664"/>
                  </a:cubicBezTo>
                  <a:cubicBezTo>
                    <a:pt x="38838" y="100667"/>
                    <a:pt x="41675" y="95198"/>
                    <a:pt x="45740" y="89539"/>
                  </a:cubicBezTo>
                  <a:lnTo>
                    <a:pt x="46460" y="89317"/>
                  </a:lnTo>
                  <a:lnTo>
                    <a:pt x="46460" y="89317"/>
                  </a:lnTo>
                  <a:cubicBezTo>
                    <a:pt x="42449" y="94919"/>
                    <a:pt x="39656" y="100329"/>
                    <a:pt x="38301" y="105270"/>
                  </a:cubicBezTo>
                  <a:lnTo>
                    <a:pt x="42028" y="103546"/>
                  </a:lnTo>
                  <a:lnTo>
                    <a:pt x="42087" y="103294"/>
                  </a:lnTo>
                  <a:lnTo>
                    <a:pt x="42087" y="103294"/>
                  </a:lnTo>
                  <a:cubicBezTo>
                    <a:pt x="41258" y="103430"/>
                    <a:pt x="40474" y="103540"/>
                    <a:pt x="39673" y="103651"/>
                  </a:cubicBezTo>
                  <a:cubicBezTo>
                    <a:pt x="39902" y="102984"/>
                    <a:pt x="40054" y="102355"/>
                    <a:pt x="40347" y="101668"/>
                  </a:cubicBezTo>
                  <a:cubicBezTo>
                    <a:pt x="41337" y="100993"/>
                    <a:pt x="42322" y="100329"/>
                    <a:pt x="43301" y="99675"/>
                  </a:cubicBezTo>
                  <a:cubicBezTo>
                    <a:pt x="43626" y="98747"/>
                    <a:pt x="44132" y="97752"/>
                    <a:pt x="44551" y="96798"/>
                  </a:cubicBezTo>
                  <a:lnTo>
                    <a:pt x="44551" y="96798"/>
                  </a:lnTo>
                  <a:cubicBezTo>
                    <a:pt x="43834" y="96847"/>
                    <a:pt x="43173" y="96866"/>
                    <a:pt x="42491" y="96887"/>
                  </a:cubicBezTo>
                  <a:cubicBezTo>
                    <a:pt x="42874" y="96189"/>
                    <a:pt x="43186" y="95521"/>
                    <a:pt x="43620" y="94810"/>
                  </a:cubicBezTo>
                  <a:cubicBezTo>
                    <a:pt x="44618" y="94201"/>
                    <a:pt x="45610" y="93603"/>
                    <a:pt x="46595" y="93015"/>
                  </a:cubicBezTo>
                  <a:cubicBezTo>
                    <a:pt x="47135" y="92044"/>
                    <a:pt x="47830" y="91025"/>
                    <a:pt x="48459" y="90035"/>
                  </a:cubicBezTo>
                  <a:cubicBezTo>
                    <a:pt x="47859" y="89999"/>
                    <a:pt x="47317" y="89936"/>
                    <a:pt x="46763" y="89872"/>
                  </a:cubicBezTo>
                  <a:cubicBezTo>
                    <a:pt x="46963" y="89594"/>
                    <a:pt x="47155" y="89319"/>
                    <a:pt x="47349" y="89044"/>
                  </a:cubicBezTo>
                  <a:lnTo>
                    <a:pt x="47952" y="88859"/>
                  </a:lnTo>
                  <a:lnTo>
                    <a:pt x="47546" y="89431"/>
                  </a:lnTo>
                  <a:cubicBezTo>
                    <a:pt x="48099" y="89496"/>
                    <a:pt x="48656" y="89553"/>
                    <a:pt x="49229" y="89597"/>
                  </a:cubicBezTo>
                  <a:cubicBezTo>
                    <a:pt x="48502" y="90738"/>
                    <a:pt x="47718" y="91906"/>
                    <a:pt x="47097" y="93025"/>
                  </a:cubicBezTo>
                  <a:cubicBezTo>
                    <a:pt x="46111" y="93614"/>
                    <a:pt x="45118" y="94213"/>
                    <a:pt x="44118" y="94823"/>
                  </a:cubicBezTo>
                  <a:cubicBezTo>
                    <a:pt x="43810" y="95353"/>
                    <a:pt x="43560" y="95865"/>
                    <a:pt x="43277" y="96391"/>
                  </a:cubicBezTo>
                  <a:cubicBezTo>
                    <a:pt x="43953" y="96372"/>
                    <a:pt x="44635" y="96344"/>
                    <a:pt x="45325" y="96305"/>
                  </a:cubicBezTo>
                  <a:lnTo>
                    <a:pt x="45325" y="96305"/>
                  </a:lnTo>
                  <a:cubicBezTo>
                    <a:pt x="44831" y="97406"/>
                    <a:pt x="44275" y="98541"/>
                    <a:pt x="43901" y="99609"/>
                  </a:cubicBezTo>
                  <a:cubicBezTo>
                    <a:pt x="42921" y="100263"/>
                    <a:pt x="41936" y="100928"/>
                    <a:pt x="40945" y="101603"/>
                  </a:cubicBezTo>
                  <a:cubicBezTo>
                    <a:pt x="40742" y="102118"/>
                    <a:pt x="40617" y="102601"/>
                    <a:pt x="40447" y="103104"/>
                  </a:cubicBezTo>
                  <a:cubicBezTo>
                    <a:pt x="41243" y="102993"/>
                    <a:pt x="42046" y="102873"/>
                    <a:pt x="42852" y="102745"/>
                  </a:cubicBezTo>
                  <a:lnTo>
                    <a:pt x="42852" y="102745"/>
                  </a:lnTo>
                  <a:cubicBezTo>
                    <a:pt x="42799" y="102909"/>
                    <a:pt x="42777" y="103060"/>
                    <a:pt x="42737" y="103219"/>
                  </a:cubicBezTo>
                  <a:lnTo>
                    <a:pt x="43775" y="102738"/>
                  </a:lnTo>
                  <a:cubicBezTo>
                    <a:pt x="44929" y="98156"/>
                    <a:pt x="47440" y="93118"/>
                    <a:pt x="51109" y="87888"/>
                  </a:cubicBezTo>
                  <a:lnTo>
                    <a:pt x="56663" y="86180"/>
                  </a:lnTo>
                  <a:lnTo>
                    <a:pt x="57534" y="85912"/>
                  </a:lnTo>
                  <a:close/>
                  <a:moveTo>
                    <a:pt x="180126" y="100112"/>
                  </a:moveTo>
                  <a:lnTo>
                    <a:pt x="188549" y="105897"/>
                  </a:lnTo>
                  <a:lnTo>
                    <a:pt x="184769" y="108361"/>
                  </a:lnTo>
                  <a:cubicBezTo>
                    <a:pt x="183500" y="109180"/>
                    <a:pt x="182185" y="109965"/>
                    <a:pt x="180892" y="110769"/>
                  </a:cubicBezTo>
                  <a:lnTo>
                    <a:pt x="176987" y="113173"/>
                  </a:lnTo>
                  <a:lnTo>
                    <a:pt x="172987" y="115502"/>
                  </a:lnTo>
                  <a:lnTo>
                    <a:pt x="172002" y="114387"/>
                  </a:lnTo>
                  <a:lnTo>
                    <a:pt x="168809" y="110771"/>
                  </a:lnTo>
                  <a:cubicBezTo>
                    <a:pt x="169239" y="110521"/>
                    <a:pt x="169670" y="110271"/>
                    <a:pt x="170102" y="110022"/>
                  </a:cubicBezTo>
                  <a:cubicBezTo>
                    <a:pt x="172350" y="108747"/>
                    <a:pt x="174512" y="107391"/>
                    <a:pt x="176692" y="106060"/>
                  </a:cubicBezTo>
                  <a:cubicBezTo>
                    <a:pt x="176905" y="104691"/>
                    <a:pt x="177053" y="103347"/>
                    <a:pt x="177153" y="102033"/>
                  </a:cubicBezTo>
                  <a:lnTo>
                    <a:pt x="180126" y="100112"/>
                  </a:lnTo>
                  <a:close/>
                  <a:moveTo>
                    <a:pt x="45380" y="89651"/>
                  </a:moveTo>
                  <a:lnTo>
                    <a:pt x="45380" y="89651"/>
                  </a:lnTo>
                  <a:cubicBezTo>
                    <a:pt x="41288" y="95338"/>
                    <a:pt x="38427" y="100837"/>
                    <a:pt x="37023" y="105863"/>
                  </a:cubicBezTo>
                  <a:cubicBezTo>
                    <a:pt x="36241" y="108642"/>
                    <a:pt x="35920" y="111278"/>
                    <a:pt x="36062" y="113729"/>
                  </a:cubicBezTo>
                  <a:lnTo>
                    <a:pt x="35691" y="113933"/>
                  </a:lnTo>
                  <a:cubicBezTo>
                    <a:pt x="35625" y="112685"/>
                    <a:pt x="35671" y="111395"/>
                    <a:pt x="35815" y="110073"/>
                  </a:cubicBezTo>
                  <a:cubicBezTo>
                    <a:pt x="36376" y="106167"/>
                    <a:pt x="37754" y="101982"/>
                    <a:pt x="40175" y="97527"/>
                  </a:cubicBezTo>
                  <a:lnTo>
                    <a:pt x="40175" y="97527"/>
                  </a:lnTo>
                  <a:lnTo>
                    <a:pt x="37865" y="98415"/>
                  </a:lnTo>
                  <a:cubicBezTo>
                    <a:pt x="35338" y="103006"/>
                    <a:pt x="33871" y="107327"/>
                    <a:pt x="33244" y="111363"/>
                  </a:cubicBezTo>
                  <a:cubicBezTo>
                    <a:pt x="33077" y="112736"/>
                    <a:pt x="33014" y="114075"/>
                    <a:pt x="33063" y="115371"/>
                  </a:cubicBezTo>
                  <a:lnTo>
                    <a:pt x="31906" y="116005"/>
                  </a:lnTo>
                  <a:cubicBezTo>
                    <a:pt x="31864" y="114688"/>
                    <a:pt x="31936" y="113326"/>
                    <a:pt x="32114" y="111932"/>
                  </a:cubicBezTo>
                  <a:cubicBezTo>
                    <a:pt x="32769" y="107836"/>
                    <a:pt x="34275" y="103456"/>
                    <a:pt x="36851" y="98803"/>
                  </a:cubicBezTo>
                  <a:cubicBezTo>
                    <a:pt x="38275" y="96161"/>
                    <a:pt x="40031" y="93437"/>
                    <a:pt x="42058" y="90673"/>
                  </a:cubicBezTo>
                  <a:lnTo>
                    <a:pt x="42980" y="90389"/>
                  </a:lnTo>
                  <a:lnTo>
                    <a:pt x="42980" y="90389"/>
                  </a:lnTo>
                  <a:cubicBezTo>
                    <a:pt x="40985" y="93119"/>
                    <a:pt x="39260" y="95807"/>
                    <a:pt x="37865" y="98414"/>
                  </a:cubicBezTo>
                  <a:lnTo>
                    <a:pt x="40175" y="97527"/>
                  </a:lnTo>
                  <a:lnTo>
                    <a:pt x="40175" y="97527"/>
                  </a:lnTo>
                  <a:cubicBezTo>
                    <a:pt x="40175" y="97527"/>
                    <a:pt x="40175" y="97527"/>
                    <a:pt x="40175" y="97527"/>
                  </a:cubicBezTo>
                  <a:cubicBezTo>
                    <a:pt x="41507" y="95000"/>
                    <a:pt x="43163" y="92392"/>
                    <a:pt x="45082" y="89743"/>
                  </a:cubicBezTo>
                  <a:lnTo>
                    <a:pt x="45380" y="89651"/>
                  </a:lnTo>
                  <a:close/>
                  <a:moveTo>
                    <a:pt x="106722" y="108344"/>
                  </a:moveTo>
                  <a:lnTo>
                    <a:pt x="104322" y="113482"/>
                  </a:lnTo>
                  <a:cubicBezTo>
                    <a:pt x="96178" y="115722"/>
                    <a:pt x="88738" y="116860"/>
                    <a:pt x="82083" y="117343"/>
                  </a:cubicBezTo>
                  <a:cubicBezTo>
                    <a:pt x="80486" y="117414"/>
                    <a:pt x="78912" y="117471"/>
                    <a:pt x="77361" y="117512"/>
                  </a:cubicBezTo>
                  <a:cubicBezTo>
                    <a:pt x="77264" y="117513"/>
                    <a:pt x="77168" y="117514"/>
                    <a:pt x="77072" y="117514"/>
                  </a:cubicBezTo>
                  <a:cubicBezTo>
                    <a:pt x="75670" y="117514"/>
                    <a:pt x="74393" y="117390"/>
                    <a:pt x="73076" y="117321"/>
                  </a:cubicBezTo>
                  <a:lnTo>
                    <a:pt x="71021" y="117175"/>
                  </a:lnTo>
                  <a:cubicBezTo>
                    <a:pt x="70354" y="117114"/>
                    <a:pt x="69767" y="116978"/>
                    <a:pt x="69145" y="116877"/>
                  </a:cubicBezTo>
                  <a:cubicBezTo>
                    <a:pt x="67932" y="116656"/>
                    <a:pt x="66731" y="116433"/>
                    <a:pt x="65582" y="116177"/>
                  </a:cubicBezTo>
                  <a:lnTo>
                    <a:pt x="71761" y="110966"/>
                  </a:lnTo>
                  <a:cubicBezTo>
                    <a:pt x="74587" y="111640"/>
                    <a:pt x="77927" y="112000"/>
                    <a:pt x="81799" y="112000"/>
                  </a:cubicBezTo>
                  <a:cubicBezTo>
                    <a:pt x="81866" y="112000"/>
                    <a:pt x="81933" y="111999"/>
                    <a:pt x="82000" y="111999"/>
                  </a:cubicBezTo>
                  <a:lnTo>
                    <a:pt x="81999" y="111998"/>
                  </a:lnTo>
                  <a:cubicBezTo>
                    <a:pt x="89509" y="111974"/>
                    <a:pt x="97927" y="110667"/>
                    <a:pt x="106722" y="108344"/>
                  </a:cubicBezTo>
                  <a:close/>
                  <a:moveTo>
                    <a:pt x="22518" y="109185"/>
                  </a:moveTo>
                  <a:cubicBezTo>
                    <a:pt x="22357" y="109539"/>
                    <a:pt x="22198" y="109893"/>
                    <a:pt x="22046" y="110244"/>
                  </a:cubicBezTo>
                  <a:cubicBezTo>
                    <a:pt x="21694" y="111151"/>
                    <a:pt x="21320" y="112073"/>
                    <a:pt x="20988" y="112983"/>
                  </a:cubicBezTo>
                  <a:cubicBezTo>
                    <a:pt x="22181" y="112805"/>
                    <a:pt x="23385" y="112609"/>
                    <a:pt x="24602" y="112395"/>
                  </a:cubicBezTo>
                  <a:lnTo>
                    <a:pt x="24602" y="112395"/>
                  </a:lnTo>
                  <a:cubicBezTo>
                    <a:pt x="24522" y="112660"/>
                    <a:pt x="24444" y="112923"/>
                    <a:pt x="24368" y="113186"/>
                  </a:cubicBezTo>
                  <a:lnTo>
                    <a:pt x="12686" y="118758"/>
                  </a:lnTo>
                  <a:cubicBezTo>
                    <a:pt x="13384" y="116649"/>
                    <a:pt x="14215" y="114510"/>
                    <a:pt x="15264" y="112309"/>
                  </a:cubicBezTo>
                  <a:lnTo>
                    <a:pt x="16936" y="111589"/>
                  </a:lnTo>
                  <a:lnTo>
                    <a:pt x="22518" y="109185"/>
                  </a:lnTo>
                  <a:close/>
                  <a:moveTo>
                    <a:pt x="40777" y="91066"/>
                  </a:moveTo>
                  <a:lnTo>
                    <a:pt x="40777" y="91066"/>
                  </a:lnTo>
                  <a:cubicBezTo>
                    <a:pt x="38703" y="93881"/>
                    <a:pt x="36904" y="96655"/>
                    <a:pt x="35441" y="99346"/>
                  </a:cubicBezTo>
                  <a:cubicBezTo>
                    <a:pt x="32798" y="104082"/>
                    <a:pt x="31235" y="108547"/>
                    <a:pt x="30539" y="112724"/>
                  </a:cubicBezTo>
                  <a:cubicBezTo>
                    <a:pt x="30346" y="114150"/>
                    <a:pt x="30261" y="115541"/>
                    <a:pt x="30293" y="116889"/>
                  </a:cubicBezTo>
                  <a:lnTo>
                    <a:pt x="24326" y="120156"/>
                  </a:lnTo>
                  <a:cubicBezTo>
                    <a:pt x="24327" y="119837"/>
                    <a:pt x="24335" y="119517"/>
                    <a:pt x="24349" y="119194"/>
                  </a:cubicBezTo>
                  <a:cubicBezTo>
                    <a:pt x="25763" y="118064"/>
                    <a:pt x="27174" y="116951"/>
                    <a:pt x="28581" y="115857"/>
                  </a:cubicBezTo>
                  <a:cubicBezTo>
                    <a:pt x="28696" y="114975"/>
                    <a:pt x="28749" y="114132"/>
                    <a:pt x="28909" y="113243"/>
                  </a:cubicBezTo>
                  <a:cubicBezTo>
                    <a:pt x="29114" y="112338"/>
                    <a:pt x="29212" y="111493"/>
                    <a:pt x="29499" y="110562"/>
                  </a:cubicBezTo>
                  <a:lnTo>
                    <a:pt x="29499" y="110562"/>
                  </a:lnTo>
                  <a:cubicBezTo>
                    <a:pt x="28275" y="110803"/>
                    <a:pt x="27045" y="111035"/>
                    <a:pt x="25833" y="111244"/>
                  </a:cubicBezTo>
                  <a:cubicBezTo>
                    <a:pt x="25941" y="110891"/>
                    <a:pt x="26053" y="110538"/>
                    <a:pt x="26177" y="110179"/>
                  </a:cubicBezTo>
                  <a:lnTo>
                    <a:pt x="26751" y="108638"/>
                  </a:lnTo>
                  <a:lnTo>
                    <a:pt x="27035" y="107875"/>
                  </a:lnTo>
                  <a:lnTo>
                    <a:pt x="27384" y="107090"/>
                  </a:lnTo>
                  <a:lnTo>
                    <a:pt x="27619" y="106558"/>
                  </a:lnTo>
                  <a:cubicBezTo>
                    <a:pt x="27846" y="106006"/>
                    <a:pt x="28110" y="105443"/>
                    <a:pt x="28389" y="104874"/>
                  </a:cubicBezTo>
                  <a:cubicBezTo>
                    <a:pt x="29863" y="103925"/>
                    <a:pt x="31339" y="102988"/>
                    <a:pt x="32788" y="102078"/>
                  </a:cubicBezTo>
                  <a:lnTo>
                    <a:pt x="33319" y="101015"/>
                  </a:lnTo>
                  <a:lnTo>
                    <a:pt x="33925" y="99929"/>
                  </a:lnTo>
                  <a:lnTo>
                    <a:pt x="32459" y="100492"/>
                  </a:lnTo>
                  <a:cubicBezTo>
                    <a:pt x="32148" y="101056"/>
                    <a:pt x="31795" y="101637"/>
                    <a:pt x="31538" y="102184"/>
                  </a:cubicBezTo>
                  <a:cubicBezTo>
                    <a:pt x="30667" y="102730"/>
                    <a:pt x="29789" y="103285"/>
                    <a:pt x="28905" y="103850"/>
                  </a:cubicBezTo>
                  <a:cubicBezTo>
                    <a:pt x="29168" y="103337"/>
                    <a:pt x="29435" y="102824"/>
                    <a:pt x="29698" y="102316"/>
                  </a:cubicBezTo>
                  <a:lnTo>
                    <a:pt x="30000" y="101786"/>
                  </a:lnTo>
                  <a:cubicBezTo>
                    <a:pt x="30672" y="100561"/>
                    <a:pt x="31413" y="99318"/>
                    <a:pt x="32212" y="98064"/>
                  </a:cubicBezTo>
                  <a:cubicBezTo>
                    <a:pt x="32544" y="98068"/>
                    <a:pt x="32877" y="98070"/>
                    <a:pt x="33211" y="98070"/>
                  </a:cubicBezTo>
                  <a:cubicBezTo>
                    <a:pt x="33433" y="98070"/>
                    <a:pt x="33656" y="98069"/>
                    <a:pt x="33878" y="98067"/>
                  </a:cubicBezTo>
                  <a:lnTo>
                    <a:pt x="33878" y="98067"/>
                  </a:lnTo>
                  <a:cubicBezTo>
                    <a:pt x="33345" y="98894"/>
                    <a:pt x="32907" y="99689"/>
                    <a:pt x="32458" y="100492"/>
                  </a:cubicBezTo>
                  <a:lnTo>
                    <a:pt x="33925" y="99929"/>
                  </a:lnTo>
                  <a:lnTo>
                    <a:pt x="34721" y="98500"/>
                  </a:lnTo>
                  <a:lnTo>
                    <a:pt x="35619" y="97047"/>
                  </a:lnTo>
                  <a:lnTo>
                    <a:pt x="35619" y="97047"/>
                  </a:lnTo>
                  <a:cubicBezTo>
                    <a:pt x="35301" y="97051"/>
                    <a:pt x="34985" y="97053"/>
                    <a:pt x="34670" y="97053"/>
                  </a:cubicBezTo>
                  <a:cubicBezTo>
                    <a:pt x="34128" y="97053"/>
                    <a:pt x="33591" y="97047"/>
                    <a:pt x="33059" y="97034"/>
                  </a:cubicBezTo>
                  <a:cubicBezTo>
                    <a:pt x="33000" y="97033"/>
                    <a:pt x="32944" y="97029"/>
                    <a:pt x="32885" y="97027"/>
                  </a:cubicBezTo>
                  <a:cubicBezTo>
                    <a:pt x="33858" y="95554"/>
                    <a:pt x="34909" y="94068"/>
                    <a:pt x="36036" y="92569"/>
                  </a:cubicBezTo>
                  <a:cubicBezTo>
                    <a:pt x="36050" y="92550"/>
                    <a:pt x="36064" y="92531"/>
                    <a:pt x="36078" y="92512"/>
                  </a:cubicBezTo>
                  <a:lnTo>
                    <a:pt x="40777" y="91066"/>
                  </a:lnTo>
                  <a:close/>
                  <a:moveTo>
                    <a:pt x="154336" y="112168"/>
                  </a:moveTo>
                  <a:cubicBezTo>
                    <a:pt x="155247" y="112387"/>
                    <a:pt x="156172" y="112587"/>
                    <a:pt x="157111" y="112775"/>
                  </a:cubicBezTo>
                  <a:cubicBezTo>
                    <a:pt x="156274" y="113226"/>
                    <a:pt x="155433" y="113670"/>
                    <a:pt x="154581" y="114098"/>
                  </a:cubicBezTo>
                  <a:lnTo>
                    <a:pt x="153300" y="114759"/>
                  </a:lnTo>
                  <a:cubicBezTo>
                    <a:pt x="149278" y="116830"/>
                    <a:pt x="145224" y="118817"/>
                    <a:pt x="141139" y="120721"/>
                  </a:cubicBezTo>
                  <a:cubicBezTo>
                    <a:pt x="141633" y="119815"/>
                    <a:pt x="142109" y="118920"/>
                    <a:pt x="142568" y="118037"/>
                  </a:cubicBezTo>
                  <a:cubicBezTo>
                    <a:pt x="144543" y="117095"/>
                    <a:pt x="146508" y="116123"/>
                    <a:pt x="148479" y="115167"/>
                  </a:cubicBezTo>
                  <a:cubicBezTo>
                    <a:pt x="150448" y="114202"/>
                    <a:pt x="152383" y="113165"/>
                    <a:pt x="154336" y="112168"/>
                  </a:cubicBezTo>
                  <a:close/>
                  <a:moveTo>
                    <a:pt x="167452" y="111557"/>
                  </a:moveTo>
                  <a:lnTo>
                    <a:pt x="169990" y="114577"/>
                  </a:lnTo>
                  <a:cubicBezTo>
                    <a:pt x="168101" y="115702"/>
                    <a:pt x="166145" y="116743"/>
                    <a:pt x="164207" y="117811"/>
                  </a:cubicBezTo>
                  <a:cubicBezTo>
                    <a:pt x="162267" y="118879"/>
                    <a:pt x="160328" y="119952"/>
                    <a:pt x="158346" y="120952"/>
                  </a:cubicBezTo>
                  <a:lnTo>
                    <a:pt x="154993" y="114774"/>
                  </a:lnTo>
                  <a:cubicBezTo>
                    <a:pt x="156117" y="114208"/>
                    <a:pt x="157225" y="113614"/>
                    <a:pt x="158329" y="113012"/>
                  </a:cubicBezTo>
                  <a:cubicBezTo>
                    <a:pt x="159947" y="113316"/>
                    <a:pt x="161616" y="113590"/>
                    <a:pt x="163355" y="113860"/>
                  </a:cubicBezTo>
                  <a:cubicBezTo>
                    <a:pt x="164742" y="113118"/>
                    <a:pt x="166100" y="112340"/>
                    <a:pt x="167452" y="111557"/>
                  </a:cubicBezTo>
                  <a:close/>
                  <a:moveTo>
                    <a:pt x="23257" y="120070"/>
                  </a:moveTo>
                  <a:lnTo>
                    <a:pt x="23257" y="120070"/>
                  </a:lnTo>
                  <a:cubicBezTo>
                    <a:pt x="23250" y="120296"/>
                    <a:pt x="23245" y="120523"/>
                    <a:pt x="23243" y="120748"/>
                  </a:cubicBezTo>
                  <a:lnTo>
                    <a:pt x="20700" y="122140"/>
                  </a:lnTo>
                  <a:cubicBezTo>
                    <a:pt x="21556" y="121442"/>
                    <a:pt x="22408" y="120751"/>
                    <a:pt x="23257" y="120070"/>
                  </a:cubicBezTo>
                  <a:close/>
                  <a:moveTo>
                    <a:pt x="23248" y="121513"/>
                  </a:moveTo>
                  <a:cubicBezTo>
                    <a:pt x="23251" y="121702"/>
                    <a:pt x="23256" y="121891"/>
                    <a:pt x="23262" y="122078"/>
                  </a:cubicBezTo>
                  <a:lnTo>
                    <a:pt x="20668" y="123524"/>
                  </a:lnTo>
                  <a:cubicBezTo>
                    <a:pt x="20657" y="123330"/>
                    <a:pt x="20646" y="123137"/>
                    <a:pt x="20640" y="122941"/>
                  </a:cubicBezTo>
                  <a:lnTo>
                    <a:pt x="23248" y="121513"/>
                  </a:lnTo>
                  <a:close/>
                  <a:moveTo>
                    <a:pt x="23290" y="122564"/>
                  </a:moveTo>
                  <a:lnTo>
                    <a:pt x="23342" y="123507"/>
                  </a:lnTo>
                  <a:lnTo>
                    <a:pt x="23497" y="124402"/>
                  </a:lnTo>
                  <a:cubicBezTo>
                    <a:pt x="23552" y="124656"/>
                    <a:pt x="23588" y="124921"/>
                    <a:pt x="23628" y="125186"/>
                  </a:cubicBezTo>
                  <a:cubicBezTo>
                    <a:pt x="22714" y="125479"/>
                    <a:pt x="21802" y="125765"/>
                    <a:pt x="20892" y="126045"/>
                  </a:cubicBezTo>
                  <a:cubicBezTo>
                    <a:pt x="20787" y="125426"/>
                    <a:pt x="20696" y="124805"/>
                    <a:pt x="20693" y="124138"/>
                  </a:cubicBezTo>
                  <a:cubicBezTo>
                    <a:pt x="20692" y="124100"/>
                    <a:pt x="20690" y="124063"/>
                    <a:pt x="20689" y="124025"/>
                  </a:cubicBezTo>
                  <a:lnTo>
                    <a:pt x="23290" y="122564"/>
                  </a:lnTo>
                  <a:close/>
                  <a:moveTo>
                    <a:pt x="137915" y="123063"/>
                  </a:moveTo>
                  <a:cubicBezTo>
                    <a:pt x="137371" y="124001"/>
                    <a:pt x="136807" y="124945"/>
                    <a:pt x="136226" y="125895"/>
                  </a:cubicBezTo>
                  <a:lnTo>
                    <a:pt x="132356" y="127552"/>
                  </a:lnTo>
                  <a:lnTo>
                    <a:pt x="132198" y="125541"/>
                  </a:lnTo>
                  <a:cubicBezTo>
                    <a:pt x="134105" y="124742"/>
                    <a:pt x="136010" y="123917"/>
                    <a:pt x="137914" y="123064"/>
                  </a:cubicBezTo>
                  <a:lnTo>
                    <a:pt x="137915" y="123063"/>
                  </a:lnTo>
                  <a:close/>
                  <a:moveTo>
                    <a:pt x="24104" y="114217"/>
                  </a:moveTo>
                  <a:lnTo>
                    <a:pt x="24104" y="114217"/>
                  </a:lnTo>
                  <a:cubicBezTo>
                    <a:pt x="23681" y="115827"/>
                    <a:pt x="23414" y="117474"/>
                    <a:pt x="23303" y="119136"/>
                  </a:cubicBezTo>
                  <a:lnTo>
                    <a:pt x="23303" y="119135"/>
                  </a:lnTo>
                  <a:cubicBezTo>
                    <a:pt x="21870" y="120274"/>
                    <a:pt x="20444" y="121425"/>
                    <a:pt x="18985" y="122613"/>
                  </a:cubicBezTo>
                  <a:cubicBezTo>
                    <a:pt x="18967" y="122777"/>
                    <a:pt x="18957" y="122939"/>
                    <a:pt x="18950" y="123099"/>
                  </a:cubicBezTo>
                  <a:lnTo>
                    <a:pt x="7020" y="129632"/>
                  </a:lnTo>
                  <a:cubicBezTo>
                    <a:pt x="7252" y="126950"/>
                    <a:pt x="7785" y="124303"/>
                    <a:pt x="8611" y="121741"/>
                  </a:cubicBezTo>
                  <a:lnTo>
                    <a:pt x="24104" y="114217"/>
                  </a:lnTo>
                  <a:close/>
                  <a:moveTo>
                    <a:pt x="116398" y="105436"/>
                  </a:moveTo>
                  <a:lnTo>
                    <a:pt x="115119" y="110249"/>
                  </a:lnTo>
                  <a:cubicBezTo>
                    <a:pt x="116036" y="109972"/>
                    <a:pt x="116975" y="109607"/>
                    <a:pt x="117909" y="109267"/>
                  </a:cubicBezTo>
                  <a:lnTo>
                    <a:pt x="117909" y="109267"/>
                  </a:lnTo>
                  <a:lnTo>
                    <a:pt x="117302" y="112424"/>
                  </a:lnTo>
                  <a:lnTo>
                    <a:pt x="116711" y="112632"/>
                  </a:lnTo>
                  <a:lnTo>
                    <a:pt x="115944" y="116136"/>
                  </a:lnTo>
                  <a:lnTo>
                    <a:pt x="115944" y="116136"/>
                  </a:lnTo>
                  <a:lnTo>
                    <a:pt x="116636" y="115892"/>
                  </a:lnTo>
                  <a:lnTo>
                    <a:pt x="116488" y="116663"/>
                  </a:lnTo>
                  <a:cubicBezTo>
                    <a:pt x="110482" y="118772"/>
                    <a:pt x="104600" y="120545"/>
                    <a:pt x="98947" y="121952"/>
                  </a:cubicBezTo>
                  <a:cubicBezTo>
                    <a:pt x="93259" y="123358"/>
                    <a:pt x="87847" y="124361"/>
                    <a:pt x="82783" y="124993"/>
                  </a:cubicBezTo>
                  <a:cubicBezTo>
                    <a:pt x="78552" y="125519"/>
                    <a:pt x="74582" y="125775"/>
                    <a:pt x="70902" y="125775"/>
                  </a:cubicBezTo>
                  <a:cubicBezTo>
                    <a:pt x="70250" y="125775"/>
                    <a:pt x="69607" y="125767"/>
                    <a:pt x="68974" y="125751"/>
                  </a:cubicBezTo>
                  <a:cubicBezTo>
                    <a:pt x="64886" y="125608"/>
                    <a:pt x="61211" y="125129"/>
                    <a:pt x="58008" y="124316"/>
                  </a:cubicBezTo>
                  <a:lnTo>
                    <a:pt x="57010" y="125184"/>
                  </a:lnTo>
                  <a:lnTo>
                    <a:pt x="58189" y="125495"/>
                  </a:lnTo>
                  <a:lnTo>
                    <a:pt x="59463" y="125733"/>
                  </a:lnTo>
                  <a:cubicBezTo>
                    <a:pt x="58996" y="126571"/>
                    <a:pt x="58538" y="127414"/>
                    <a:pt x="58090" y="128265"/>
                  </a:cubicBezTo>
                  <a:cubicBezTo>
                    <a:pt x="58749" y="128416"/>
                    <a:pt x="59500" y="128481"/>
                    <a:pt x="60221" y="128580"/>
                  </a:cubicBezTo>
                  <a:cubicBezTo>
                    <a:pt x="61458" y="127847"/>
                    <a:pt x="62681" y="127114"/>
                    <a:pt x="63889" y="126380"/>
                  </a:cubicBezTo>
                  <a:cubicBezTo>
                    <a:pt x="64659" y="126496"/>
                    <a:pt x="65545" y="126501"/>
                    <a:pt x="66376" y="126565"/>
                  </a:cubicBezTo>
                  <a:cubicBezTo>
                    <a:pt x="67160" y="126606"/>
                    <a:pt x="67919" y="126676"/>
                    <a:pt x="68747" y="126676"/>
                  </a:cubicBezTo>
                  <a:cubicBezTo>
                    <a:pt x="68822" y="126676"/>
                    <a:pt x="68898" y="126675"/>
                    <a:pt x="68975" y="126674"/>
                  </a:cubicBezTo>
                  <a:lnTo>
                    <a:pt x="68975" y="126674"/>
                  </a:lnTo>
                  <a:cubicBezTo>
                    <a:pt x="68700" y="127476"/>
                    <a:pt x="68439" y="128284"/>
                    <a:pt x="68192" y="129096"/>
                  </a:cubicBezTo>
                  <a:cubicBezTo>
                    <a:pt x="68637" y="129101"/>
                    <a:pt x="69078" y="129110"/>
                    <a:pt x="69529" y="129110"/>
                  </a:cubicBezTo>
                  <a:cubicBezTo>
                    <a:pt x="69935" y="129110"/>
                    <a:pt x="70349" y="129102"/>
                    <a:pt x="70778" y="129079"/>
                  </a:cubicBezTo>
                  <a:cubicBezTo>
                    <a:pt x="71999" y="128248"/>
                    <a:pt x="73203" y="127418"/>
                    <a:pt x="74388" y="126592"/>
                  </a:cubicBezTo>
                  <a:cubicBezTo>
                    <a:pt x="75345" y="126560"/>
                    <a:pt x="76322" y="126512"/>
                    <a:pt x="77346" y="126408"/>
                  </a:cubicBezTo>
                  <a:lnTo>
                    <a:pt x="80408" y="126138"/>
                  </a:lnTo>
                  <a:lnTo>
                    <a:pt x="80408" y="126138"/>
                  </a:lnTo>
                  <a:cubicBezTo>
                    <a:pt x="80344" y="126880"/>
                    <a:pt x="80297" y="127624"/>
                    <a:pt x="80268" y="128371"/>
                  </a:cubicBezTo>
                  <a:cubicBezTo>
                    <a:pt x="81268" y="128243"/>
                    <a:pt x="82252" y="128143"/>
                    <a:pt x="83277" y="127989"/>
                  </a:cubicBezTo>
                  <a:cubicBezTo>
                    <a:pt x="84436" y="127077"/>
                    <a:pt x="85573" y="126170"/>
                    <a:pt x="86690" y="125269"/>
                  </a:cubicBezTo>
                  <a:cubicBezTo>
                    <a:pt x="88902" y="124943"/>
                    <a:pt x="91229" y="124453"/>
                    <a:pt x="93550" y="123995"/>
                  </a:cubicBezTo>
                  <a:cubicBezTo>
                    <a:pt x="93704" y="124673"/>
                    <a:pt x="93901" y="125312"/>
                    <a:pt x="94107" y="125971"/>
                  </a:cubicBezTo>
                  <a:lnTo>
                    <a:pt x="97469" y="125202"/>
                  </a:lnTo>
                  <a:cubicBezTo>
                    <a:pt x="98516" y="124238"/>
                    <a:pt x="99540" y="123277"/>
                    <a:pt x="100538" y="122328"/>
                  </a:cubicBezTo>
                  <a:cubicBezTo>
                    <a:pt x="101773" y="121995"/>
                    <a:pt x="102993" y="121701"/>
                    <a:pt x="104246" y="121334"/>
                  </a:cubicBezTo>
                  <a:lnTo>
                    <a:pt x="108024" y="120226"/>
                  </a:lnTo>
                  <a:cubicBezTo>
                    <a:pt x="108417" y="120802"/>
                    <a:pt x="108848" y="121332"/>
                    <a:pt x="109300" y="121874"/>
                  </a:cubicBezTo>
                  <a:lnTo>
                    <a:pt x="112912" y="120714"/>
                  </a:lnTo>
                  <a:cubicBezTo>
                    <a:pt x="113797" y="119744"/>
                    <a:pt x="114665" y="118749"/>
                    <a:pt x="115503" y="117786"/>
                  </a:cubicBezTo>
                  <a:lnTo>
                    <a:pt x="116328" y="117496"/>
                  </a:lnTo>
                  <a:lnTo>
                    <a:pt x="116219" y="118067"/>
                  </a:lnTo>
                  <a:lnTo>
                    <a:pt x="115931" y="118168"/>
                  </a:lnTo>
                  <a:cubicBezTo>
                    <a:pt x="115088" y="119140"/>
                    <a:pt x="114218" y="120125"/>
                    <a:pt x="113322" y="121122"/>
                  </a:cubicBezTo>
                  <a:lnTo>
                    <a:pt x="108557" y="122655"/>
                  </a:lnTo>
                  <a:cubicBezTo>
                    <a:pt x="108104" y="122121"/>
                    <a:pt x="107686" y="121552"/>
                    <a:pt x="107292" y="120980"/>
                  </a:cubicBezTo>
                  <a:cubicBezTo>
                    <a:pt x="105093" y="121630"/>
                    <a:pt x="102902" y="122277"/>
                    <a:pt x="100766" y="122811"/>
                  </a:cubicBezTo>
                  <a:cubicBezTo>
                    <a:pt x="99764" y="123764"/>
                    <a:pt x="98739" y="124727"/>
                    <a:pt x="97689" y="125697"/>
                  </a:cubicBezTo>
                  <a:cubicBezTo>
                    <a:pt x="96185" y="126070"/>
                    <a:pt x="94716" y="126385"/>
                    <a:pt x="93236" y="126730"/>
                  </a:cubicBezTo>
                  <a:cubicBezTo>
                    <a:pt x="93028" y="126075"/>
                    <a:pt x="92844" y="125413"/>
                    <a:pt x="92698" y="124722"/>
                  </a:cubicBezTo>
                  <a:cubicBezTo>
                    <a:pt x="90684" y="125116"/>
                    <a:pt x="88654" y="125549"/>
                    <a:pt x="86729" y="125832"/>
                  </a:cubicBezTo>
                  <a:cubicBezTo>
                    <a:pt x="85610" y="126736"/>
                    <a:pt x="84469" y="127646"/>
                    <a:pt x="83306" y="128561"/>
                  </a:cubicBezTo>
                  <a:cubicBezTo>
                    <a:pt x="81935" y="128791"/>
                    <a:pt x="80654" y="128902"/>
                    <a:pt x="79334" y="129076"/>
                  </a:cubicBezTo>
                  <a:cubicBezTo>
                    <a:pt x="79369" y="128321"/>
                    <a:pt x="79408" y="127588"/>
                    <a:pt x="79490" y="126823"/>
                  </a:cubicBezTo>
                  <a:lnTo>
                    <a:pt x="79490" y="126823"/>
                  </a:lnTo>
                  <a:cubicBezTo>
                    <a:pt x="77735" y="126949"/>
                    <a:pt x="75905" y="127179"/>
                    <a:pt x="74248" y="127213"/>
                  </a:cubicBezTo>
                  <a:cubicBezTo>
                    <a:pt x="73060" y="128043"/>
                    <a:pt x="71854" y="128875"/>
                    <a:pt x="70629" y="129709"/>
                  </a:cubicBezTo>
                  <a:cubicBezTo>
                    <a:pt x="70032" y="129740"/>
                    <a:pt x="69455" y="129751"/>
                    <a:pt x="68888" y="129751"/>
                  </a:cubicBezTo>
                  <a:cubicBezTo>
                    <a:pt x="68321" y="129751"/>
                    <a:pt x="67765" y="129740"/>
                    <a:pt x="67210" y="129731"/>
                  </a:cubicBezTo>
                  <a:cubicBezTo>
                    <a:pt x="67464" y="128916"/>
                    <a:pt x="67731" y="128106"/>
                    <a:pt x="68012" y="127301"/>
                  </a:cubicBezTo>
                  <a:cubicBezTo>
                    <a:pt x="66488" y="127254"/>
                    <a:pt x="65025" y="127152"/>
                    <a:pt x="63587" y="127038"/>
                  </a:cubicBezTo>
                  <a:cubicBezTo>
                    <a:pt x="62376" y="127774"/>
                    <a:pt x="61151" y="128510"/>
                    <a:pt x="59910" y="129245"/>
                  </a:cubicBezTo>
                  <a:cubicBezTo>
                    <a:pt x="58955" y="129119"/>
                    <a:pt x="57982" y="129017"/>
                    <a:pt x="57116" y="128819"/>
                  </a:cubicBezTo>
                  <a:cubicBezTo>
                    <a:pt x="57567" y="127966"/>
                    <a:pt x="58027" y="127120"/>
                    <a:pt x="58497" y="126281"/>
                  </a:cubicBezTo>
                  <a:cubicBezTo>
                    <a:pt x="57722" y="126156"/>
                    <a:pt x="57017" y="125970"/>
                    <a:pt x="56326" y="125778"/>
                  </a:cubicBezTo>
                  <a:lnTo>
                    <a:pt x="52823" y="128823"/>
                  </a:lnTo>
                  <a:lnTo>
                    <a:pt x="52820" y="128822"/>
                  </a:lnTo>
                  <a:lnTo>
                    <a:pt x="56323" y="125777"/>
                  </a:lnTo>
                  <a:lnTo>
                    <a:pt x="56002" y="125691"/>
                  </a:lnTo>
                  <a:cubicBezTo>
                    <a:pt x="54784" y="126349"/>
                    <a:pt x="53555" y="127004"/>
                    <a:pt x="52313" y="127656"/>
                  </a:cubicBezTo>
                  <a:cubicBezTo>
                    <a:pt x="51548" y="127409"/>
                    <a:pt x="50837" y="127120"/>
                    <a:pt x="50105" y="126855"/>
                  </a:cubicBezTo>
                  <a:cubicBezTo>
                    <a:pt x="50682" y="126008"/>
                    <a:pt x="51278" y="125161"/>
                    <a:pt x="51910" y="124296"/>
                  </a:cubicBezTo>
                  <a:cubicBezTo>
                    <a:pt x="50977" y="123856"/>
                    <a:pt x="50008" y="123452"/>
                    <a:pt x="49213" y="122925"/>
                  </a:cubicBezTo>
                  <a:cubicBezTo>
                    <a:pt x="48039" y="123472"/>
                    <a:pt x="46858" y="124015"/>
                    <a:pt x="45669" y="124551"/>
                  </a:cubicBezTo>
                  <a:cubicBezTo>
                    <a:pt x="45090" y="124203"/>
                    <a:pt x="44634" y="123769"/>
                    <a:pt x="44118" y="123386"/>
                  </a:cubicBezTo>
                  <a:cubicBezTo>
                    <a:pt x="44850" y="122535"/>
                    <a:pt x="45548" y="121720"/>
                    <a:pt x="46318" y="120867"/>
                  </a:cubicBezTo>
                  <a:cubicBezTo>
                    <a:pt x="45715" y="120252"/>
                    <a:pt x="45032" y="119699"/>
                    <a:pt x="44554" y="119018"/>
                  </a:cubicBezTo>
                  <a:cubicBezTo>
                    <a:pt x="43449" y="119452"/>
                    <a:pt x="42340" y="119879"/>
                    <a:pt x="41229" y="120300"/>
                  </a:cubicBezTo>
                  <a:cubicBezTo>
                    <a:pt x="40848" y="119858"/>
                    <a:pt x="40627" y="119320"/>
                    <a:pt x="40324" y="118838"/>
                  </a:cubicBezTo>
                  <a:cubicBezTo>
                    <a:pt x="41160" y="118018"/>
                    <a:pt x="41973" y="117221"/>
                    <a:pt x="42829" y="116410"/>
                  </a:cubicBezTo>
                  <a:cubicBezTo>
                    <a:pt x="42531" y="115659"/>
                    <a:pt x="42134" y="114975"/>
                    <a:pt x="41952" y="114174"/>
                  </a:cubicBezTo>
                  <a:cubicBezTo>
                    <a:pt x="40935" y="114497"/>
                    <a:pt x="39919" y="114813"/>
                    <a:pt x="38902" y="115122"/>
                  </a:cubicBezTo>
                  <a:cubicBezTo>
                    <a:pt x="38727" y="114592"/>
                    <a:pt x="38697" y="113984"/>
                    <a:pt x="38599" y="113420"/>
                  </a:cubicBezTo>
                  <a:cubicBezTo>
                    <a:pt x="38947" y="113123"/>
                    <a:pt x="39292" y="112829"/>
                    <a:pt x="39637" y="112536"/>
                  </a:cubicBezTo>
                  <a:lnTo>
                    <a:pt x="41117" y="111725"/>
                  </a:lnTo>
                  <a:lnTo>
                    <a:pt x="41117" y="111725"/>
                  </a:lnTo>
                  <a:cubicBezTo>
                    <a:pt x="40537" y="112216"/>
                    <a:pt x="39957" y="112710"/>
                    <a:pt x="39375" y="113208"/>
                  </a:cubicBezTo>
                  <a:cubicBezTo>
                    <a:pt x="39453" y="113635"/>
                    <a:pt x="39477" y="114094"/>
                    <a:pt x="39602" y="114499"/>
                  </a:cubicBezTo>
                  <a:cubicBezTo>
                    <a:pt x="40617" y="114192"/>
                    <a:pt x="41632" y="113876"/>
                    <a:pt x="42648" y="113551"/>
                  </a:cubicBezTo>
                  <a:cubicBezTo>
                    <a:pt x="42867" y="114467"/>
                    <a:pt x="43296" y="115268"/>
                    <a:pt x="43668" y="116114"/>
                  </a:cubicBezTo>
                  <a:cubicBezTo>
                    <a:pt x="42838" y="116911"/>
                    <a:pt x="42008" y="117717"/>
                    <a:pt x="41179" y="118536"/>
                  </a:cubicBezTo>
                  <a:cubicBezTo>
                    <a:pt x="41407" y="118903"/>
                    <a:pt x="41592" y="119301"/>
                    <a:pt x="41860" y="119648"/>
                  </a:cubicBezTo>
                  <a:cubicBezTo>
                    <a:pt x="42970" y="119229"/>
                    <a:pt x="44078" y="118801"/>
                    <a:pt x="45182" y="118367"/>
                  </a:cubicBezTo>
                  <a:cubicBezTo>
                    <a:pt x="45737" y="119146"/>
                    <a:pt x="46508" y="119793"/>
                    <a:pt x="47216" y="120492"/>
                  </a:cubicBezTo>
                  <a:cubicBezTo>
                    <a:pt x="46489" y="121317"/>
                    <a:pt x="45764" y="122151"/>
                    <a:pt x="45043" y="122994"/>
                  </a:cubicBezTo>
                  <a:cubicBezTo>
                    <a:pt x="45430" y="123288"/>
                    <a:pt x="45796" y="123602"/>
                    <a:pt x="46209" y="123882"/>
                  </a:cubicBezTo>
                  <a:cubicBezTo>
                    <a:pt x="47395" y="123347"/>
                    <a:pt x="48574" y="122806"/>
                    <a:pt x="49747" y="122259"/>
                  </a:cubicBezTo>
                  <a:cubicBezTo>
                    <a:pt x="50663" y="122861"/>
                    <a:pt x="51767" y="123330"/>
                    <a:pt x="52848" y="123830"/>
                  </a:cubicBezTo>
                  <a:cubicBezTo>
                    <a:pt x="52225" y="124688"/>
                    <a:pt x="51658" y="125513"/>
                    <a:pt x="51071" y="126368"/>
                  </a:cubicBezTo>
                  <a:lnTo>
                    <a:pt x="52741" y="126981"/>
                  </a:lnTo>
                  <a:cubicBezTo>
                    <a:pt x="53964" y="126341"/>
                    <a:pt x="55198" y="125680"/>
                    <a:pt x="56408" y="125025"/>
                  </a:cubicBezTo>
                  <a:lnTo>
                    <a:pt x="57007" y="125183"/>
                  </a:lnTo>
                  <a:lnTo>
                    <a:pt x="58005" y="124316"/>
                  </a:lnTo>
                  <a:cubicBezTo>
                    <a:pt x="49050" y="122112"/>
                    <a:pt x="44157" y="117176"/>
                    <a:pt x="43223" y="110572"/>
                  </a:cubicBezTo>
                  <a:lnTo>
                    <a:pt x="44238" y="110016"/>
                  </a:lnTo>
                  <a:lnTo>
                    <a:pt x="44261" y="110145"/>
                  </a:lnTo>
                  <a:lnTo>
                    <a:pt x="48904" y="107572"/>
                  </a:lnTo>
                  <a:lnTo>
                    <a:pt x="48883" y="107472"/>
                  </a:lnTo>
                  <a:lnTo>
                    <a:pt x="51077" y="106271"/>
                  </a:lnTo>
                  <a:cubicBezTo>
                    <a:pt x="51689" y="109376"/>
                    <a:pt x="53279" y="112067"/>
                    <a:pt x="55933" y="114175"/>
                  </a:cubicBezTo>
                  <a:lnTo>
                    <a:pt x="64749" y="107996"/>
                  </a:lnTo>
                  <a:cubicBezTo>
                    <a:pt x="66237" y="109043"/>
                    <a:pt x="68063" y="109905"/>
                    <a:pt x="70236" y="110557"/>
                  </a:cubicBezTo>
                  <a:lnTo>
                    <a:pt x="61995" y="117263"/>
                  </a:lnTo>
                  <a:cubicBezTo>
                    <a:pt x="62588" y="117468"/>
                    <a:pt x="63170" y="117684"/>
                    <a:pt x="63794" y="117868"/>
                  </a:cubicBezTo>
                  <a:lnTo>
                    <a:pt x="65840" y="118291"/>
                  </a:lnTo>
                  <a:lnTo>
                    <a:pt x="67950" y="118690"/>
                  </a:lnTo>
                  <a:cubicBezTo>
                    <a:pt x="68311" y="118752"/>
                    <a:pt x="68659" y="118826"/>
                    <a:pt x="69038" y="118872"/>
                  </a:cubicBezTo>
                  <a:lnTo>
                    <a:pt x="70221" y="118967"/>
                  </a:lnTo>
                  <a:cubicBezTo>
                    <a:pt x="71814" y="119090"/>
                    <a:pt x="73444" y="119193"/>
                    <a:pt x="75109" y="119276"/>
                  </a:cubicBezTo>
                  <a:cubicBezTo>
                    <a:pt x="76898" y="119241"/>
                    <a:pt x="78722" y="119184"/>
                    <a:pt x="80581" y="119107"/>
                  </a:cubicBezTo>
                  <a:cubicBezTo>
                    <a:pt x="88313" y="118618"/>
                    <a:pt x="97214" y="117019"/>
                    <a:pt x="106805" y="114314"/>
                  </a:cubicBezTo>
                  <a:lnTo>
                    <a:pt x="109574" y="107560"/>
                  </a:lnTo>
                  <a:cubicBezTo>
                    <a:pt x="111830" y="106914"/>
                    <a:pt x="114105" y="106206"/>
                    <a:pt x="116398" y="105436"/>
                  </a:cubicBezTo>
                  <a:close/>
                  <a:moveTo>
                    <a:pt x="27795" y="124680"/>
                  </a:moveTo>
                  <a:lnTo>
                    <a:pt x="28106" y="125641"/>
                  </a:lnTo>
                  <a:lnTo>
                    <a:pt x="28532" y="126545"/>
                  </a:lnTo>
                  <a:cubicBezTo>
                    <a:pt x="28742" y="126964"/>
                    <a:pt x="28915" y="127410"/>
                    <a:pt x="29159" y="127813"/>
                  </a:cubicBezTo>
                  <a:cubicBezTo>
                    <a:pt x="28400" y="128559"/>
                    <a:pt x="27641" y="129312"/>
                    <a:pt x="26882" y="130073"/>
                  </a:cubicBezTo>
                  <a:cubicBezTo>
                    <a:pt x="26554" y="129548"/>
                    <a:pt x="26244" y="129015"/>
                    <a:pt x="26020" y="128431"/>
                  </a:cubicBezTo>
                  <a:lnTo>
                    <a:pt x="26019" y="128430"/>
                  </a:lnTo>
                  <a:lnTo>
                    <a:pt x="25481" y="127229"/>
                  </a:lnTo>
                  <a:lnTo>
                    <a:pt x="25095" y="125956"/>
                  </a:lnTo>
                  <a:lnTo>
                    <a:pt x="24999" y="125646"/>
                  </a:lnTo>
                  <a:cubicBezTo>
                    <a:pt x="25930" y="125330"/>
                    <a:pt x="26862" y="125009"/>
                    <a:pt x="27795" y="124680"/>
                  </a:cubicBezTo>
                  <a:close/>
                  <a:moveTo>
                    <a:pt x="129487" y="126686"/>
                  </a:moveTo>
                  <a:lnTo>
                    <a:pt x="129488" y="126687"/>
                  </a:lnTo>
                  <a:lnTo>
                    <a:pt x="129558" y="128728"/>
                  </a:lnTo>
                  <a:cubicBezTo>
                    <a:pt x="128065" y="129334"/>
                    <a:pt x="126571" y="129921"/>
                    <a:pt x="125081" y="130520"/>
                  </a:cubicBezTo>
                  <a:cubicBezTo>
                    <a:pt x="124429" y="130093"/>
                    <a:pt x="123801" y="129649"/>
                    <a:pt x="123190" y="129195"/>
                  </a:cubicBezTo>
                  <a:cubicBezTo>
                    <a:pt x="125283" y="128388"/>
                    <a:pt x="127384" y="127513"/>
                    <a:pt x="129487" y="126686"/>
                  </a:cubicBezTo>
                  <a:close/>
                  <a:moveTo>
                    <a:pt x="118297" y="128160"/>
                  </a:moveTo>
                  <a:cubicBezTo>
                    <a:pt x="118813" y="128627"/>
                    <a:pt x="119349" y="129095"/>
                    <a:pt x="119903" y="129560"/>
                  </a:cubicBezTo>
                  <a:cubicBezTo>
                    <a:pt x="118491" y="130091"/>
                    <a:pt x="117081" y="130616"/>
                    <a:pt x="115681" y="131098"/>
                  </a:cubicBezTo>
                  <a:lnTo>
                    <a:pt x="116075" y="128959"/>
                  </a:lnTo>
                  <a:cubicBezTo>
                    <a:pt x="116814" y="128706"/>
                    <a:pt x="117554" y="128447"/>
                    <a:pt x="118297" y="128160"/>
                  </a:cubicBezTo>
                  <a:close/>
                  <a:moveTo>
                    <a:pt x="18943" y="123871"/>
                  </a:moveTo>
                  <a:cubicBezTo>
                    <a:pt x="18946" y="124072"/>
                    <a:pt x="18953" y="124272"/>
                    <a:pt x="18962" y="124473"/>
                  </a:cubicBezTo>
                  <a:lnTo>
                    <a:pt x="6916" y="131180"/>
                  </a:lnTo>
                  <a:cubicBezTo>
                    <a:pt x="6927" y="130931"/>
                    <a:pt x="6942" y="130683"/>
                    <a:pt x="6959" y="130433"/>
                  </a:cubicBezTo>
                  <a:lnTo>
                    <a:pt x="18943" y="123871"/>
                  </a:lnTo>
                  <a:close/>
                  <a:moveTo>
                    <a:pt x="18978" y="124986"/>
                  </a:moveTo>
                  <a:cubicBezTo>
                    <a:pt x="18979" y="125024"/>
                    <a:pt x="18982" y="125062"/>
                    <a:pt x="18983" y="125100"/>
                  </a:cubicBezTo>
                  <a:cubicBezTo>
                    <a:pt x="18976" y="125947"/>
                    <a:pt x="19125" y="126714"/>
                    <a:pt x="19234" y="127510"/>
                  </a:cubicBezTo>
                  <a:lnTo>
                    <a:pt x="19234" y="127509"/>
                  </a:lnTo>
                  <a:cubicBezTo>
                    <a:pt x="20731" y="127054"/>
                    <a:pt x="22262" y="126562"/>
                    <a:pt x="23807" y="126048"/>
                  </a:cubicBezTo>
                  <a:cubicBezTo>
                    <a:pt x="23821" y="126097"/>
                    <a:pt x="23836" y="126145"/>
                    <a:pt x="23854" y="126193"/>
                  </a:cubicBezTo>
                  <a:lnTo>
                    <a:pt x="14242" y="131956"/>
                  </a:lnTo>
                  <a:cubicBezTo>
                    <a:pt x="14060" y="131329"/>
                    <a:pt x="14056" y="130603"/>
                    <a:pt x="13956" y="129938"/>
                  </a:cubicBezTo>
                  <a:lnTo>
                    <a:pt x="13842" y="128931"/>
                  </a:lnTo>
                  <a:lnTo>
                    <a:pt x="13833" y="127874"/>
                  </a:lnTo>
                  <a:lnTo>
                    <a:pt x="18978" y="124986"/>
                  </a:lnTo>
                  <a:close/>
                  <a:moveTo>
                    <a:pt x="35954" y="114554"/>
                  </a:moveTo>
                  <a:cubicBezTo>
                    <a:pt x="36791" y="123400"/>
                    <a:pt x="44110" y="129569"/>
                    <a:pt x="57331" y="131367"/>
                  </a:cubicBezTo>
                  <a:cubicBezTo>
                    <a:pt x="58633" y="131589"/>
                    <a:pt x="60098" y="131697"/>
                    <a:pt x="61525" y="131801"/>
                  </a:cubicBezTo>
                  <a:cubicBezTo>
                    <a:pt x="61969" y="131834"/>
                    <a:pt x="62413" y="131866"/>
                    <a:pt x="62854" y="131902"/>
                  </a:cubicBezTo>
                  <a:lnTo>
                    <a:pt x="62871" y="131903"/>
                  </a:lnTo>
                  <a:cubicBezTo>
                    <a:pt x="63473" y="131931"/>
                    <a:pt x="64073" y="131939"/>
                    <a:pt x="64675" y="131948"/>
                  </a:cubicBezTo>
                  <a:cubicBezTo>
                    <a:pt x="65083" y="131953"/>
                    <a:pt x="65493" y="131958"/>
                    <a:pt x="65898" y="131971"/>
                  </a:cubicBezTo>
                  <a:lnTo>
                    <a:pt x="66450" y="131983"/>
                  </a:lnTo>
                  <a:cubicBezTo>
                    <a:pt x="66707" y="131990"/>
                    <a:pt x="66964" y="131997"/>
                    <a:pt x="67227" y="131997"/>
                  </a:cubicBezTo>
                  <a:cubicBezTo>
                    <a:pt x="67305" y="131997"/>
                    <a:pt x="67383" y="131996"/>
                    <a:pt x="67462" y="131995"/>
                  </a:cubicBezTo>
                  <a:lnTo>
                    <a:pt x="69079" y="131941"/>
                  </a:lnTo>
                  <a:cubicBezTo>
                    <a:pt x="69489" y="131921"/>
                    <a:pt x="69878" y="131914"/>
                    <a:pt x="70268" y="131906"/>
                  </a:cubicBezTo>
                  <a:cubicBezTo>
                    <a:pt x="70944" y="131892"/>
                    <a:pt x="71644" y="131878"/>
                    <a:pt x="72400" y="131804"/>
                  </a:cubicBezTo>
                  <a:lnTo>
                    <a:pt x="75785" y="131549"/>
                  </a:lnTo>
                  <a:cubicBezTo>
                    <a:pt x="76503" y="131482"/>
                    <a:pt x="77224" y="131395"/>
                    <a:pt x="77945" y="131306"/>
                  </a:cubicBezTo>
                  <a:cubicBezTo>
                    <a:pt x="78422" y="131248"/>
                    <a:pt x="78900" y="131190"/>
                    <a:pt x="79375" y="131138"/>
                  </a:cubicBezTo>
                  <a:cubicBezTo>
                    <a:pt x="80564" y="131024"/>
                    <a:pt x="81833" y="130820"/>
                    <a:pt x="83066" y="130621"/>
                  </a:cubicBezTo>
                  <a:cubicBezTo>
                    <a:pt x="84933" y="130365"/>
                    <a:pt x="86890" y="129988"/>
                    <a:pt x="88793" y="129620"/>
                  </a:cubicBezTo>
                  <a:cubicBezTo>
                    <a:pt x="89465" y="129490"/>
                    <a:pt x="90142" y="129359"/>
                    <a:pt x="90814" y="129235"/>
                  </a:cubicBezTo>
                  <a:cubicBezTo>
                    <a:pt x="91571" y="129061"/>
                    <a:pt x="92267" y="128904"/>
                    <a:pt x="92964" y="128747"/>
                  </a:cubicBezTo>
                  <a:cubicBezTo>
                    <a:pt x="94932" y="128305"/>
                    <a:pt x="96978" y="127845"/>
                    <a:pt x="99073" y="127271"/>
                  </a:cubicBezTo>
                  <a:cubicBezTo>
                    <a:pt x="104759" y="125791"/>
                    <a:pt x="110128" y="124156"/>
                    <a:pt x="115407" y="122295"/>
                  </a:cubicBezTo>
                  <a:lnTo>
                    <a:pt x="115407" y="122295"/>
                  </a:lnTo>
                  <a:lnTo>
                    <a:pt x="115372" y="122477"/>
                  </a:lnTo>
                  <a:cubicBezTo>
                    <a:pt x="105277" y="126017"/>
                    <a:pt x="95587" y="128578"/>
                    <a:pt x="86626" y="130219"/>
                  </a:cubicBezTo>
                  <a:cubicBezTo>
                    <a:pt x="79179" y="131580"/>
                    <a:pt x="72373" y="132190"/>
                    <a:pt x="66260" y="132190"/>
                  </a:cubicBezTo>
                  <a:cubicBezTo>
                    <a:pt x="65126" y="132190"/>
                    <a:pt x="64016" y="132169"/>
                    <a:pt x="62930" y="132128"/>
                  </a:cubicBezTo>
                  <a:cubicBezTo>
                    <a:pt x="56325" y="131762"/>
                    <a:pt x="50697" y="130639"/>
                    <a:pt x="46409" y="128636"/>
                  </a:cubicBezTo>
                  <a:cubicBezTo>
                    <a:pt x="42291" y="126706"/>
                    <a:pt x="39275" y="124103"/>
                    <a:pt x="37569" y="120840"/>
                  </a:cubicBezTo>
                  <a:cubicBezTo>
                    <a:pt x="36521" y="118988"/>
                    <a:pt x="35944" y="116903"/>
                    <a:pt x="35744" y="114669"/>
                  </a:cubicBezTo>
                  <a:lnTo>
                    <a:pt x="35954" y="114554"/>
                  </a:lnTo>
                  <a:close/>
                  <a:moveTo>
                    <a:pt x="24929" y="95941"/>
                  </a:moveTo>
                  <a:cubicBezTo>
                    <a:pt x="24898" y="95983"/>
                    <a:pt x="24865" y="96025"/>
                    <a:pt x="24833" y="96066"/>
                  </a:cubicBezTo>
                  <a:lnTo>
                    <a:pt x="21871" y="96991"/>
                  </a:lnTo>
                  <a:cubicBezTo>
                    <a:pt x="18808" y="100883"/>
                    <a:pt x="16089" y="104757"/>
                    <a:pt x="13868" y="108522"/>
                  </a:cubicBezTo>
                  <a:lnTo>
                    <a:pt x="19719" y="106227"/>
                  </a:lnTo>
                  <a:lnTo>
                    <a:pt x="19719" y="106227"/>
                  </a:lnTo>
                  <a:cubicBezTo>
                    <a:pt x="18845" y="107815"/>
                    <a:pt x="17923" y="109440"/>
                    <a:pt x="17222" y="110990"/>
                  </a:cubicBezTo>
                  <a:lnTo>
                    <a:pt x="14585" y="112114"/>
                  </a:lnTo>
                  <a:cubicBezTo>
                    <a:pt x="13249" y="114776"/>
                    <a:pt x="12302" y="117315"/>
                    <a:pt x="11454" y="119852"/>
                  </a:cubicBezTo>
                  <a:lnTo>
                    <a:pt x="25253" y="113210"/>
                  </a:lnTo>
                  <a:lnTo>
                    <a:pt x="25253" y="113210"/>
                  </a:lnTo>
                  <a:lnTo>
                    <a:pt x="25253" y="113210"/>
                  </a:lnTo>
                  <a:cubicBezTo>
                    <a:pt x="25352" y="112880"/>
                    <a:pt x="25446" y="112552"/>
                    <a:pt x="25541" y="112226"/>
                  </a:cubicBezTo>
                  <a:cubicBezTo>
                    <a:pt x="26274" y="112092"/>
                    <a:pt x="27009" y="111955"/>
                    <a:pt x="27749" y="111809"/>
                  </a:cubicBezTo>
                  <a:lnTo>
                    <a:pt x="27749" y="111809"/>
                  </a:lnTo>
                  <a:cubicBezTo>
                    <a:pt x="27569" y="112565"/>
                    <a:pt x="27431" y="113305"/>
                    <a:pt x="27268" y="114062"/>
                  </a:cubicBezTo>
                  <a:cubicBezTo>
                    <a:pt x="27118" y="114818"/>
                    <a:pt x="27073" y="115526"/>
                    <a:pt x="26970" y="116268"/>
                  </a:cubicBezTo>
                  <a:cubicBezTo>
                    <a:pt x="26102" y="116934"/>
                    <a:pt x="25250" y="117597"/>
                    <a:pt x="24405" y="118264"/>
                  </a:cubicBezTo>
                  <a:cubicBezTo>
                    <a:pt x="24532" y="116634"/>
                    <a:pt x="24814" y="114949"/>
                    <a:pt x="25253" y="113210"/>
                  </a:cubicBezTo>
                  <a:lnTo>
                    <a:pt x="25253" y="113210"/>
                  </a:lnTo>
                  <a:lnTo>
                    <a:pt x="7753" y="121634"/>
                  </a:lnTo>
                  <a:cubicBezTo>
                    <a:pt x="6782" y="124612"/>
                    <a:pt x="6171" y="127478"/>
                    <a:pt x="5922" y="130233"/>
                  </a:cubicBezTo>
                  <a:lnTo>
                    <a:pt x="1737" y="132525"/>
                  </a:lnTo>
                  <a:cubicBezTo>
                    <a:pt x="2964" y="122030"/>
                    <a:pt x="9079" y="110032"/>
                    <a:pt x="18871" y="97805"/>
                  </a:cubicBezTo>
                  <a:lnTo>
                    <a:pt x="24929" y="95941"/>
                  </a:lnTo>
                  <a:close/>
                  <a:moveTo>
                    <a:pt x="113989" y="129675"/>
                  </a:moveTo>
                  <a:lnTo>
                    <a:pt x="113578" y="131820"/>
                  </a:lnTo>
                  <a:cubicBezTo>
                    <a:pt x="111020" y="132719"/>
                    <a:pt x="108499" y="133509"/>
                    <a:pt x="105989" y="134291"/>
                  </a:cubicBezTo>
                  <a:cubicBezTo>
                    <a:pt x="106831" y="133351"/>
                    <a:pt x="107655" y="132421"/>
                    <a:pt x="108458" y="131507"/>
                  </a:cubicBezTo>
                  <a:cubicBezTo>
                    <a:pt x="110281" y="130959"/>
                    <a:pt x="112134" y="130315"/>
                    <a:pt x="113989" y="129675"/>
                  </a:cubicBezTo>
                  <a:close/>
                  <a:moveTo>
                    <a:pt x="33105" y="116114"/>
                  </a:moveTo>
                  <a:cubicBezTo>
                    <a:pt x="33278" y="118436"/>
                    <a:pt x="33839" y="120604"/>
                    <a:pt x="34885" y="122534"/>
                  </a:cubicBezTo>
                  <a:cubicBezTo>
                    <a:pt x="36587" y="125933"/>
                    <a:pt x="39640" y="128658"/>
                    <a:pt x="43837" y="130687"/>
                  </a:cubicBezTo>
                  <a:cubicBezTo>
                    <a:pt x="48213" y="132796"/>
                    <a:pt x="53979" y="134001"/>
                    <a:pt x="60762" y="134415"/>
                  </a:cubicBezTo>
                  <a:cubicBezTo>
                    <a:pt x="62034" y="134470"/>
                    <a:pt x="63339" y="134499"/>
                    <a:pt x="64676" y="134499"/>
                  </a:cubicBezTo>
                  <a:cubicBezTo>
                    <a:pt x="70840" y="134499"/>
                    <a:pt x="77695" y="133894"/>
                    <a:pt x="85189" y="132546"/>
                  </a:cubicBezTo>
                  <a:cubicBezTo>
                    <a:pt x="94461" y="130874"/>
                    <a:pt x="104502" y="128240"/>
                    <a:pt x="114968" y="124583"/>
                  </a:cubicBezTo>
                  <a:lnTo>
                    <a:pt x="114968" y="124583"/>
                  </a:lnTo>
                  <a:lnTo>
                    <a:pt x="114787" y="125520"/>
                  </a:lnTo>
                  <a:cubicBezTo>
                    <a:pt x="104157" y="129229"/>
                    <a:pt x="93960" y="131896"/>
                    <a:pt x="84551" y="133580"/>
                  </a:cubicBezTo>
                  <a:cubicBezTo>
                    <a:pt x="77040" y="134921"/>
                    <a:pt x="70166" y="135524"/>
                    <a:pt x="63982" y="135524"/>
                  </a:cubicBezTo>
                  <a:cubicBezTo>
                    <a:pt x="62551" y="135524"/>
                    <a:pt x="61158" y="135492"/>
                    <a:pt x="59802" y="135429"/>
                  </a:cubicBezTo>
                  <a:cubicBezTo>
                    <a:pt x="52941" y="134992"/>
                    <a:pt x="47114" y="133751"/>
                    <a:pt x="42700" y="131594"/>
                  </a:cubicBezTo>
                  <a:cubicBezTo>
                    <a:pt x="38468" y="129520"/>
                    <a:pt x="35401" y="126740"/>
                    <a:pt x="33701" y="123282"/>
                  </a:cubicBezTo>
                  <a:cubicBezTo>
                    <a:pt x="32658" y="121316"/>
                    <a:pt x="32104" y="119111"/>
                    <a:pt x="31945" y="116750"/>
                  </a:cubicBezTo>
                  <a:lnTo>
                    <a:pt x="33105" y="116114"/>
                  </a:lnTo>
                  <a:close/>
                  <a:moveTo>
                    <a:pt x="26437" y="131906"/>
                  </a:moveTo>
                  <a:cubicBezTo>
                    <a:pt x="27411" y="133268"/>
                    <a:pt x="28583" y="134529"/>
                    <a:pt x="29951" y="135689"/>
                  </a:cubicBezTo>
                  <a:lnTo>
                    <a:pt x="29951" y="135689"/>
                  </a:lnTo>
                  <a:cubicBezTo>
                    <a:pt x="28871" y="136182"/>
                    <a:pt x="27795" y="136665"/>
                    <a:pt x="26735" y="137130"/>
                  </a:cubicBezTo>
                  <a:cubicBezTo>
                    <a:pt x="26257" y="136651"/>
                    <a:pt x="25755" y="136194"/>
                    <a:pt x="25310" y="135702"/>
                  </a:cubicBezTo>
                  <a:lnTo>
                    <a:pt x="24106" y="134167"/>
                  </a:lnTo>
                  <a:cubicBezTo>
                    <a:pt x="24721" y="133518"/>
                    <a:pt x="25343" y="132867"/>
                    <a:pt x="25975" y="132216"/>
                  </a:cubicBezTo>
                  <a:lnTo>
                    <a:pt x="26437" y="131906"/>
                  </a:lnTo>
                  <a:close/>
                  <a:moveTo>
                    <a:pt x="153624" y="115481"/>
                  </a:moveTo>
                  <a:lnTo>
                    <a:pt x="159267" y="126572"/>
                  </a:lnTo>
                  <a:cubicBezTo>
                    <a:pt x="150698" y="130998"/>
                    <a:pt x="141980" y="135118"/>
                    <a:pt x="133237" y="138742"/>
                  </a:cubicBezTo>
                  <a:lnTo>
                    <a:pt x="132460" y="128889"/>
                  </a:lnTo>
                  <a:cubicBezTo>
                    <a:pt x="134233" y="128133"/>
                    <a:pt x="136008" y="127378"/>
                    <a:pt x="137781" y="126601"/>
                  </a:cubicBezTo>
                  <a:cubicBezTo>
                    <a:pt x="138737" y="124999"/>
                    <a:pt x="139642" y="123429"/>
                    <a:pt x="140495" y="121893"/>
                  </a:cubicBezTo>
                  <a:cubicBezTo>
                    <a:pt x="144901" y="119869"/>
                    <a:pt x="149285" y="117720"/>
                    <a:pt x="153624" y="115481"/>
                  </a:cubicBezTo>
                  <a:close/>
                  <a:moveTo>
                    <a:pt x="35267" y="134147"/>
                  </a:moveTo>
                  <a:cubicBezTo>
                    <a:pt x="35877" y="134629"/>
                    <a:pt x="36677" y="134970"/>
                    <a:pt x="37382" y="135392"/>
                  </a:cubicBezTo>
                  <a:cubicBezTo>
                    <a:pt x="38083" y="135825"/>
                    <a:pt x="38926" y="136151"/>
                    <a:pt x="39742" y="136505"/>
                  </a:cubicBezTo>
                  <a:cubicBezTo>
                    <a:pt x="39166" y="137307"/>
                    <a:pt x="38594" y="138114"/>
                    <a:pt x="38026" y="138930"/>
                  </a:cubicBezTo>
                  <a:lnTo>
                    <a:pt x="37787" y="138823"/>
                  </a:lnTo>
                  <a:lnTo>
                    <a:pt x="35628" y="137868"/>
                  </a:lnTo>
                  <a:lnTo>
                    <a:pt x="33712" y="136770"/>
                  </a:lnTo>
                  <a:lnTo>
                    <a:pt x="33246" y="136504"/>
                  </a:lnTo>
                  <a:cubicBezTo>
                    <a:pt x="32837" y="136235"/>
                    <a:pt x="32442" y="135958"/>
                    <a:pt x="32062" y="135672"/>
                  </a:cubicBezTo>
                  <a:cubicBezTo>
                    <a:pt x="33136" y="135166"/>
                    <a:pt x="34205" y="134658"/>
                    <a:pt x="35267" y="134147"/>
                  </a:cubicBezTo>
                  <a:close/>
                  <a:moveTo>
                    <a:pt x="23984" y="126627"/>
                  </a:moveTo>
                  <a:lnTo>
                    <a:pt x="24334" y="127809"/>
                  </a:lnTo>
                  <a:cubicBezTo>
                    <a:pt x="24456" y="128203"/>
                    <a:pt x="24653" y="128554"/>
                    <a:pt x="24809" y="128932"/>
                  </a:cubicBezTo>
                  <a:lnTo>
                    <a:pt x="25307" y="130059"/>
                  </a:lnTo>
                  <a:lnTo>
                    <a:pt x="25912" y="131047"/>
                  </a:lnTo>
                  <a:cubicBezTo>
                    <a:pt x="25822" y="131137"/>
                    <a:pt x="25733" y="131225"/>
                    <a:pt x="25643" y="131316"/>
                  </a:cubicBezTo>
                  <a:lnTo>
                    <a:pt x="13132" y="139579"/>
                  </a:lnTo>
                  <a:lnTo>
                    <a:pt x="12507" y="138327"/>
                  </a:lnTo>
                  <a:lnTo>
                    <a:pt x="12043" y="136997"/>
                  </a:lnTo>
                  <a:cubicBezTo>
                    <a:pt x="11900" y="136552"/>
                    <a:pt x="11716" y="136135"/>
                    <a:pt x="11609" y="135672"/>
                  </a:cubicBezTo>
                  <a:lnTo>
                    <a:pt x="11311" y="134287"/>
                  </a:lnTo>
                  <a:lnTo>
                    <a:pt x="13233" y="133126"/>
                  </a:lnTo>
                  <a:lnTo>
                    <a:pt x="23984" y="126627"/>
                  </a:lnTo>
                  <a:close/>
                  <a:moveTo>
                    <a:pt x="86050" y="137365"/>
                  </a:moveTo>
                  <a:cubicBezTo>
                    <a:pt x="86155" y="138027"/>
                    <a:pt x="86278" y="138687"/>
                    <a:pt x="86414" y="139345"/>
                  </a:cubicBezTo>
                  <a:cubicBezTo>
                    <a:pt x="84963" y="139641"/>
                    <a:pt x="83527" y="139918"/>
                    <a:pt x="82107" y="140175"/>
                  </a:cubicBezTo>
                  <a:lnTo>
                    <a:pt x="82106" y="140176"/>
                  </a:lnTo>
                  <a:lnTo>
                    <a:pt x="82106" y="140176"/>
                  </a:lnTo>
                  <a:cubicBezTo>
                    <a:pt x="81000" y="140367"/>
                    <a:pt x="79875" y="140594"/>
                    <a:pt x="78793" y="140758"/>
                  </a:cubicBezTo>
                  <a:lnTo>
                    <a:pt x="75587" y="141210"/>
                  </a:lnTo>
                  <a:cubicBezTo>
                    <a:pt x="74680" y="141357"/>
                    <a:pt x="73802" y="141465"/>
                    <a:pt x="72935" y="141560"/>
                  </a:cubicBezTo>
                  <a:cubicBezTo>
                    <a:pt x="73994" y="140715"/>
                    <a:pt x="75046" y="139866"/>
                    <a:pt x="76088" y="139010"/>
                  </a:cubicBezTo>
                  <a:cubicBezTo>
                    <a:pt x="77710" y="138770"/>
                    <a:pt x="79323" y="138552"/>
                    <a:pt x="80974" y="138290"/>
                  </a:cubicBezTo>
                  <a:lnTo>
                    <a:pt x="86050" y="137365"/>
                  </a:lnTo>
                  <a:close/>
                  <a:moveTo>
                    <a:pt x="102077" y="136333"/>
                  </a:moveTo>
                  <a:lnTo>
                    <a:pt x="101919" y="136785"/>
                  </a:lnTo>
                  <a:cubicBezTo>
                    <a:pt x="101202" y="137545"/>
                    <a:pt x="100472" y="138309"/>
                    <a:pt x="99731" y="139079"/>
                  </a:cubicBezTo>
                  <a:cubicBezTo>
                    <a:pt x="96235" y="140096"/>
                    <a:pt x="92850" y="140892"/>
                    <a:pt x="89475" y="141721"/>
                  </a:cubicBezTo>
                  <a:cubicBezTo>
                    <a:pt x="89263" y="141049"/>
                    <a:pt x="89067" y="140377"/>
                    <a:pt x="88889" y="139705"/>
                  </a:cubicBezTo>
                  <a:cubicBezTo>
                    <a:pt x="93162" y="138768"/>
                    <a:pt x="97555" y="137670"/>
                    <a:pt x="102077" y="136333"/>
                  </a:cubicBezTo>
                  <a:close/>
                  <a:moveTo>
                    <a:pt x="51974" y="139550"/>
                  </a:moveTo>
                  <a:lnTo>
                    <a:pt x="55568" y="139897"/>
                  </a:lnTo>
                  <a:lnTo>
                    <a:pt x="58263" y="140001"/>
                  </a:lnTo>
                  <a:cubicBezTo>
                    <a:pt x="57976" y="140774"/>
                    <a:pt x="57694" y="141555"/>
                    <a:pt x="57422" y="142337"/>
                  </a:cubicBezTo>
                  <a:cubicBezTo>
                    <a:pt x="54296" y="142261"/>
                    <a:pt x="51325" y="142059"/>
                    <a:pt x="48600" y="141664"/>
                  </a:cubicBezTo>
                  <a:cubicBezTo>
                    <a:pt x="49726" y="140968"/>
                    <a:pt x="50851" y="140263"/>
                    <a:pt x="51974" y="139550"/>
                  </a:cubicBezTo>
                  <a:close/>
                  <a:moveTo>
                    <a:pt x="30323" y="117637"/>
                  </a:moveTo>
                  <a:cubicBezTo>
                    <a:pt x="30463" y="120052"/>
                    <a:pt x="31007" y="122310"/>
                    <a:pt x="32048" y="124325"/>
                  </a:cubicBezTo>
                  <a:cubicBezTo>
                    <a:pt x="33741" y="127870"/>
                    <a:pt x="36829" y="130726"/>
                    <a:pt x="41108" y="132864"/>
                  </a:cubicBezTo>
                  <a:cubicBezTo>
                    <a:pt x="45573" y="135090"/>
                    <a:pt x="51483" y="136381"/>
                    <a:pt x="58454" y="136851"/>
                  </a:cubicBezTo>
                  <a:cubicBezTo>
                    <a:pt x="59931" y="136925"/>
                    <a:pt x="61452" y="136963"/>
                    <a:pt x="63017" y="136963"/>
                  </a:cubicBezTo>
                  <a:cubicBezTo>
                    <a:pt x="69227" y="136963"/>
                    <a:pt x="76123" y="136363"/>
                    <a:pt x="83653" y="135032"/>
                  </a:cubicBezTo>
                  <a:cubicBezTo>
                    <a:pt x="93256" y="133331"/>
                    <a:pt x="103672" y="130619"/>
                    <a:pt x="114534" y="126838"/>
                  </a:cubicBezTo>
                  <a:lnTo>
                    <a:pt x="114534" y="126838"/>
                  </a:lnTo>
                  <a:lnTo>
                    <a:pt x="114259" y="128271"/>
                  </a:lnTo>
                  <a:lnTo>
                    <a:pt x="111076" y="129366"/>
                  </a:lnTo>
                  <a:lnTo>
                    <a:pt x="107697" y="130430"/>
                  </a:lnTo>
                  <a:cubicBezTo>
                    <a:pt x="106456" y="131842"/>
                    <a:pt x="105171" y="133275"/>
                    <a:pt x="103842" y="134728"/>
                  </a:cubicBezTo>
                  <a:cubicBezTo>
                    <a:pt x="103744" y="134834"/>
                    <a:pt x="103643" y="134941"/>
                    <a:pt x="103544" y="135049"/>
                  </a:cubicBezTo>
                  <a:lnTo>
                    <a:pt x="102449" y="135355"/>
                  </a:lnTo>
                  <a:cubicBezTo>
                    <a:pt x="97720" y="136756"/>
                    <a:pt x="93127" y="137909"/>
                    <a:pt x="88674" y="138871"/>
                  </a:cubicBezTo>
                  <a:cubicBezTo>
                    <a:pt x="88402" y="137780"/>
                    <a:pt x="88170" y="136693"/>
                    <a:pt x="87980" y="135607"/>
                  </a:cubicBezTo>
                  <a:cubicBezTo>
                    <a:pt x="85927" y="136039"/>
                    <a:pt x="83944" y="136365"/>
                    <a:pt x="81940" y="136746"/>
                  </a:cubicBezTo>
                  <a:cubicBezTo>
                    <a:pt x="79992" y="137054"/>
                    <a:pt x="78077" y="137325"/>
                    <a:pt x="76166" y="137604"/>
                  </a:cubicBezTo>
                  <a:cubicBezTo>
                    <a:pt x="74466" y="138980"/>
                    <a:pt x="72724" y="140367"/>
                    <a:pt x="70940" y="141763"/>
                  </a:cubicBezTo>
                  <a:cubicBezTo>
                    <a:pt x="70427" y="141813"/>
                    <a:pt x="69913" y="141864"/>
                    <a:pt x="69398" y="141921"/>
                  </a:cubicBezTo>
                  <a:lnTo>
                    <a:pt x="68366" y="142026"/>
                  </a:lnTo>
                  <a:cubicBezTo>
                    <a:pt x="65941" y="142159"/>
                    <a:pt x="63472" y="142367"/>
                    <a:pt x="61196" y="142367"/>
                  </a:cubicBezTo>
                  <a:cubicBezTo>
                    <a:pt x="61024" y="142367"/>
                    <a:pt x="60852" y="142366"/>
                    <a:pt x="60682" y="142363"/>
                  </a:cubicBezTo>
                  <a:lnTo>
                    <a:pt x="59783" y="142372"/>
                  </a:lnTo>
                  <a:cubicBezTo>
                    <a:pt x="59566" y="142371"/>
                    <a:pt x="59351" y="142369"/>
                    <a:pt x="59136" y="142367"/>
                  </a:cubicBezTo>
                  <a:cubicBezTo>
                    <a:pt x="59528" y="141091"/>
                    <a:pt x="59951" y="139819"/>
                    <a:pt x="60441" y="138512"/>
                  </a:cubicBezTo>
                  <a:lnTo>
                    <a:pt x="56993" y="138393"/>
                  </a:lnTo>
                  <a:lnTo>
                    <a:pt x="52733" y="137991"/>
                  </a:lnTo>
                  <a:cubicBezTo>
                    <a:pt x="50905" y="139140"/>
                    <a:pt x="49049" y="140287"/>
                    <a:pt x="47164" y="141433"/>
                  </a:cubicBezTo>
                  <a:cubicBezTo>
                    <a:pt x="46749" y="141360"/>
                    <a:pt x="46339" y="141283"/>
                    <a:pt x="45939" y="141199"/>
                  </a:cubicBezTo>
                  <a:cubicBezTo>
                    <a:pt x="44503" y="140964"/>
                    <a:pt x="43260" y="140563"/>
                    <a:pt x="41922" y="140265"/>
                  </a:cubicBezTo>
                  <a:cubicBezTo>
                    <a:pt x="40965" y="139976"/>
                    <a:pt x="40047" y="139661"/>
                    <a:pt x="39138" y="139346"/>
                  </a:cubicBezTo>
                  <a:cubicBezTo>
                    <a:pt x="40026" y="138017"/>
                    <a:pt x="40936" y="136696"/>
                    <a:pt x="41903" y="135352"/>
                  </a:cubicBezTo>
                  <a:cubicBezTo>
                    <a:pt x="40940" y="134925"/>
                    <a:pt x="39897" y="134572"/>
                    <a:pt x="39061" y="134061"/>
                  </a:cubicBezTo>
                  <a:cubicBezTo>
                    <a:pt x="38193" y="133587"/>
                    <a:pt x="37302" y="133141"/>
                    <a:pt x="36574" y="132578"/>
                  </a:cubicBezTo>
                  <a:cubicBezTo>
                    <a:pt x="34832" y="133417"/>
                    <a:pt x="33061" y="134256"/>
                    <a:pt x="31294" y="135073"/>
                  </a:cubicBezTo>
                  <a:cubicBezTo>
                    <a:pt x="29719" y="133790"/>
                    <a:pt x="28403" y="132371"/>
                    <a:pt x="27348" y="130812"/>
                  </a:cubicBezTo>
                  <a:cubicBezTo>
                    <a:pt x="28606" y="129534"/>
                    <a:pt x="29876" y="128267"/>
                    <a:pt x="31123" y="127036"/>
                  </a:cubicBezTo>
                  <a:cubicBezTo>
                    <a:pt x="30759" y="126553"/>
                    <a:pt x="30535" y="125985"/>
                    <a:pt x="30264" y="125452"/>
                  </a:cubicBezTo>
                  <a:cubicBezTo>
                    <a:pt x="29882" y="124765"/>
                    <a:pt x="29636" y="123999"/>
                    <a:pt x="29390" y="123243"/>
                  </a:cubicBezTo>
                  <a:cubicBezTo>
                    <a:pt x="27826" y="123798"/>
                    <a:pt x="26295" y="124316"/>
                    <a:pt x="24779" y="124812"/>
                  </a:cubicBezTo>
                  <a:cubicBezTo>
                    <a:pt x="24716" y="124460"/>
                    <a:pt x="24673" y="124098"/>
                    <a:pt x="24598" y="123757"/>
                  </a:cubicBezTo>
                  <a:lnTo>
                    <a:pt x="24439" y="122872"/>
                  </a:lnTo>
                  <a:lnTo>
                    <a:pt x="24382" y="121938"/>
                  </a:lnTo>
                  <a:lnTo>
                    <a:pt x="24353" y="121484"/>
                  </a:lnTo>
                  <a:cubicBezTo>
                    <a:pt x="24344" y="121296"/>
                    <a:pt x="24337" y="121107"/>
                    <a:pt x="24332" y="120918"/>
                  </a:cubicBezTo>
                  <a:lnTo>
                    <a:pt x="30323" y="117637"/>
                  </a:lnTo>
                  <a:close/>
                  <a:moveTo>
                    <a:pt x="45680" y="142276"/>
                  </a:moveTo>
                  <a:cubicBezTo>
                    <a:pt x="45703" y="142280"/>
                    <a:pt x="45727" y="142284"/>
                    <a:pt x="45751" y="142289"/>
                  </a:cubicBezTo>
                  <a:cubicBezTo>
                    <a:pt x="45674" y="142335"/>
                    <a:pt x="45598" y="142381"/>
                    <a:pt x="45522" y="142427"/>
                  </a:cubicBezTo>
                  <a:lnTo>
                    <a:pt x="45680" y="142276"/>
                  </a:lnTo>
                  <a:close/>
                  <a:moveTo>
                    <a:pt x="129605" y="130088"/>
                  </a:moveTo>
                  <a:lnTo>
                    <a:pt x="129834" y="136758"/>
                  </a:lnTo>
                  <a:cubicBezTo>
                    <a:pt x="127022" y="137856"/>
                    <a:pt x="124215" y="139019"/>
                    <a:pt x="121421" y="140051"/>
                  </a:cubicBezTo>
                  <a:cubicBezTo>
                    <a:pt x="118773" y="140998"/>
                    <a:pt x="116120" y="142032"/>
                    <a:pt x="113499" y="142905"/>
                  </a:cubicBezTo>
                  <a:lnTo>
                    <a:pt x="115511" y="132020"/>
                  </a:lnTo>
                  <a:cubicBezTo>
                    <a:pt x="117203" y="131444"/>
                    <a:pt x="118911" y="130790"/>
                    <a:pt x="120619" y="130152"/>
                  </a:cubicBezTo>
                  <a:cubicBezTo>
                    <a:pt x="121583" y="130937"/>
                    <a:pt x="122599" y="131710"/>
                    <a:pt x="123673" y="132457"/>
                  </a:cubicBezTo>
                  <a:cubicBezTo>
                    <a:pt x="125647" y="131667"/>
                    <a:pt x="127625" y="130890"/>
                    <a:pt x="129605" y="130088"/>
                  </a:cubicBezTo>
                  <a:close/>
                  <a:moveTo>
                    <a:pt x="58895" y="143370"/>
                  </a:moveTo>
                  <a:lnTo>
                    <a:pt x="58803" y="143477"/>
                  </a:lnTo>
                  <a:cubicBezTo>
                    <a:pt x="58814" y="143442"/>
                    <a:pt x="58824" y="143406"/>
                    <a:pt x="58835" y="143370"/>
                  </a:cubicBezTo>
                  <a:close/>
                  <a:moveTo>
                    <a:pt x="38457" y="140376"/>
                  </a:moveTo>
                  <a:lnTo>
                    <a:pt x="40554" y="141102"/>
                  </a:lnTo>
                  <a:lnTo>
                    <a:pt x="44199" y="142021"/>
                  </a:lnTo>
                  <a:lnTo>
                    <a:pt x="41802" y="144271"/>
                  </a:lnTo>
                  <a:cubicBezTo>
                    <a:pt x="40994" y="144094"/>
                    <a:pt x="40246" y="143864"/>
                    <a:pt x="39465" y="143672"/>
                  </a:cubicBezTo>
                  <a:lnTo>
                    <a:pt x="38099" y="143311"/>
                  </a:lnTo>
                  <a:lnTo>
                    <a:pt x="36842" y="142868"/>
                  </a:lnTo>
                  <a:cubicBezTo>
                    <a:pt x="37381" y="142026"/>
                    <a:pt x="37917" y="141198"/>
                    <a:pt x="38457" y="140376"/>
                  </a:cubicBezTo>
                  <a:close/>
                  <a:moveTo>
                    <a:pt x="69552" y="142846"/>
                  </a:moveTo>
                  <a:lnTo>
                    <a:pt x="69552" y="142846"/>
                  </a:lnTo>
                  <a:cubicBezTo>
                    <a:pt x="68893" y="143358"/>
                    <a:pt x="68228" y="143870"/>
                    <a:pt x="67558" y="144384"/>
                  </a:cubicBezTo>
                  <a:lnTo>
                    <a:pt x="68644" y="142932"/>
                  </a:lnTo>
                  <a:cubicBezTo>
                    <a:pt x="68945" y="142905"/>
                    <a:pt x="69250" y="142874"/>
                    <a:pt x="69552" y="142846"/>
                  </a:cubicBezTo>
                  <a:close/>
                  <a:moveTo>
                    <a:pt x="113401" y="132743"/>
                  </a:moveTo>
                  <a:lnTo>
                    <a:pt x="111823" y="140957"/>
                  </a:lnTo>
                  <a:cubicBezTo>
                    <a:pt x="108008" y="142280"/>
                    <a:pt x="104264" y="143386"/>
                    <a:pt x="100533" y="144526"/>
                  </a:cubicBezTo>
                  <a:lnTo>
                    <a:pt x="102770" y="137816"/>
                  </a:lnTo>
                  <a:cubicBezTo>
                    <a:pt x="103493" y="137040"/>
                    <a:pt x="104205" y="136265"/>
                    <a:pt x="104907" y="135491"/>
                  </a:cubicBezTo>
                  <a:cubicBezTo>
                    <a:pt x="107716" y="134618"/>
                    <a:pt x="110535" y="133749"/>
                    <a:pt x="113401" y="132743"/>
                  </a:cubicBezTo>
                  <a:close/>
                  <a:moveTo>
                    <a:pt x="67600" y="143036"/>
                  </a:moveTo>
                  <a:lnTo>
                    <a:pt x="65766" y="145454"/>
                  </a:lnTo>
                  <a:cubicBezTo>
                    <a:pt x="64512" y="145555"/>
                    <a:pt x="63319" y="145585"/>
                    <a:pt x="62097" y="145658"/>
                  </a:cubicBezTo>
                  <a:lnTo>
                    <a:pt x="60081" y="145756"/>
                  </a:lnTo>
                  <a:lnTo>
                    <a:pt x="58157" y="145762"/>
                  </a:lnTo>
                  <a:cubicBezTo>
                    <a:pt x="58213" y="145558"/>
                    <a:pt x="58268" y="145358"/>
                    <a:pt x="58324" y="145157"/>
                  </a:cubicBezTo>
                  <a:lnTo>
                    <a:pt x="59853" y="143364"/>
                  </a:lnTo>
                  <a:cubicBezTo>
                    <a:pt x="60049" y="143367"/>
                    <a:pt x="60247" y="143369"/>
                    <a:pt x="60446" y="143369"/>
                  </a:cubicBezTo>
                  <a:cubicBezTo>
                    <a:pt x="62720" y="143369"/>
                    <a:pt x="65181" y="143165"/>
                    <a:pt x="67600" y="143036"/>
                  </a:cubicBezTo>
                  <a:close/>
                  <a:moveTo>
                    <a:pt x="32630" y="137627"/>
                  </a:moveTo>
                  <a:lnTo>
                    <a:pt x="34552" y="138744"/>
                  </a:lnTo>
                  <a:lnTo>
                    <a:pt x="36719" y="139715"/>
                  </a:lnTo>
                  <a:lnTo>
                    <a:pt x="27363" y="147527"/>
                  </a:lnTo>
                  <a:lnTo>
                    <a:pt x="25074" y="146371"/>
                  </a:lnTo>
                  <a:lnTo>
                    <a:pt x="23055" y="145061"/>
                  </a:lnTo>
                  <a:lnTo>
                    <a:pt x="32630" y="137627"/>
                  </a:lnTo>
                  <a:close/>
                  <a:moveTo>
                    <a:pt x="22470" y="134572"/>
                  </a:moveTo>
                  <a:lnTo>
                    <a:pt x="22470" y="134572"/>
                  </a:lnTo>
                  <a:cubicBezTo>
                    <a:pt x="22339" y="134709"/>
                    <a:pt x="22206" y="134843"/>
                    <a:pt x="22074" y="134980"/>
                  </a:cubicBezTo>
                  <a:lnTo>
                    <a:pt x="23555" y="136934"/>
                  </a:lnTo>
                  <a:cubicBezTo>
                    <a:pt x="24116" y="137555"/>
                    <a:pt x="24739" y="138142"/>
                    <a:pt x="25340" y="138752"/>
                  </a:cubicBezTo>
                  <a:cubicBezTo>
                    <a:pt x="27125" y="137962"/>
                    <a:pt x="28920" y="137140"/>
                    <a:pt x="30710" y="136306"/>
                  </a:cubicBezTo>
                  <a:cubicBezTo>
                    <a:pt x="31166" y="136662"/>
                    <a:pt x="31642" y="137008"/>
                    <a:pt x="32135" y="137342"/>
                  </a:cubicBezTo>
                  <a:lnTo>
                    <a:pt x="15388" y="150228"/>
                  </a:lnTo>
                  <a:cubicBezTo>
                    <a:pt x="12893" y="148183"/>
                    <a:pt x="10927" y="145859"/>
                    <a:pt x="9493" y="143286"/>
                  </a:cubicBezTo>
                  <a:lnTo>
                    <a:pt x="22470" y="134572"/>
                  </a:lnTo>
                  <a:close/>
                  <a:moveTo>
                    <a:pt x="64547" y="147061"/>
                  </a:moveTo>
                  <a:lnTo>
                    <a:pt x="60815" y="151979"/>
                  </a:lnTo>
                  <a:cubicBezTo>
                    <a:pt x="58446" y="152071"/>
                    <a:pt x="56051" y="152219"/>
                    <a:pt x="53799" y="152219"/>
                  </a:cubicBezTo>
                  <a:cubicBezTo>
                    <a:pt x="53298" y="152219"/>
                    <a:pt x="52805" y="152212"/>
                    <a:pt x="52321" y="152195"/>
                  </a:cubicBezTo>
                  <a:lnTo>
                    <a:pt x="56452" y="147351"/>
                  </a:lnTo>
                  <a:cubicBezTo>
                    <a:pt x="56728" y="147352"/>
                    <a:pt x="57004" y="147353"/>
                    <a:pt x="57282" y="147353"/>
                  </a:cubicBezTo>
                  <a:cubicBezTo>
                    <a:pt x="58427" y="147353"/>
                    <a:pt x="59591" y="147337"/>
                    <a:pt x="60815" y="147257"/>
                  </a:cubicBezTo>
                  <a:cubicBezTo>
                    <a:pt x="62053" y="147192"/>
                    <a:pt x="63277" y="147152"/>
                    <a:pt x="64547" y="147061"/>
                  </a:cubicBezTo>
                  <a:close/>
                  <a:moveTo>
                    <a:pt x="37271" y="139966"/>
                  </a:moveTo>
                  <a:lnTo>
                    <a:pt x="37301" y="139975"/>
                  </a:lnTo>
                  <a:cubicBezTo>
                    <a:pt x="37230" y="140078"/>
                    <a:pt x="37157" y="140179"/>
                    <a:pt x="37087" y="140282"/>
                  </a:cubicBezTo>
                  <a:cubicBezTo>
                    <a:pt x="36240" y="141536"/>
                    <a:pt x="35405" y="142806"/>
                    <a:pt x="34580" y="144090"/>
                  </a:cubicBezTo>
                  <a:cubicBezTo>
                    <a:pt x="35620" y="144473"/>
                    <a:pt x="36663" y="144863"/>
                    <a:pt x="37841" y="145144"/>
                  </a:cubicBezTo>
                  <a:cubicBezTo>
                    <a:pt x="38628" y="145348"/>
                    <a:pt x="39396" y="145574"/>
                    <a:pt x="40210" y="145763"/>
                  </a:cubicBezTo>
                  <a:lnTo>
                    <a:pt x="32509" y="152986"/>
                  </a:lnTo>
                  <a:lnTo>
                    <a:pt x="28522" y="151785"/>
                  </a:lnTo>
                  <a:lnTo>
                    <a:pt x="24963" y="150338"/>
                  </a:lnTo>
                  <a:lnTo>
                    <a:pt x="26849" y="148748"/>
                  </a:lnTo>
                  <a:lnTo>
                    <a:pt x="37271" y="139966"/>
                  </a:lnTo>
                  <a:close/>
                  <a:moveTo>
                    <a:pt x="80355" y="141390"/>
                  </a:moveTo>
                  <a:lnTo>
                    <a:pt x="73125" y="153256"/>
                  </a:lnTo>
                  <a:cubicBezTo>
                    <a:pt x="68474" y="153995"/>
                    <a:pt x="64034" y="154485"/>
                    <a:pt x="59797" y="154782"/>
                  </a:cubicBezTo>
                  <a:lnTo>
                    <a:pt x="61166" y="152948"/>
                  </a:lnTo>
                  <a:lnTo>
                    <a:pt x="65631" y="146969"/>
                  </a:lnTo>
                  <a:cubicBezTo>
                    <a:pt x="65768" y="146955"/>
                    <a:pt x="65906" y="146942"/>
                    <a:pt x="66045" y="146926"/>
                  </a:cubicBezTo>
                  <a:cubicBezTo>
                    <a:pt x="67939" y="145476"/>
                    <a:pt x="69774" y="144058"/>
                    <a:pt x="71577" y="142636"/>
                  </a:cubicBezTo>
                  <a:cubicBezTo>
                    <a:pt x="74411" y="142323"/>
                    <a:pt x="77335" y="141915"/>
                    <a:pt x="80355" y="141390"/>
                  </a:cubicBezTo>
                  <a:close/>
                  <a:moveTo>
                    <a:pt x="100847" y="139849"/>
                  </a:moveTo>
                  <a:lnTo>
                    <a:pt x="96764" y="151520"/>
                  </a:lnTo>
                  <a:cubicBezTo>
                    <a:pt x="88639" y="153824"/>
                    <a:pt x="80880" y="155474"/>
                    <a:pt x="73476" y="156744"/>
                  </a:cubicBezTo>
                  <a:lnTo>
                    <a:pt x="82658" y="140979"/>
                  </a:lnTo>
                  <a:cubicBezTo>
                    <a:pt x="83959" y="140730"/>
                    <a:pt x="85272" y="140469"/>
                    <a:pt x="86598" y="140193"/>
                  </a:cubicBezTo>
                  <a:cubicBezTo>
                    <a:pt x="86852" y="141315"/>
                    <a:pt x="87149" y="142435"/>
                    <a:pt x="87487" y="143565"/>
                  </a:cubicBezTo>
                  <a:cubicBezTo>
                    <a:pt x="91701" y="142622"/>
                    <a:pt x="96022" y="141536"/>
                    <a:pt x="100442" y="140272"/>
                  </a:cubicBezTo>
                  <a:cubicBezTo>
                    <a:pt x="100577" y="140131"/>
                    <a:pt x="100712" y="139990"/>
                    <a:pt x="100847" y="139849"/>
                  </a:cubicBezTo>
                  <a:close/>
                  <a:moveTo>
                    <a:pt x="47170" y="142541"/>
                  </a:moveTo>
                  <a:cubicBezTo>
                    <a:pt x="50194" y="143032"/>
                    <a:pt x="53531" y="143276"/>
                    <a:pt x="57076" y="143348"/>
                  </a:cubicBezTo>
                  <a:cubicBezTo>
                    <a:pt x="57040" y="143457"/>
                    <a:pt x="57003" y="143565"/>
                    <a:pt x="56967" y="143673"/>
                  </a:cubicBezTo>
                  <a:cubicBezTo>
                    <a:pt x="56657" y="144648"/>
                    <a:pt x="56366" y="145630"/>
                    <a:pt x="56085" y="146618"/>
                  </a:cubicBezTo>
                  <a:lnTo>
                    <a:pt x="45501" y="158854"/>
                  </a:lnTo>
                  <a:cubicBezTo>
                    <a:pt x="39913" y="158639"/>
                    <a:pt x="34791" y="158060"/>
                    <a:pt x="30369" y="156942"/>
                  </a:cubicBezTo>
                  <a:lnTo>
                    <a:pt x="42392" y="145425"/>
                  </a:lnTo>
                  <a:cubicBezTo>
                    <a:pt x="44008" y="144461"/>
                    <a:pt x="45596" y="143506"/>
                    <a:pt x="47170" y="142541"/>
                  </a:cubicBezTo>
                  <a:close/>
                  <a:moveTo>
                    <a:pt x="196264" y="0"/>
                  </a:moveTo>
                  <a:cubicBezTo>
                    <a:pt x="196186" y="13"/>
                    <a:pt x="196111" y="23"/>
                    <a:pt x="196034" y="36"/>
                  </a:cubicBezTo>
                  <a:lnTo>
                    <a:pt x="192826" y="3033"/>
                  </a:lnTo>
                  <a:cubicBezTo>
                    <a:pt x="191742" y="3205"/>
                    <a:pt x="190630" y="3405"/>
                    <a:pt x="189542" y="3589"/>
                  </a:cubicBezTo>
                  <a:cubicBezTo>
                    <a:pt x="188465" y="3764"/>
                    <a:pt x="187351" y="3980"/>
                    <a:pt x="186235" y="4202"/>
                  </a:cubicBezTo>
                  <a:lnTo>
                    <a:pt x="187467" y="2947"/>
                  </a:lnTo>
                  <a:lnTo>
                    <a:pt x="184750" y="3487"/>
                  </a:lnTo>
                  <a:lnTo>
                    <a:pt x="181990" y="4093"/>
                  </a:lnTo>
                  <a:cubicBezTo>
                    <a:pt x="180184" y="4474"/>
                    <a:pt x="178301" y="4951"/>
                    <a:pt x="176459" y="5393"/>
                  </a:cubicBezTo>
                  <a:lnTo>
                    <a:pt x="177756" y="3846"/>
                  </a:lnTo>
                  <a:lnTo>
                    <a:pt x="177756" y="3846"/>
                  </a:lnTo>
                  <a:cubicBezTo>
                    <a:pt x="172449" y="5181"/>
                    <a:pt x="167035" y="6723"/>
                    <a:pt x="161569" y="8457"/>
                  </a:cubicBezTo>
                  <a:lnTo>
                    <a:pt x="160055" y="10919"/>
                  </a:lnTo>
                  <a:lnTo>
                    <a:pt x="156604" y="12026"/>
                  </a:lnTo>
                  <a:lnTo>
                    <a:pt x="153137" y="13203"/>
                  </a:lnTo>
                  <a:lnTo>
                    <a:pt x="153649" y="12189"/>
                  </a:lnTo>
                  <a:lnTo>
                    <a:pt x="153649" y="12189"/>
                  </a:lnTo>
                  <a:cubicBezTo>
                    <a:pt x="152712" y="12502"/>
                    <a:pt x="151759" y="12849"/>
                    <a:pt x="150811" y="13188"/>
                  </a:cubicBezTo>
                  <a:lnTo>
                    <a:pt x="147976" y="14205"/>
                  </a:lnTo>
                  <a:lnTo>
                    <a:pt x="145133" y="15272"/>
                  </a:lnTo>
                  <a:cubicBezTo>
                    <a:pt x="144189" y="15623"/>
                    <a:pt x="143245" y="15981"/>
                    <a:pt x="142296" y="16359"/>
                  </a:cubicBezTo>
                  <a:lnTo>
                    <a:pt x="142296" y="16359"/>
                  </a:lnTo>
                  <a:lnTo>
                    <a:pt x="142669" y="15157"/>
                  </a:lnTo>
                  <a:lnTo>
                    <a:pt x="142669" y="15157"/>
                  </a:lnTo>
                  <a:cubicBezTo>
                    <a:pt x="140726" y="15913"/>
                    <a:pt x="138780" y="16692"/>
                    <a:pt x="136832" y="17493"/>
                  </a:cubicBezTo>
                  <a:lnTo>
                    <a:pt x="139927" y="664"/>
                  </a:lnTo>
                  <a:lnTo>
                    <a:pt x="137282" y="1784"/>
                  </a:lnTo>
                  <a:lnTo>
                    <a:pt x="135179" y="2696"/>
                  </a:lnTo>
                  <a:cubicBezTo>
                    <a:pt x="133787" y="3303"/>
                    <a:pt x="132398" y="3909"/>
                    <a:pt x="131012" y="4518"/>
                  </a:cubicBezTo>
                  <a:cubicBezTo>
                    <a:pt x="130406" y="4791"/>
                    <a:pt x="129817" y="5055"/>
                    <a:pt x="129227" y="5319"/>
                  </a:cubicBezTo>
                  <a:cubicBezTo>
                    <a:pt x="127086" y="6281"/>
                    <a:pt x="124877" y="7272"/>
                    <a:pt x="122701" y="8292"/>
                  </a:cubicBezTo>
                  <a:cubicBezTo>
                    <a:pt x="117811" y="10546"/>
                    <a:pt x="112601" y="13065"/>
                    <a:pt x="106311" y="16214"/>
                  </a:cubicBezTo>
                  <a:cubicBezTo>
                    <a:pt x="95117" y="21870"/>
                    <a:pt x="84356" y="27742"/>
                    <a:pt x="74217" y="33731"/>
                  </a:cubicBezTo>
                  <a:cubicBezTo>
                    <a:pt x="69436" y="36534"/>
                    <a:pt x="64318" y="39667"/>
                    <a:pt x="58549" y="43321"/>
                  </a:cubicBezTo>
                  <a:lnTo>
                    <a:pt x="57501" y="43994"/>
                  </a:lnTo>
                  <a:cubicBezTo>
                    <a:pt x="55303" y="45405"/>
                    <a:pt x="53020" y="46872"/>
                    <a:pt x="50819" y="48342"/>
                  </a:cubicBezTo>
                  <a:lnTo>
                    <a:pt x="49951" y="48918"/>
                  </a:lnTo>
                  <a:cubicBezTo>
                    <a:pt x="48978" y="49564"/>
                    <a:pt x="47970" y="50232"/>
                    <a:pt x="46988" y="50896"/>
                  </a:cubicBezTo>
                  <a:lnTo>
                    <a:pt x="43195" y="53486"/>
                  </a:lnTo>
                  <a:cubicBezTo>
                    <a:pt x="41897" y="54367"/>
                    <a:pt x="40608" y="55272"/>
                    <a:pt x="39405" y="56120"/>
                  </a:cubicBezTo>
                  <a:lnTo>
                    <a:pt x="39153" y="56297"/>
                  </a:lnTo>
                  <a:cubicBezTo>
                    <a:pt x="37983" y="57122"/>
                    <a:pt x="36810" y="57948"/>
                    <a:pt x="35646" y="58777"/>
                  </a:cubicBezTo>
                  <a:lnTo>
                    <a:pt x="30070" y="62830"/>
                  </a:lnTo>
                  <a:lnTo>
                    <a:pt x="28230" y="64206"/>
                  </a:lnTo>
                  <a:lnTo>
                    <a:pt x="24566" y="66958"/>
                  </a:lnTo>
                  <a:cubicBezTo>
                    <a:pt x="23536" y="67745"/>
                    <a:pt x="22532" y="68524"/>
                    <a:pt x="21523" y="69306"/>
                  </a:cubicBezTo>
                  <a:lnTo>
                    <a:pt x="20946" y="69753"/>
                  </a:lnTo>
                  <a:cubicBezTo>
                    <a:pt x="18824" y="71386"/>
                    <a:pt x="16766" y="73040"/>
                    <a:pt x="14758" y="74654"/>
                  </a:cubicBezTo>
                  <a:lnTo>
                    <a:pt x="13314" y="75815"/>
                  </a:lnTo>
                  <a:lnTo>
                    <a:pt x="47651" y="72406"/>
                  </a:lnTo>
                  <a:lnTo>
                    <a:pt x="47651" y="72406"/>
                  </a:lnTo>
                  <a:cubicBezTo>
                    <a:pt x="47630" y="72424"/>
                    <a:pt x="47610" y="72442"/>
                    <a:pt x="47589" y="72459"/>
                  </a:cubicBezTo>
                  <a:lnTo>
                    <a:pt x="54179" y="71765"/>
                  </a:lnTo>
                  <a:lnTo>
                    <a:pt x="45456" y="72684"/>
                  </a:lnTo>
                  <a:cubicBezTo>
                    <a:pt x="41266" y="76347"/>
                    <a:pt x="37298" y="80057"/>
                    <a:pt x="33623" y="83773"/>
                  </a:cubicBezTo>
                  <a:lnTo>
                    <a:pt x="38061" y="82843"/>
                  </a:lnTo>
                  <a:lnTo>
                    <a:pt x="38061" y="82843"/>
                  </a:lnTo>
                  <a:cubicBezTo>
                    <a:pt x="37302" y="83635"/>
                    <a:pt x="36491" y="84440"/>
                    <a:pt x="35763" y="85231"/>
                  </a:cubicBezTo>
                  <a:lnTo>
                    <a:pt x="33556" y="87628"/>
                  </a:lnTo>
                  <a:lnTo>
                    <a:pt x="31507" y="88142"/>
                  </a:lnTo>
                  <a:cubicBezTo>
                    <a:pt x="30894" y="88804"/>
                    <a:pt x="30348" y="89452"/>
                    <a:pt x="29763" y="90112"/>
                  </a:cubicBezTo>
                  <a:cubicBezTo>
                    <a:pt x="29196" y="90770"/>
                    <a:pt x="28575" y="91445"/>
                    <a:pt x="28046" y="92097"/>
                  </a:cubicBezTo>
                  <a:cubicBezTo>
                    <a:pt x="27246" y="93077"/>
                    <a:pt x="26397" y="94076"/>
                    <a:pt x="25612" y="95063"/>
                  </a:cubicBezTo>
                  <a:lnTo>
                    <a:pt x="18367" y="97296"/>
                  </a:lnTo>
                  <a:lnTo>
                    <a:pt x="18010" y="97738"/>
                  </a:lnTo>
                  <a:cubicBezTo>
                    <a:pt x="7707" y="110442"/>
                    <a:pt x="1275" y="122937"/>
                    <a:pt x="46" y="133834"/>
                  </a:cubicBezTo>
                  <a:lnTo>
                    <a:pt x="0" y="134245"/>
                  </a:lnTo>
                  <a:lnTo>
                    <a:pt x="826" y="133794"/>
                  </a:lnTo>
                  <a:lnTo>
                    <a:pt x="5856" y="131039"/>
                  </a:lnTo>
                  <a:lnTo>
                    <a:pt x="5856" y="131039"/>
                  </a:lnTo>
                  <a:cubicBezTo>
                    <a:pt x="5827" y="131486"/>
                    <a:pt x="5806" y="131932"/>
                    <a:pt x="5794" y="132374"/>
                  </a:cubicBezTo>
                  <a:lnTo>
                    <a:pt x="12734" y="128478"/>
                  </a:lnTo>
                  <a:lnTo>
                    <a:pt x="12735" y="129552"/>
                  </a:lnTo>
                  <a:lnTo>
                    <a:pt x="12844" y="130576"/>
                  </a:lnTo>
                  <a:cubicBezTo>
                    <a:pt x="12940" y="131253"/>
                    <a:pt x="12941" y="131991"/>
                    <a:pt x="13120" y="132628"/>
                  </a:cubicBezTo>
                  <a:lnTo>
                    <a:pt x="10078" y="134452"/>
                  </a:lnTo>
                  <a:cubicBezTo>
                    <a:pt x="10310" y="135551"/>
                    <a:pt x="10497" y="136694"/>
                    <a:pt x="10906" y="137716"/>
                  </a:cubicBezTo>
                  <a:cubicBezTo>
                    <a:pt x="11098" y="138240"/>
                    <a:pt x="11245" y="138797"/>
                    <a:pt x="11480" y="139302"/>
                  </a:cubicBezTo>
                  <a:lnTo>
                    <a:pt x="12224" y="140813"/>
                  </a:lnTo>
                  <a:lnTo>
                    <a:pt x="12224" y="140813"/>
                  </a:lnTo>
                  <a:lnTo>
                    <a:pt x="8105" y="143556"/>
                  </a:lnTo>
                  <a:cubicBezTo>
                    <a:pt x="9605" y="146553"/>
                    <a:pt x="11822" y="149216"/>
                    <a:pt x="14757" y="151484"/>
                  </a:cubicBezTo>
                  <a:lnTo>
                    <a:pt x="21915" y="145927"/>
                  </a:lnTo>
                  <a:lnTo>
                    <a:pt x="23950" y="147265"/>
                  </a:lnTo>
                  <a:lnTo>
                    <a:pt x="26259" y="148447"/>
                  </a:lnTo>
                  <a:lnTo>
                    <a:pt x="23254" y="150956"/>
                  </a:lnTo>
                  <a:cubicBezTo>
                    <a:pt x="23867" y="151315"/>
                    <a:pt x="24583" y="151589"/>
                    <a:pt x="25290" y="151877"/>
                  </a:cubicBezTo>
                  <a:lnTo>
                    <a:pt x="27437" y="152749"/>
                  </a:lnTo>
                  <a:cubicBezTo>
                    <a:pt x="29026" y="153215"/>
                    <a:pt x="30543" y="153773"/>
                    <a:pt x="32268" y="154157"/>
                  </a:cubicBezTo>
                  <a:lnTo>
                    <a:pt x="28465" y="157761"/>
                  </a:lnTo>
                  <a:cubicBezTo>
                    <a:pt x="33410" y="159099"/>
                    <a:pt x="39225" y="159779"/>
                    <a:pt x="45660" y="159968"/>
                  </a:cubicBezTo>
                  <a:lnTo>
                    <a:pt x="51398" y="153244"/>
                  </a:lnTo>
                  <a:cubicBezTo>
                    <a:pt x="51930" y="153263"/>
                    <a:pt x="52472" y="153272"/>
                    <a:pt x="53022" y="153272"/>
                  </a:cubicBezTo>
                  <a:cubicBezTo>
                    <a:pt x="55267" y="153272"/>
                    <a:pt x="57649" y="153132"/>
                    <a:pt x="60007" y="153044"/>
                  </a:cubicBezTo>
                  <a:lnTo>
                    <a:pt x="60007" y="153044"/>
                  </a:lnTo>
                  <a:lnTo>
                    <a:pt x="57797" y="155957"/>
                  </a:lnTo>
                  <a:cubicBezTo>
                    <a:pt x="62872" y="155593"/>
                    <a:pt x="68140" y="155099"/>
                    <a:pt x="73792" y="154127"/>
                  </a:cubicBezTo>
                  <a:lnTo>
                    <a:pt x="73792" y="154127"/>
                  </a:lnTo>
                  <a:lnTo>
                    <a:pt x="71441" y="158072"/>
                  </a:lnTo>
                  <a:cubicBezTo>
                    <a:pt x="79790" y="156757"/>
                    <a:pt x="88678" y="154785"/>
                    <a:pt x="97946" y="152175"/>
                  </a:cubicBezTo>
                  <a:lnTo>
                    <a:pt x="100153" y="145562"/>
                  </a:lnTo>
                  <a:cubicBezTo>
                    <a:pt x="103947" y="144405"/>
                    <a:pt x="107753" y="143285"/>
                    <a:pt x="111634" y="141940"/>
                  </a:cubicBezTo>
                  <a:lnTo>
                    <a:pt x="111634" y="141940"/>
                  </a:lnTo>
                  <a:lnTo>
                    <a:pt x="105007" y="176448"/>
                  </a:lnTo>
                  <a:lnTo>
                    <a:pt x="107297" y="176448"/>
                  </a:lnTo>
                  <a:lnTo>
                    <a:pt x="113312" y="143909"/>
                  </a:lnTo>
                  <a:cubicBezTo>
                    <a:pt x="115973" y="143001"/>
                    <a:pt x="118658" y="141991"/>
                    <a:pt x="121344" y="141017"/>
                  </a:cubicBezTo>
                  <a:cubicBezTo>
                    <a:pt x="123019" y="140428"/>
                    <a:pt x="124705" y="139711"/>
                    <a:pt x="126389" y="139061"/>
                  </a:cubicBezTo>
                  <a:cubicBezTo>
                    <a:pt x="128075" y="138383"/>
                    <a:pt x="129766" y="137751"/>
                    <a:pt x="131456" y="137030"/>
                  </a:cubicBezTo>
                  <a:lnTo>
                    <a:pt x="131646" y="140385"/>
                  </a:lnTo>
                  <a:cubicBezTo>
                    <a:pt x="141612" y="136302"/>
                    <a:pt x="151561" y="131605"/>
                    <a:pt x="161307" y="126511"/>
                  </a:cubicBezTo>
                  <a:lnTo>
                    <a:pt x="158708" y="121715"/>
                  </a:lnTo>
                  <a:cubicBezTo>
                    <a:pt x="160723" y="120698"/>
                    <a:pt x="162695" y="119609"/>
                    <a:pt x="164666" y="118523"/>
                  </a:cubicBezTo>
                  <a:cubicBezTo>
                    <a:pt x="166634" y="117436"/>
                    <a:pt x="168623" y="116378"/>
                    <a:pt x="170542" y="115234"/>
                  </a:cubicBezTo>
                  <a:lnTo>
                    <a:pt x="172061" y="117040"/>
                  </a:lnTo>
                  <a:lnTo>
                    <a:pt x="176868" y="114242"/>
                  </a:lnTo>
                  <a:cubicBezTo>
                    <a:pt x="178463" y="113307"/>
                    <a:pt x="180006" y="112323"/>
                    <a:pt x="181574" y="111366"/>
                  </a:cubicBezTo>
                  <a:cubicBezTo>
                    <a:pt x="184722" y="109471"/>
                    <a:pt x="187725" y="107472"/>
                    <a:pt x="190744" y="105503"/>
                  </a:cubicBezTo>
                  <a:lnTo>
                    <a:pt x="193633" y="107401"/>
                  </a:lnTo>
                  <a:cubicBezTo>
                    <a:pt x="194516" y="106810"/>
                    <a:pt x="195393" y="106217"/>
                    <a:pt x="196264" y="105622"/>
                  </a:cubicBezTo>
                  <a:lnTo>
                    <a:pt x="196264" y="104549"/>
                  </a:lnTo>
                  <a:cubicBezTo>
                    <a:pt x="195606" y="105003"/>
                    <a:pt x="194944" y="105456"/>
                    <a:pt x="194279" y="105907"/>
                  </a:cubicBezTo>
                  <a:lnTo>
                    <a:pt x="182554" y="98544"/>
                  </a:lnTo>
                  <a:cubicBezTo>
                    <a:pt x="185518" y="96561"/>
                    <a:pt x="188402" y="94555"/>
                    <a:pt x="191208" y="92526"/>
                  </a:cubicBezTo>
                  <a:cubicBezTo>
                    <a:pt x="192860" y="92405"/>
                    <a:pt x="194545" y="92265"/>
                    <a:pt x="196264" y="92108"/>
                  </a:cubicBezTo>
                  <a:lnTo>
                    <a:pt x="196264" y="90701"/>
                  </a:lnTo>
                  <a:cubicBezTo>
                    <a:pt x="195281" y="90800"/>
                    <a:pt x="194302" y="90893"/>
                    <a:pt x="193329" y="90977"/>
                  </a:cubicBezTo>
                  <a:cubicBezTo>
                    <a:pt x="194319" y="90248"/>
                    <a:pt x="195297" y="89516"/>
                    <a:pt x="196264" y="88782"/>
                  </a:cubicBezTo>
                  <a:lnTo>
                    <a:pt x="196264" y="87756"/>
                  </a:lnTo>
                  <a:cubicBezTo>
                    <a:pt x="194795" y="88877"/>
                    <a:pt x="193302" y="89993"/>
                    <a:pt x="191784" y="91105"/>
                  </a:cubicBezTo>
                  <a:cubicBezTo>
                    <a:pt x="189775" y="91263"/>
                    <a:pt x="187805" y="91393"/>
                    <a:pt x="185902" y="91501"/>
                  </a:cubicBezTo>
                  <a:cubicBezTo>
                    <a:pt x="184451" y="92569"/>
                    <a:pt x="182898" y="93591"/>
                    <a:pt x="181376" y="94631"/>
                  </a:cubicBezTo>
                  <a:cubicBezTo>
                    <a:pt x="179362" y="96028"/>
                    <a:pt x="177255" y="97375"/>
                    <a:pt x="175146" y="98726"/>
                  </a:cubicBezTo>
                  <a:cubicBezTo>
                    <a:pt x="175119" y="99964"/>
                    <a:pt x="175030" y="101224"/>
                    <a:pt x="174894" y="102513"/>
                  </a:cubicBezTo>
                  <a:cubicBezTo>
                    <a:pt x="174432" y="102800"/>
                    <a:pt x="173967" y="103085"/>
                    <a:pt x="173495" y="103365"/>
                  </a:cubicBezTo>
                  <a:lnTo>
                    <a:pt x="169859" y="105589"/>
                  </a:lnTo>
                  <a:cubicBezTo>
                    <a:pt x="168631" y="106320"/>
                    <a:pt x="167379" y="107027"/>
                    <a:pt x="166139" y="107748"/>
                  </a:cubicBezTo>
                  <a:lnTo>
                    <a:pt x="164869" y="108483"/>
                  </a:lnTo>
                  <a:cubicBezTo>
                    <a:pt x="163201" y="109474"/>
                    <a:pt x="161470" y="110389"/>
                    <a:pt x="159759" y="111331"/>
                  </a:cubicBezTo>
                  <a:lnTo>
                    <a:pt x="159593" y="111422"/>
                  </a:lnTo>
                  <a:cubicBezTo>
                    <a:pt x="157991" y="111138"/>
                    <a:pt x="156442" y="110834"/>
                    <a:pt x="154945" y="110507"/>
                  </a:cubicBezTo>
                  <a:cubicBezTo>
                    <a:pt x="152637" y="111688"/>
                    <a:pt x="150345" y="112907"/>
                    <a:pt x="148022" y="114056"/>
                  </a:cubicBezTo>
                  <a:cubicBezTo>
                    <a:pt x="145689" y="115173"/>
                    <a:pt x="143378" y="116364"/>
                    <a:pt x="141029" y="117419"/>
                  </a:cubicBezTo>
                  <a:cubicBezTo>
                    <a:pt x="140263" y="118872"/>
                    <a:pt x="139449" y="120370"/>
                    <a:pt x="138586" y="121893"/>
                  </a:cubicBezTo>
                  <a:cubicBezTo>
                    <a:pt x="135993" y="123067"/>
                    <a:pt x="133396" y="124195"/>
                    <a:pt x="130795" y="125278"/>
                  </a:cubicBezTo>
                  <a:cubicBezTo>
                    <a:pt x="128181" y="126363"/>
                    <a:pt x="125570" y="127391"/>
                    <a:pt x="122968" y="128423"/>
                  </a:cubicBezTo>
                  <a:cubicBezTo>
                    <a:pt x="122790" y="128487"/>
                    <a:pt x="122612" y="128554"/>
                    <a:pt x="122434" y="128619"/>
                  </a:cubicBezTo>
                  <a:cubicBezTo>
                    <a:pt x="121468" y="127869"/>
                    <a:pt x="120553" y="127097"/>
                    <a:pt x="119690" y="126333"/>
                  </a:cubicBezTo>
                  <a:lnTo>
                    <a:pt x="117085" y="127299"/>
                  </a:lnTo>
                  <a:lnTo>
                    <a:pt x="116337" y="127556"/>
                  </a:lnTo>
                  <a:lnTo>
                    <a:pt x="116602" y="126119"/>
                  </a:lnTo>
                  <a:cubicBezTo>
                    <a:pt x="127121" y="122413"/>
                    <a:pt x="137855" y="117747"/>
                    <a:pt x="148400" y="112511"/>
                  </a:cubicBezTo>
                  <a:cubicBezTo>
                    <a:pt x="159513" y="106876"/>
                    <a:pt x="170315" y="100656"/>
                    <a:pt x="180167" y="93943"/>
                  </a:cubicBezTo>
                  <a:lnTo>
                    <a:pt x="179056" y="93312"/>
                  </a:lnTo>
                  <a:cubicBezTo>
                    <a:pt x="169406" y="99876"/>
                    <a:pt x="158830" y="105962"/>
                    <a:pt x="147953" y="111478"/>
                  </a:cubicBezTo>
                  <a:cubicBezTo>
                    <a:pt x="137637" y="116600"/>
                    <a:pt x="127137" y="121169"/>
                    <a:pt x="116845" y="124804"/>
                  </a:cubicBezTo>
                  <a:lnTo>
                    <a:pt x="117018" y="123868"/>
                  </a:lnTo>
                  <a:cubicBezTo>
                    <a:pt x="127147" y="120285"/>
                    <a:pt x="137482" y="115784"/>
                    <a:pt x="147636" y="110744"/>
                  </a:cubicBezTo>
                  <a:cubicBezTo>
                    <a:pt x="158344" y="105313"/>
                    <a:pt x="168760" y="99323"/>
                    <a:pt x="178265" y="92863"/>
                  </a:cubicBezTo>
                  <a:lnTo>
                    <a:pt x="176490" y="91852"/>
                  </a:lnTo>
                  <a:cubicBezTo>
                    <a:pt x="167309" y="98079"/>
                    <a:pt x="157253" y="103853"/>
                    <a:pt x="146922" y="109094"/>
                  </a:cubicBezTo>
                  <a:cubicBezTo>
                    <a:pt x="137135" y="113952"/>
                    <a:pt x="127173" y="118299"/>
                    <a:pt x="117406" y="121765"/>
                  </a:cubicBezTo>
                  <a:lnTo>
                    <a:pt x="117442" y="121572"/>
                  </a:lnTo>
                  <a:lnTo>
                    <a:pt x="117464" y="121452"/>
                  </a:lnTo>
                  <a:cubicBezTo>
                    <a:pt x="130640" y="116728"/>
                    <a:pt x="144142" y="110631"/>
                    <a:pt x="156991" y="103473"/>
                  </a:cubicBezTo>
                  <a:cubicBezTo>
                    <a:pt x="170330" y="96063"/>
                    <a:pt x="182673" y="87764"/>
                    <a:pt x="193127" y="79199"/>
                  </a:cubicBezTo>
                  <a:cubicBezTo>
                    <a:pt x="194196" y="78320"/>
                    <a:pt x="195242" y="77441"/>
                    <a:pt x="196264" y="76560"/>
                  </a:cubicBezTo>
                  <a:lnTo>
                    <a:pt x="196264" y="76129"/>
                  </a:lnTo>
                  <a:cubicBezTo>
                    <a:pt x="195115" y="77122"/>
                    <a:pt x="193937" y="78115"/>
                    <a:pt x="192729" y="79108"/>
                  </a:cubicBezTo>
                  <a:cubicBezTo>
                    <a:pt x="182334" y="87618"/>
                    <a:pt x="170065" y="95864"/>
                    <a:pt x="156808" y="103227"/>
                  </a:cubicBezTo>
                  <a:cubicBezTo>
                    <a:pt x="144040" y="110342"/>
                    <a:pt x="130624" y="116399"/>
                    <a:pt x="117530" y="121097"/>
                  </a:cubicBezTo>
                  <a:lnTo>
                    <a:pt x="117660" y="120391"/>
                  </a:lnTo>
                  <a:cubicBezTo>
                    <a:pt x="130590" y="115746"/>
                    <a:pt x="143838" y="109763"/>
                    <a:pt x="156448" y="102740"/>
                  </a:cubicBezTo>
                  <a:cubicBezTo>
                    <a:pt x="169541" y="95469"/>
                    <a:pt x="181663" y="87328"/>
                    <a:pt x="191939" y="78926"/>
                  </a:cubicBezTo>
                  <a:lnTo>
                    <a:pt x="188530" y="78139"/>
                  </a:lnTo>
                  <a:cubicBezTo>
                    <a:pt x="188375" y="78273"/>
                    <a:pt x="188205" y="78401"/>
                    <a:pt x="188041" y="78533"/>
                  </a:cubicBezTo>
                  <a:cubicBezTo>
                    <a:pt x="188311" y="79152"/>
                    <a:pt x="188564" y="79789"/>
                    <a:pt x="188802" y="80444"/>
                  </a:cubicBezTo>
                  <a:cubicBezTo>
                    <a:pt x="187544" y="81446"/>
                    <a:pt x="186285" y="82451"/>
                    <a:pt x="184945" y="83435"/>
                  </a:cubicBezTo>
                  <a:cubicBezTo>
                    <a:pt x="183613" y="83619"/>
                    <a:pt x="182305" y="83788"/>
                    <a:pt x="181020" y="83943"/>
                  </a:cubicBezTo>
                  <a:cubicBezTo>
                    <a:pt x="179152" y="85352"/>
                    <a:pt x="177148" y="86716"/>
                    <a:pt x="175196" y="88106"/>
                  </a:cubicBezTo>
                  <a:cubicBezTo>
                    <a:pt x="175229" y="88842"/>
                    <a:pt x="175244" y="89596"/>
                    <a:pt x="175239" y="90368"/>
                  </a:cubicBezTo>
                  <a:cubicBezTo>
                    <a:pt x="173793" y="91338"/>
                    <a:pt x="172363" y="92322"/>
                    <a:pt x="170859" y="93262"/>
                  </a:cubicBezTo>
                  <a:cubicBezTo>
                    <a:pt x="169633" y="93294"/>
                    <a:pt x="168434" y="93313"/>
                    <a:pt x="167261" y="93318"/>
                  </a:cubicBezTo>
                  <a:cubicBezTo>
                    <a:pt x="165175" y="94671"/>
                    <a:pt x="162974" y="95940"/>
                    <a:pt x="160827" y="97256"/>
                  </a:cubicBezTo>
                  <a:cubicBezTo>
                    <a:pt x="160616" y="98090"/>
                    <a:pt x="160382" y="98943"/>
                    <a:pt x="160125" y="99813"/>
                  </a:cubicBezTo>
                  <a:cubicBezTo>
                    <a:pt x="158557" y="100709"/>
                    <a:pt x="157005" y="101628"/>
                    <a:pt x="155400" y="102482"/>
                  </a:cubicBezTo>
                  <a:cubicBezTo>
                    <a:pt x="154328" y="102354"/>
                    <a:pt x="153284" y="102216"/>
                    <a:pt x="152267" y="102066"/>
                  </a:cubicBezTo>
                  <a:cubicBezTo>
                    <a:pt x="150029" y="103313"/>
                    <a:pt x="147720" y="104438"/>
                    <a:pt x="145448" y="105630"/>
                  </a:cubicBezTo>
                  <a:cubicBezTo>
                    <a:pt x="145000" y="106538"/>
                    <a:pt x="144526" y="107462"/>
                    <a:pt x="144026" y="108401"/>
                  </a:cubicBezTo>
                  <a:cubicBezTo>
                    <a:pt x="142386" y="109194"/>
                    <a:pt x="140756" y="110017"/>
                    <a:pt x="139102" y="110759"/>
                  </a:cubicBezTo>
                  <a:cubicBezTo>
                    <a:pt x="138224" y="110472"/>
                    <a:pt x="137373" y="110177"/>
                    <a:pt x="136548" y="109874"/>
                  </a:cubicBezTo>
                  <a:cubicBezTo>
                    <a:pt x="134239" y="110967"/>
                    <a:pt x="131908" y="111910"/>
                    <a:pt x="129593" y="112932"/>
                  </a:cubicBezTo>
                  <a:cubicBezTo>
                    <a:pt x="128925" y="113885"/>
                    <a:pt x="128230" y="114846"/>
                    <a:pt x="127509" y="115823"/>
                  </a:cubicBezTo>
                  <a:cubicBezTo>
                    <a:pt x="125868" y="116479"/>
                    <a:pt x="124228" y="117176"/>
                    <a:pt x="122596" y="117771"/>
                  </a:cubicBezTo>
                  <a:cubicBezTo>
                    <a:pt x="121941" y="117334"/>
                    <a:pt x="121312" y="116892"/>
                    <a:pt x="120709" y="116443"/>
                  </a:cubicBezTo>
                  <a:cubicBezTo>
                    <a:pt x="119876" y="116768"/>
                    <a:pt x="119046" y="117071"/>
                    <a:pt x="118218" y="117366"/>
                  </a:cubicBezTo>
                  <a:lnTo>
                    <a:pt x="118324" y="116796"/>
                  </a:lnTo>
                  <a:lnTo>
                    <a:pt x="118997" y="116560"/>
                  </a:lnTo>
                  <a:lnTo>
                    <a:pt x="121323" y="115680"/>
                  </a:lnTo>
                  <a:cubicBezTo>
                    <a:pt x="121927" y="116125"/>
                    <a:pt x="122557" y="116564"/>
                    <a:pt x="123213" y="116997"/>
                  </a:cubicBezTo>
                  <a:cubicBezTo>
                    <a:pt x="124450" y="116544"/>
                    <a:pt x="125694" y="116006"/>
                    <a:pt x="126937" y="115513"/>
                  </a:cubicBezTo>
                  <a:cubicBezTo>
                    <a:pt x="127658" y="114539"/>
                    <a:pt x="128352" y="113580"/>
                    <a:pt x="129021" y="112634"/>
                  </a:cubicBezTo>
                  <a:cubicBezTo>
                    <a:pt x="131678" y="111492"/>
                    <a:pt x="134348" y="110380"/>
                    <a:pt x="136998" y="109131"/>
                  </a:cubicBezTo>
                  <a:cubicBezTo>
                    <a:pt x="137825" y="109429"/>
                    <a:pt x="138682" y="109718"/>
                    <a:pt x="139564" y="109999"/>
                  </a:cubicBezTo>
                  <a:cubicBezTo>
                    <a:pt x="140815" y="109440"/>
                    <a:pt x="142044" y="108806"/>
                    <a:pt x="143285" y="108211"/>
                  </a:cubicBezTo>
                  <a:cubicBezTo>
                    <a:pt x="143785" y="107275"/>
                    <a:pt x="144260" y="106355"/>
                    <a:pt x="144709" y="105450"/>
                  </a:cubicBezTo>
                  <a:cubicBezTo>
                    <a:pt x="146028" y="104799"/>
                    <a:pt x="147329" y="104108"/>
                    <a:pt x="148638" y="103438"/>
                  </a:cubicBezTo>
                  <a:cubicBezTo>
                    <a:pt x="149953" y="102773"/>
                    <a:pt x="151246" y="102076"/>
                    <a:pt x="152533" y="101367"/>
                  </a:cubicBezTo>
                  <a:cubicBezTo>
                    <a:pt x="153548" y="101515"/>
                    <a:pt x="154591" y="101652"/>
                    <a:pt x="155661" y="101776"/>
                  </a:cubicBezTo>
                  <a:cubicBezTo>
                    <a:pt x="156878" y="101130"/>
                    <a:pt x="158049" y="100426"/>
                    <a:pt x="159241" y="99749"/>
                  </a:cubicBezTo>
                  <a:cubicBezTo>
                    <a:pt x="159499" y="98881"/>
                    <a:pt x="159735" y="98031"/>
                    <a:pt x="159948" y="97198"/>
                  </a:cubicBezTo>
                  <a:cubicBezTo>
                    <a:pt x="161212" y="96469"/>
                    <a:pt x="162437" y="95703"/>
                    <a:pt x="163680" y="94959"/>
                  </a:cubicBezTo>
                  <a:cubicBezTo>
                    <a:pt x="164928" y="94217"/>
                    <a:pt x="166146" y="93455"/>
                    <a:pt x="167346" y="92680"/>
                  </a:cubicBezTo>
                  <a:cubicBezTo>
                    <a:pt x="168516" y="92672"/>
                    <a:pt x="169713" y="92652"/>
                    <a:pt x="170936" y="92619"/>
                  </a:cubicBezTo>
                  <a:cubicBezTo>
                    <a:pt x="172073" y="91909"/>
                    <a:pt x="173146" y="91160"/>
                    <a:pt x="174244" y="90429"/>
                  </a:cubicBezTo>
                  <a:cubicBezTo>
                    <a:pt x="174252" y="89658"/>
                    <a:pt x="174241" y="88905"/>
                    <a:pt x="174210" y="88170"/>
                  </a:cubicBezTo>
                  <a:cubicBezTo>
                    <a:pt x="175375" y="87393"/>
                    <a:pt x="176471" y="86583"/>
                    <a:pt x="177602" y="85795"/>
                  </a:cubicBezTo>
                  <a:lnTo>
                    <a:pt x="179280" y="84607"/>
                  </a:lnTo>
                  <a:lnTo>
                    <a:pt x="180898" y="83400"/>
                  </a:lnTo>
                  <a:cubicBezTo>
                    <a:pt x="182180" y="83244"/>
                    <a:pt x="183484" y="83075"/>
                    <a:pt x="184812" y="82890"/>
                  </a:cubicBezTo>
                  <a:cubicBezTo>
                    <a:pt x="185828" y="82145"/>
                    <a:pt x="186776" y="81380"/>
                    <a:pt x="187735" y="80622"/>
                  </a:cubicBezTo>
                  <a:cubicBezTo>
                    <a:pt x="187498" y="79970"/>
                    <a:pt x="187244" y="79335"/>
                    <a:pt x="186975" y="78719"/>
                  </a:cubicBezTo>
                  <a:cubicBezTo>
                    <a:pt x="187280" y="78476"/>
                    <a:pt x="187596" y="78236"/>
                    <a:pt x="187889" y="77990"/>
                  </a:cubicBezTo>
                  <a:lnTo>
                    <a:pt x="186957" y="77776"/>
                  </a:lnTo>
                  <a:cubicBezTo>
                    <a:pt x="177425" y="85502"/>
                    <a:pt x="166228" y="92986"/>
                    <a:pt x="154156" y="99678"/>
                  </a:cubicBezTo>
                  <a:cubicBezTo>
                    <a:pt x="142558" y="106131"/>
                    <a:pt x="130374" y="111643"/>
                    <a:pt x="118481" y="115950"/>
                  </a:cubicBezTo>
                  <a:lnTo>
                    <a:pt x="119049" y="112870"/>
                  </a:lnTo>
                  <a:lnTo>
                    <a:pt x="119847" y="108558"/>
                  </a:lnTo>
                  <a:lnTo>
                    <a:pt x="121646" y="107894"/>
                  </a:lnTo>
                  <a:lnTo>
                    <a:pt x="122240" y="103356"/>
                  </a:lnTo>
                  <a:cubicBezTo>
                    <a:pt x="123290" y="102961"/>
                    <a:pt x="124340" y="102554"/>
                    <a:pt x="125392" y="102136"/>
                  </a:cubicBezTo>
                  <a:lnTo>
                    <a:pt x="125392" y="102136"/>
                  </a:lnTo>
                  <a:lnTo>
                    <a:pt x="125082" y="108042"/>
                  </a:lnTo>
                  <a:cubicBezTo>
                    <a:pt x="135358" y="103948"/>
                    <a:pt x="145643" y="98901"/>
                    <a:pt x="155387" y="93258"/>
                  </a:cubicBezTo>
                  <a:cubicBezTo>
                    <a:pt x="160274" y="90474"/>
                    <a:pt x="164879" y="87466"/>
                    <a:pt x="169379" y="84451"/>
                  </a:cubicBezTo>
                  <a:cubicBezTo>
                    <a:pt x="171546" y="82912"/>
                    <a:pt x="173687" y="81373"/>
                    <a:pt x="175801" y="79830"/>
                  </a:cubicBezTo>
                  <a:cubicBezTo>
                    <a:pt x="177882" y="78291"/>
                    <a:pt x="179790" y="76701"/>
                    <a:pt x="181746" y="75143"/>
                  </a:cubicBezTo>
                  <a:lnTo>
                    <a:pt x="174480" y="73659"/>
                  </a:lnTo>
                  <a:cubicBezTo>
                    <a:pt x="177248" y="71388"/>
                    <a:pt x="179863" y="69069"/>
                    <a:pt x="182292" y="66716"/>
                  </a:cubicBezTo>
                  <a:lnTo>
                    <a:pt x="190765" y="67124"/>
                  </a:lnTo>
                  <a:cubicBezTo>
                    <a:pt x="192246" y="65625"/>
                    <a:pt x="193692" y="64136"/>
                    <a:pt x="195105" y="62658"/>
                  </a:cubicBezTo>
                  <a:cubicBezTo>
                    <a:pt x="195511" y="62227"/>
                    <a:pt x="195894" y="61798"/>
                    <a:pt x="196263" y="61372"/>
                  </a:cubicBezTo>
                  <a:lnTo>
                    <a:pt x="196263" y="58833"/>
                  </a:lnTo>
                  <a:lnTo>
                    <a:pt x="193844" y="61703"/>
                  </a:lnTo>
                  <a:cubicBezTo>
                    <a:pt x="192884" y="62784"/>
                    <a:pt x="191773" y="63881"/>
                    <a:pt x="190715" y="64980"/>
                  </a:cubicBezTo>
                  <a:lnTo>
                    <a:pt x="184138" y="64887"/>
                  </a:lnTo>
                  <a:cubicBezTo>
                    <a:pt x="186284" y="62707"/>
                    <a:pt x="188267" y="60503"/>
                    <a:pt x="190062" y="58288"/>
                  </a:cubicBezTo>
                  <a:lnTo>
                    <a:pt x="196264" y="57673"/>
                  </a:lnTo>
                  <a:lnTo>
                    <a:pt x="196264" y="55929"/>
                  </a:lnTo>
                  <a:lnTo>
                    <a:pt x="191496" y="56460"/>
                  </a:lnTo>
                  <a:cubicBezTo>
                    <a:pt x="192255" y="55460"/>
                    <a:pt x="192957" y="54480"/>
                    <a:pt x="193599" y="53521"/>
                  </a:cubicBezTo>
                  <a:lnTo>
                    <a:pt x="196264" y="53099"/>
                  </a:lnTo>
                  <a:lnTo>
                    <a:pt x="196264" y="51588"/>
                  </a:lnTo>
                  <a:lnTo>
                    <a:pt x="194655" y="51879"/>
                  </a:lnTo>
                  <a:cubicBezTo>
                    <a:pt x="195254" y="50907"/>
                    <a:pt x="195790" y="49959"/>
                    <a:pt x="196264" y="49035"/>
                  </a:cubicBezTo>
                  <a:lnTo>
                    <a:pt x="196264" y="46765"/>
                  </a:lnTo>
                  <a:cubicBezTo>
                    <a:pt x="195562" y="48451"/>
                    <a:pt x="194642" y="50226"/>
                    <a:pt x="193488" y="52089"/>
                  </a:cubicBezTo>
                  <a:lnTo>
                    <a:pt x="181779" y="54203"/>
                  </a:lnTo>
                  <a:cubicBezTo>
                    <a:pt x="181634" y="54436"/>
                    <a:pt x="181507" y="54667"/>
                    <a:pt x="181345" y="54904"/>
                  </a:cubicBezTo>
                  <a:lnTo>
                    <a:pt x="180807" y="55626"/>
                  </a:lnTo>
                  <a:lnTo>
                    <a:pt x="179722" y="57080"/>
                  </a:lnTo>
                  <a:lnTo>
                    <a:pt x="179155" y="57835"/>
                  </a:lnTo>
                  <a:lnTo>
                    <a:pt x="175827" y="58205"/>
                  </a:lnTo>
                  <a:cubicBezTo>
                    <a:pt x="177909" y="55492"/>
                    <a:pt x="179749" y="52838"/>
                    <a:pt x="180738" y="50418"/>
                  </a:cubicBezTo>
                  <a:cubicBezTo>
                    <a:pt x="181238" y="49469"/>
                    <a:pt x="181516" y="48587"/>
                    <a:pt x="181765" y="47719"/>
                  </a:cubicBezTo>
                  <a:lnTo>
                    <a:pt x="185399" y="46601"/>
                  </a:lnTo>
                  <a:lnTo>
                    <a:pt x="185399" y="46601"/>
                  </a:lnTo>
                  <a:cubicBezTo>
                    <a:pt x="185217" y="47259"/>
                    <a:pt x="184993" y="47933"/>
                    <a:pt x="184728" y="48622"/>
                  </a:cubicBezTo>
                  <a:lnTo>
                    <a:pt x="196264" y="45519"/>
                  </a:lnTo>
                  <a:lnTo>
                    <a:pt x="196264" y="44253"/>
                  </a:lnTo>
                  <a:lnTo>
                    <a:pt x="187493" y="46774"/>
                  </a:lnTo>
                  <a:lnTo>
                    <a:pt x="187729" y="45885"/>
                  </a:lnTo>
                  <a:lnTo>
                    <a:pt x="196264" y="43259"/>
                  </a:lnTo>
                  <a:lnTo>
                    <a:pt x="196264" y="42456"/>
                  </a:lnTo>
                  <a:lnTo>
                    <a:pt x="187959" y="45017"/>
                  </a:lnTo>
                  <a:lnTo>
                    <a:pt x="188094" y="44509"/>
                  </a:lnTo>
                  <a:cubicBezTo>
                    <a:pt x="188256" y="43775"/>
                    <a:pt x="188232" y="43107"/>
                    <a:pt x="188301" y="42413"/>
                  </a:cubicBezTo>
                  <a:lnTo>
                    <a:pt x="188363" y="41393"/>
                  </a:lnTo>
                  <a:lnTo>
                    <a:pt x="188222" y="40461"/>
                  </a:lnTo>
                  <a:cubicBezTo>
                    <a:pt x="188100" y="39856"/>
                    <a:pt x="188084" y="39211"/>
                    <a:pt x="187863" y="38657"/>
                  </a:cubicBezTo>
                  <a:cubicBezTo>
                    <a:pt x="187195" y="36563"/>
                    <a:pt x="185756" y="34870"/>
                    <a:pt x="183839" y="33497"/>
                  </a:cubicBezTo>
                  <a:lnTo>
                    <a:pt x="192055" y="28998"/>
                  </a:lnTo>
                  <a:cubicBezTo>
                    <a:pt x="193855" y="30080"/>
                    <a:pt x="195267" y="31409"/>
                    <a:pt x="196264" y="32969"/>
                  </a:cubicBezTo>
                  <a:lnTo>
                    <a:pt x="196264" y="31026"/>
                  </a:lnTo>
                  <a:cubicBezTo>
                    <a:pt x="195383" y="30054"/>
                    <a:pt x="194315" y="29193"/>
                    <a:pt x="193060" y="28447"/>
                  </a:cubicBezTo>
                  <a:lnTo>
                    <a:pt x="196264" y="26691"/>
                  </a:lnTo>
                  <a:lnTo>
                    <a:pt x="196264" y="24875"/>
                  </a:lnTo>
                  <a:lnTo>
                    <a:pt x="191463" y="27605"/>
                  </a:lnTo>
                  <a:cubicBezTo>
                    <a:pt x="190597" y="27201"/>
                    <a:pt x="189664" y="26842"/>
                    <a:pt x="188664" y="26528"/>
                  </a:cubicBezTo>
                  <a:lnTo>
                    <a:pt x="194621" y="22880"/>
                  </a:lnTo>
                  <a:lnTo>
                    <a:pt x="193192" y="22497"/>
                  </a:lnTo>
                  <a:cubicBezTo>
                    <a:pt x="192699" y="22383"/>
                    <a:pt x="192274" y="22228"/>
                    <a:pt x="191718" y="22158"/>
                  </a:cubicBezTo>
                  <a:lnTo>
                    <a:pt x="186056" y="25846"/>
                  </a:lnTo>
                  <a:cubicBezTo>
                    <a:pt x="185573" y="25742"/>
                    <a:pt x="185078" y="25648"/>
                    <a:pt x="184570" y="25561"/>
                  </a:cubicBezTo>
                  <a:lnTo>
                    <a:pt x="191690" y="20769"/>
                  </a:lnTo>
                  <a:cubicBezTo>
                    <a:pt x="189227" y="20416"/>
                    <a:pt x="186556" y="20230"/>
                    <a:pt x="183693" y="20230"/>
                  </a:cubicBezTo>
                  <a:cubicBezTo>
                    <a:pt x="180938" y="20230"/>
                    <a:pt x="178006" y="20403"/>
                    <a:pt x="174914" y="20767"/>
                  </a:cubicBezTo>
                  <a:cubicBezTo>
                    <a:pt x="168820" y="21470"/>
                    <a:pt x="162307" y="22703"/>
                    <a:pt x="155385" y="24579"/>
                  </a:cubicBezTo>
                  <a:lnTo>
                    <a:pt x="152515" y="28626"/>
                  </a:lnTo>
                  <a:cubicBezTo>
                    <a:pt x="149895" y="29330"/>
                    <a:pt x="147238" y="30125"/>
                    <a:pt x="144543" y="31012"/>
                  </a:cubicBezTo>
                  <a:lnTo>
                    <a:pt x="146490" y="27255"/>
                  </a:lnTo>
                  <a:lnTo>
                    <a:pt x="146490" y="27255"/>
                  </a:lnTo>
                  <a:cubicBezTo>
                    <a:pt x="142452" y="28562"/>
                    <a:pt x="138334" y="30072"/>
                    <a:pt x="134214" y="31731"/>
                  </a:cubicBezTo>
                  <a:lnTo>
                    <a:pt x="134351" y="30984"/>
                  </a:lnTo>
                  <a:lnTo>
                    <a:pt x="134419" y="30957"/>
                  </a:lnTo>
                  <a:lnTo>
                    <a:pt x="134752" y="29362"/>
                  </a:lnTo>
                  <a:lnTo>
                    <a:pt x="134752" y="29362"/>
                  </a:lnTo>
                  <a:lnTo>
                    <a:pt x="134641" y="29406"/>
                  </a:lnTo>
                  <a:lnTo>
                    <a:pt x="134641" y="29406"/>
                  </a:lnTo>
                  <a:lnTo>
                    <a:pt x="134703" y="29069"/>
                  </a:lnTo>
                  <a:cubicBezTo>
                    <a:pt x="142999" y="25720"/>
                    <a:pt x="151258" y="22921"/>
                    <a:pt x="159063" y="20864"/>
                  </a:cubicBezTo>
                  <a:lnTo>
                    <a:pt x="159405" y="20397"/>
                  </a:lnTo>
                  <a:lnTo>
                    <a:pt x="159405" y="20397"/>
                  </a:lnTo>
                  <a:cubicBezTo>
                    <a:pt x="158404" y="20667"/>
                    <a:pt x="157418" y="20920"/>
                    <a:pt x="156398" y="21225"/>
                  </a:cubicBezTo>
                  <a:cubicBezTo>
                    <a:pt x="156220" y="20960"/>
                    <a:pt x="156030" y="20702"/>
                    <a:pt x="155824" y="20449"/>
                  </a:cubicBezTo>
                  <a:lnTo>
                    <a:pt x="154640" y="20793"/>
                  </a:lnTo>
                  <a:lnTo>
                    <a:pt x="153441" y="21166"/>
                  </a:lnTo>
                  <a:cubicBezTo>
                    <a:pt x="152751" y="21686"/>
                    <a:pt x="152075" y="22204"/>
                    <a:pt x="151410" y="22718"/>
                  </a:cubicBezTo>
                  <a:cubicBezTo>
                    <a:pt x="150556" y="22975"/>
                    <a:pt x="149685" y="23267"/>
                    <a:pt x="148818" y="23552"/>
                  </a:cubicBezTo>
                  <a:cubicBezTo>
                    <a:pt x="147951" y="23842"/>
                    <a:pt x="147097" y="24107"/>
                    <a:pt x="146221" y="24421"/>
                  </a:cubicBezTo>
                  <a:cubicBezTo>
                    <a:pt x="145936" y="24221"/>
                    <a:pt x="145639" y="24027"/>
                    <a:pt x="145328" y="23839"/>
                  </a:cubicBezTo>
                  <a:cubicBezTo>
                    <a:pt x="144525" y="24119"/>
                    <a:pt x="143725" y="24396"/>
                    <a:pt x="142915" y="24700"/>
                  </a:cubicBezTo>
                  <a:cubicBezTo>
                    <a:pt x="142314" y="25214"/>
                    <a:pt x="141727" y="25724"/>
                    <a:pt x="141153" y="26229"/>
                  </a:cubicBezTo>
                  <a:cubicBezTo>
                    <a:pt x="140285" y="26543"/>
                    <a:pt x="139412" y="26875"/>
                    <a:pt x="138538" y="27217"/>
                  </a:cubicBezTo>
                  <a:cubicBezTo>
                    <a:pt x="137663" y="27559"/>
                    <a:pt x="136798" y="27878"/>
                    <a:pt x="135923" y="28236"/>
                  </a:cubicBezTo>
                  <a:cubicBezTo>
                    <a:pt x="135598" y="28117"/>
                    <a:pt x="135262" y="28004"/>
                    <a:pt x="134919" y="27896"/>
                  </a:cubicBezTo>
                  <a:lnTo>
                    <a:pt x="134988" y="27519"/>
                  </a:lnTo>
                  <a:lnTo>
                    <a:pt x="135174" y="27444"/>
                  </a:lnTo>
                  <a:cubicBezTo>
                    <a:pt x="135577" y="27568"/>
                    <a:pt x="135968" y="27699"/>
                    <a:pt x="136345" y="27836"/>
                  </a:cubicBezTo>
                  <a:cubicBezTo>
                    <a:pt x="137857" y="27253"/>
                    <a:pt x="139381" y="26647"/>
                    <a:pt x="140889" y="26094"/>
                  </a:cubicBezTo>
                  <a:cubicBezTo>
                    <a:pt x="141463" y="25590"/>
                    <a:pt x="142049" y="25080"/>
                    <a:pt x="142648" y="24567"/>
                  </a:cubicBezTo>
                  <a:cubicBezTo>
                    <a:pt x="143716" y="24167"/>
                    <a:pt x="144773" y="23797"/>
                    <a:pt x="145831" y="23430"/>
                  </a:cubicBezTo>
                  <a:cubicBezTo>
                    <a:pt x="146139" y="23617"/>
                    <a:pt x="146434" y="23812"/>
                    <a:pt x="146716" y="24011"/>
                  </a:cubicBezTo>
                  <a:cubicBezTo>
                    <a:pt x="148220" y="23508"/>
                    <a:pt x="149731" y="23002"/>
                    <a:pt x="151226" y="22532"/>
                  </a:cubicBezTo>
                  <a:cubicBezTo>
                    <a:pt x="151889" y="22019"/>
                    <a:pt x="152565" y="21502"/>
                    <a:pt x="153254" y="20983"/>
                  </a:cubicBezTo>
                  <a:lnTo>
                    <a:pt x="154829" y="20493"/>
                  </a:lnTo>
                  <a:lnTo>
                    <a:pt x="156388" y="20039"/>
                  </a:lnTo>
                  <a:cubicBezTo>
                    <a:pt x="156594" y="20291"/>
                    <a:pt x="156786" y="20549"/>
                    <a:pt x="156965" y="20811"/>
                  </a:cubicBezTo>
                  <a:cubicBezTo>
                    <a:pt x="157874" y="20539"/>
                    <a:pt x="158744" y="20325"/>
                    <a:pt x="159639" y="20080"/>
                  </a:cubicBezTo>
                  <a:lnTo>
                    <a:pt x="160815" y="18476"/>
                  </a:lnTo>
                  <a:lnTo>
                    <a:pt x="160820" y="18475"/>
                  </a:lnTo>
                  <a:lnTo>
                    <a:pt x="159644" y="20078"/>
                  </a:lnTo>
                  <a:lnTo>
                    <a:pt x="160056" y="19967"/>
                  </a:lnTo>
                  <a:cubicBezTo>
                    <a:pt x="160799" y="19448"/>
                    <a:pt x="161564" y="18914"/>
                    <a:pt x="162326" y="18399"/>
                  </a:cubicBezTo>
                  <a:lnTo>
                    <a:pt x="165395" y="17638"/>
                  </a:lnTo>
                  <a:cubicBezTo>
                    <a:pt x="165516" y="17933"/>
                    <a:pt x="165598" y="18261"/>
                    <a:pt x="165681" y="18580"/>
                  </a:cubicBezTo>
                  <a:lnTo>
                    <a:pt x="167847" y="18095"/>
                  </a:lnTo>
                  <a:cubicBezTo>
                    <a:pt x="168573" y="17933"/>
                    <a:pt x="169269" y="17807"/>
                    <a:pt x="169983" y="17660"/>
                  </a:cubicBezTo>
                  <a:cubicBezTo>
                    <a:pt x="170806" y="17144"/>
                    <a:pt x="171642" y="16626"/>
                    <a:pt x="172489" y="16106"/>
                  </a:cubicBezTo>
                  <a:cubicBezTo>
                    <a:pt x="173494" y="15906"/>
                    <a:pt x="174461" y="15750"/>
                    <a:pt x="175454" y="15570"/>
                  </a:cubicBezTo>
                  <a:lnTo>
                    <a:pt x="175454" y="15570"/>
                  </a:lnTo>
                  <a:cubicBezTo>
                    <a:pt x="175452" y="15935"/>
                    <a:pt x="175453" y="16289"/>
                    <a:pt x="175412" y="16676"/>
                  </a:cubicBezTo>
                  <a:lnTo>
                    <a:pt x="177474" y="16369"/>
                  </a:lnTo>
                  <a:lnTo>
                    <a:pt x="178512" y="16215"/>
                  </a:lnTo>
                  <a:lnTo>
                    <a:pt x="179520" y="16094"/>
                  </a:lnTo>
                  <a:cubicBezTo>
                    <a:pt x="180417" y="15592"/>
                    <a:pt x="181327" y="15088"/>
                    <a:pt x="182249" y="14583"/>
                  </a:cubicBezTo>
                  <a:cubicBezTo>
                    <a:pt x="183217" y="14454"/>
                    <a:pt x="184130" y="14377"/>
                    <a:pt x="185058" y="14289"/>
                  </a:cubicBezTo>
                  <a:lnTo>
                    <a:pt x="185058" y="14289"/>
                  </a:lnTo>
                  <a:cubicBezTo>
                    <a:pt x="184937" y="14711"/>
                    <a:pt x="184802" y="15136"/>
                    <a:pt x="184654" y="15564"/>
                  </a:cubicBezTo>
                  <a:cubicBezTo>
                    <a:pt x="185944" y="15479"/>
                    <a:pt x="187252" y="15388"/>
                    <a:pt x="188504" y="15348"/>
                  </a:cubicBezTo>
                  <a:cubicBezTo>
                    <a:pt x="189470" y="14866"/>
                    <a:pt x="190447" y="14385"/>
                    <a:pt x="191437" y="13904"/>
                  </a:cubicBezTo>
                  <a:lnTo>
                    <a:pt x="192769" y="13867"/>
                  </a:lnTo>
                  <a:lnTo>
                    <a:pt x="194050" y="13878"/>
                  </a:lnTo>
                  <a:cubicBezTo>
                    <a:pt x="193797" y="14356"/>
                    <a:pt x="193531" y="14836"/>
                    <a:pt x="193252" y="15318"/>
                  </a:cubicBezTo>
                  <a:cubicBezTo>
                    <a:pt x="194280" y="15343"/>
                    <a:pt x="195276" y="15400"/>
                    <a:pt x="196264" y="15466"/>
                  </a:cubicBezTo>
                  <a:lnTo>
                    <a:pt x="196264" y="12597"/>
                  </a:lnTo>
                  <a:cubicBezTo>
                    <a:pt x="196018" y="12595"/>
                    <a:pt x="195770" y="12594"/>
                    <a:pt x="195522" y="12594"/>
                  </a:cubicBezTo>
                  <a:cubicBezTo>
                    <a:pt x="190609" y="12594"/>
                    <a:pt x="185275" y="13029"/>
                    <a:pt x="179659" y="13888"/>
                  </a:cubicBezTo>
                  <a:cubicBezTo>
                    <a:pt x="178326" y="14073"/>
                    <a:pt x="176905" y="14328"/>
                    <a:pt x="175538" y="14574"/>
                  </a:cubicBezTo>
                  <a:cubicBezTo>
                    <a:pt x="175124" y="14647"/>
                    <a:pt x="174712" y="14721"/>
                    <a:pt x="174302" y="14794"/>
                  </a:cubicBezTo>
                  <a:cubicBezTo>
                    <a:pt x="173722" y="14909"/>
                    <a:pt x="173183" y="15016"/>
                    <a:pt x="172631" y="15129"/>
                  </a:cubicBezTo>
                  <a:cubicBezTo>
                    <a:pt x="172268" y="15203"/>
                    <a:pt x="171905" y="15278"/>
                    <a:pt x="171545" y="15350"/>
                  </a:cubicBezTo>
                  <a:cubicBezTo>
                    <a:pt x="171368" y="15387"/>
                    <a:pt x="171202" y="15420"/>
                    <a:pt x="171037" y="15453"/>
                  </a:cubicBezTo>
                  <a:cubicBezTo>
                    <a:pt x="170745" y="15511"/>
                    <a:pt x="170455" y="15569"/>
                    <a:pt x="170156" y="15635"/>
                  </a:cubicBezTo>
                  <a:lnTo>
                    <a:pt x="168764" y="15953"/>
                  </a:lnTo>
                  <a:cubicBezTo>
                    <a:pt x="168414" y="16035"/>
                    <a:pt x="168078" y="16110"/>
                    <a:pt x="167743" y="16185"/>
                  </a:cubicBezTo>
                  <a:cubicBezTo>
                    <a:pt x="167170" y="16311"/>
                    <a:pt x="166578" y="16443"/>
                    <a:pt x="165962" y="16603"/>
                  </a:cubicBezTo>
                  <a:lnTo>
                    <a:pt x="163202" y="17291"/>
                  </a:lnTo>
                  <a:cubicBezTo>
                    <a:pt x="162623" y="17440"/>
                    <a:pt x="162052" y="17596"/>
                    <a:pt x="161480" y="17753"/>
                  </a:cubicBezTo>
                  <a:cubicBezTo>
                    <a:pt x="161111" y="17854"/>
                    <a:pt x="160741" y="17955"/>
                    <a:pt x="160374" y="18053"/>
                  </a:cubicBezTo>
                  <a:cubicBezTo>
                    <a:pt x="159447" y="18293"/>
                    <a:pt x="158485" y="18577"/>
                    <a:pt x="157555" y="18851"/>
                  </a:cubicBezTo>
                  <a:cubicBezTo>
                    <a:pt x="156134" y="19251"/>
                    <a:pt x="154688" y="19702"/>
                    <a:pt x="153296" y="20137"/>
                  </a:cubicBezTo>
                  <a:cubicBezTo>
                    <a:pt x="152810" y="20290"/>
                    <a:pt x="152323" y="20440"/>
                    <a:pt x="151840" y="20590"/>
                  </a:cubicBezTo>
                  <a:cubicBezTo>
                    <a:pt x="151298" y="20771"/>
                    <a:pt x="150800" y="20935"/>
                    <a:pt x="150304" y="21099"/>
                  </a:cubicBezTo>
                  <a:cubicBezTo>
                    <a:pt x="148916" y="21559"/>
                    <a:pt x="147484" y="22033"/>
                    <a:pt x="146041" y="22552"/>
                  </a:cubicBezTo>
                  <a:cubicBezTo>
                    <a:pt x="142165" y="23913"/>
                    <a:pt x="138593" y="25266"/>
                    <a:pt x="135144" y="26673"/>
                  </a:cubicBezTo>
                  <a:lnTo>
                    <a:pt x="135158" y="26600"/>
                  </a:lnTo>
                  <a:cubicBezTo>
                    <a:pt x="141781" y="23904"/>
                    <a:pt x="148396" y="21559"/>
                    <a:pt x="154852" y="19576"/>
                  </a:cubicBezTo>
                  <a:cubicBezTo>
                    <a:pt x="161482" y="17542"/>
                    <a:pt x="167943" y="15945"/>
                    <a:pt x="174152" y="14731"/>
                  </a:cubicBezTo>
                  <a:lnTo>
                    <a:pt x="175279" y="13542"/>
                  </a:lnTo>
                  <a:lnTo>
                    <a:pt x="175279" y="13542"/>
                  </a:lnTo>
                  <a:cubicBezTo>
                    <a:pt x="168913" y="14797"/>
                    <a:pt x="162286" y="16446"/>
                    <a:pt x="155494" y="18536"/>
                  </a:cubicBezTo>
                  <a:cubicBezTo>
                    <a:pt x="148875" y="20576"/>
                    <a:pt x="142097" y="22986"/>
                    <a:pt x="135315" y="25750"/>
                  </a:cubicBezTo>
                  <a:lnTo>
                    <a:pt x="135383" y="25378"/>
                  </a:lnTo>
                  <a:cubicBezTo>
                    <a:pt x="142236" y="22583"/>
                    <a:pt x="149087" y="20146"/>
                    <a:pt x="155776" y="18082"/>
                  </a:cubicBezTo>
                  <a:cubicBezTo>
                    <a:pt x="162640" y="15966"/>
                    <a:pt x="169338" y="14296"/>
                    <a:pt x="175773" y="13021"/>
                  </a:cubicBezTo>
                  <a:lnTo>
                    <a:pt x="176457" y="12299"/>
                  </a:lnTo>
                  <a:lnTo>
                    <a:pt x="176457" y="12299"/>
                  </a:lnTo>
                  <a:cubicBezTo>
                    <a:pt x="169927" y="13598"/>
                    <a:pt x="163129" y="15300"/>
                    <a:pt x="156166" y="17452"/>
                  </a:cubicBezTo>
                  <a:cubicBezTo>
                    <a:pt x="149378" y="19550"/>
                    <a:pt x="142426" y="22027"/>
                    <a:pt x="135478" y="24863"/>
                  </a:cubicBezTo>
                  <a:lnTo>
                    <a:pt x="135579" y="24311"/>
                  </a:lnTo>
                  <a:lnTo>
                    <a:pt x="137583" y="23497"/>
                  </a:lnTo>
                  <a:lnTo>
                    <a:pt x="139733" y="22660"/>
                  </a:lnTo>
                  <a:cubicBezTo>
                    <a:pt x="140439" y="22001"/>
                    <a:pt x="141164" y="21334"/>
                    <a:pt x="141909" y="20662"/>
                  </a:cubicBezTo>
                  <a:cubicBezTo>
                    <a:pt x="141964" y="20613"/>
                    <a:pt x="142022" y="20563"/>
                    <a:pt x="142078" y="20514"/>
                  </a:cubicBezTo>
                  <a:lnTo>
                    <a:pt x="143217" y="20090"/>
                  </a:lnTo>
                  <a:lnTo>
                    <a:pt x="145575" y="19212"/>
                  </a:lnTo>
                  <a:cubicBezTo>
                    <a:pt x="147147" y="18640"/>
                    <a:pt x="148710" y="18097"/>
                    <a:pt x="150283" y="17539"/>
                  </a:cubicBezTo>
                  <a:lnTo>
                    <a:pt x="151079" y="17273"/>
                  </a:lnTo>
                  <a:lnTo>
                    <a:pt x="151781" y="17038"/>
                  </a:lnTo>
                  <a:cubicBezTo>
                    <a:pt x="152147" y="17330"/>
                    <a:pt x="152499" y="17640"/>
                    <a:pt x="152834" y="17968"/>
                  </a:cubicBezTo>
                  <a:cubicBezTo>
                    <a:pt x="154267" y="17496"/>
                    <a:pt x="155681" y="17066"/>
                    <a:pt x="157112" y="16610"/>
                  </a:cubicBezTo>
                  <a:cubicBezTo>
                    <a:pt x="158530" y="16184"/>
                    <a:pt x="159945" y="15771"/>
                    <a:pt x="161367" y="15352"/>
                  </a:cubicBezTo>
                  <a:cubicBezTo>
                    <a:pt x="162364" y="14623"/>
                    <a:pt x="163383" y="13888"/>
                    <a:pt x="164427" y="13149"/>
                  </a:cubicBezTo>
                  <a:cubicBezTo>
                    <a:pt x="166807" y="12491"/>
                    <a:pt x="169166" y="11878"/>
                    <a:pt x="171504" y="11310"/>
                  </a:cubicBezTo>
                  <a:cubicBezTo>
                    <a:pt x="172304" y="11121"/>
                    <a:pt x="173102" y="10934"/>
                    <a:pt x="173899" y="10752"/>
                  </a:cubicBezTo>
                  <a:cubicBezTo>
                    <a:pt x="174004" y="11219"/>
                    <a:pt x="174070" y="11692"/>
                    <a:pt x="174098" y="12169"/>
                  </a:cubicBezTo>
                  <a:lnTo>
                    <a:pt x="177189" y="11524"/>
                  </a:lnTo>
                  <a:lnTo>
                    <a:pt x="177896" y="10777"/>
                  </a:lnTo>
                  <a:lnTo>
                    <a:pt x="177896" y="10777"/>
                  </a:lnTo>
                  <a:lnTo>
                    <a:pt x="175476" y="11285"/>
                  </a:lnTo>
                  <a:cubicBezTo>
                    <a:pt x="175452" y="10994"/>
                    <a:pt x="175419" y="10706"/>
                    <a:pt x="175378" y="10420"/>
                  </a:cubicBezTo>
                  <a:cubicBezTo>
                    <a:pt x="177122" y="10036"/>
                    <a:pt x="178850" y="9678"/>
                    <a:pt x="180546" y="9362"/>
                  </a:cubicBezTo>
                  <a:lnTo>
                    <a:pt x="181307" y="9220"/>
                  </a:lnTo>
                  <a:cubicBezTo>
                    <a:pt x="182051" y="9078"/>
                    <a:pt x="182794" y="8938"/>
                    <a:pt x="183521" y="8815"/>
                  </a:cubicBezTo>
                  <a:lnTo>
                    <a:pt x="183521" y="8815"/>
                  </a:lnTo>
                  <a:cubicBezTo>
                    <a:pt x="182776" y="9256"/>
                    <a:pt x="182033" y="9700"/>
                    <a:pt x="181295" y="10147"/>
                  </a:cubicBezTo>
                  <a:lnTo>
                    <a:pt x="177897" y="10777"/>
                  </a:lnTo>
                  <a:lnTo>
                    <a:pt x="177189" y="11524"/>
                  </a:lnTo>
                  <a:lnTo>
                    <a:pt x="177189" y="11524"/>
                  </a:lnTo>
                  <a:lnTo>
                    <a:pt x="181237" y="10780"/>
                  </a:lnTo>
                  <a:cubicBezTo>
                    <a:pt x="182449" y="10053"/>
                    <a:pt x="183685" y="9321"/>
                    <a:pt x="184945" y="8586"/>
                  </a:cubicBezTo>
                  <a:cubicBezTo>
                    <a:pt x="185725" y="8458"/>
                    <a:pt x="186513" y="8326"/>
                    <a:pt x="187283" y="8211"/>
                  </a:cubicBezTo>
                  <a:lnTo>
                    <a:pt x="187996" y="8115"/>
                  </a:lnTo>
                  <a:cubicBezTo>
                    <a:pt x="189992" y="7820"/>
                    <a:pt x="191940" y="7585"/>
                    <a:pt x="193848" y="7398"/>
                  </a:cubicBezTo>
                  <a:lnTo>
                    <a:pt x="193848" y="7398"/>
                  </a:lnTo>
                  <a:cubicBezTo>
                    <a:pt x="193650" y="8001"/>
                    <a:pt x="193422" y="8616"/>
                    <a:pt x="193142" y="9260"/>
                  </a:cubicBezTo>
                  <a:cubicBezTo>
                    <a:pt x="194174" y="9190"/>
                    <a:pt x="195247" y="9091"/>
                    <a:pt x="196263" y="9043"/>
                  </a:cubicBezTo>
                  <a:lnTo>
                    <a:pt x="196263" y="8291"/>
                  </a:lnTo>
                  <a:cubicBezTo>
                    <a:pt x="195766" y="8327"/>
                    <a:pt x="195265" y="8367"/>
                    <a:pt x="194768" y="8404"/>
                  </a:cubicBezTo>
                  <a:cubicBezTo>
                    <a:pt x="194927" y="8025"/>
                    <a:pt x="195073" y="7648"/>
                    <a:pt x="195216" y="7273"/>
                  </a:cubicBezTo>
                  <a:cubicBezTo>
                    <a:pt x="195567" y="7242"/>
                    <a:pt x="195916" y="7214"/>
                    <a:pt x="196264" y="7186"/>
                  </a:cubicBezTo>
                  <a:lnTo>
                    <a:pt x="196264" y="6727"/>
                  </a:lnTo>
                  <a:cubicBezTo>
                    <a:pt x="195973" y="6752"/>
                    <a:pt x="195682" y="6777"/>
                    <a:pt x="195389" y="6803"/>
                  </a:cubicBezTo>
                  <a:cubicBezTo>
                    <a:pt x="195407" y="6754"/>
                    <a:pt x="195427" y="6703"/>
                    <a:pt x="195445" y="6654"/>
                  </a:cubicBezTo>
                  <a:cubicBezTo>
                    <a:pt x="195627" y="6095"/>
                    <a:pt x="195788" y="5544"/>
                    <a:pt x="195928" y="4996"/>
                  </a:cubicBezTo>
                  <a:lnTo>
                    <a:pt x="195928" y="4996"/>
                  </a:lnTo>
                  <a:cubicBezTo>
                    <a:pt x="194679" y="5136"/>
                    <a:pt x="193441" y="5273"/>
                    <a:pt x="192144" y="5468"/>
                  </a:cubicBezTo>
                  <a:cubicBezTo>
                    <a:pt x="191642" y="5539"/>
                    <a:pt x="191146" y="5608"/>
                    <a:pt x="190648" y="5678"/>
                  </a:cubicBezTo>
                  <a:lnTo>
                    <a:pt x="196264" y="485"/>
                  </a:lnTo>
                  <a:lnTo>
                    <a:pt x="196264" y="0"/>
                  </a:lnTo>
                  <a:close/>
                </a:path>
              </a:pathLst>
            </a:custGeom>
            <a:solidFill>
              <a:srgbClr val="11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 name="Google Shape;494;p23"/>
            <p:cNvSpPr/>
            <p:nvPr/>
          </p:nvSpPr>
          <p:spPr>
            <a:xfrm>
              <a:off x="6030600" y="2391625"/>
              <a:ext cx="232550" cy="209550"/>
            </a:xfrm>
            <a:custGeom>
              <a:avLst/>
              <a:gdLst/>
              <a:ahLst/>
              <a:cxnLst/>
              <a:rect l="l" t="t" r="r" b="b"/>
              <a:pathLst>
                <a:path w="9302" h="8382" extrusionOk="0">
                  <a:moveTo>
                    <a:pt x="933" y="8381"/>
                  </a:moveTo>
                  <a:lnTo>
                    <a:pt x="4355" y="5519"/>
                  </a:lnTo>
                  <a:cubicBezTo>
                    <a:pt x="5716" y="5249"/>
                    <a:pt x="7040" y="4955"/>
                    <a:pt x="8415" y="4651"/>
                  </a:cubicBezTo>
                  <a:lnTo>
                    <a:pt x="9301" y="3859"/>
                  </a:lnTo>
                  <a:lnTo>
                    <a:pt x="9301" y="1"/>
                  </a:lnTo>
                  <a:cubicBezTo>
                    <a:pt x="6449" y="2716"/>
                    <a:pt x="3348" y="5437"/>
                    <a:pt x="1" y="8165"/>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 name="Google Shape;495;p23"/>
            <p:cNvSpPr/>
            <p:nvPr/>
          </p:nvSpPr>
          <p:spPr>
            <a:xfrm>
              <a:off x="6069900" y="2506275"/>
              <a:ext cx="193250" cy="118250"/>
            </a:xfrm>
            <a:custGeom>
              <a:avLst/>
              <a:gdLst/>
              <a:ahLst/>
              <a:cxnLst/>
              <a:rect l="l" t="t" r="r" b="b"/>
              <a:pathLst>
                <a:path w="7730" h="4730" extrusionOk="0">
                  <a:moveTo>
                    <a:pt x="3055" y="1386"/>
                  </a:moveTo>
                  <a:lnTo>
                    <a:pt x="1" y="3943"/>
                  </a:lnTo>
                  <a:lnTo>
                    <a:pt x="3410" y="4729"/>
                  </a:lnTo>
                  <a:cubicBezTo>
                    <a:pt x="4896" y="3510"/>
                    <a:pt x="6335" y="2290"/>
                    <a:pt x="7729" y="1071"/>
                  </a:cubicBezTo>
                  <a:lnTo>
                    <a:pt x="7729" y="0"/>
                  </a:lnTo>
                  <a:cubicBezTo>
                    <a:pt x="7535" y="174"/>
                    <a:pt x="7341" y="348"/>
                    <a:pt x="7147" y="521"/>
                  </a:cubicBezTo>
                  <a:cubicBezTo>
                    <a:pt x="5782" y="828"/>
                    <a:pt x="4417" y="1115"/>
                    <a:pt x="3055" y="1386"/>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 name="Google Shape;496;p23"/>
            <p:cNvSpPr/>
            <p:nvPr/>
          </p:nvSpPr>
          <p:spPr>
            <a:xfrm>
              <a:off x="5768750" y="2574325"/>
              <a:ext cx="494400" cy="398700"/>
            </a:xfrm>
            <a:custGeom>
              <a:avLst/>
              <a:gdLst/>
              <a:ahLst/>
              <a:cxnLst/>
              <a:rect l="l" t="t" r="r" b="b"/>
              <a:pathLst>
                <a:path w="19776" h="15948" extrusionOk="0">
                  <a:moveTo>
                    <a:pt x="1776" y="15948"/>
                  </a:moveTo>
                  <a:cubicBezTo>
                    <a:pt x="8276" y="11587"/>
                    <a:pt x="14295" y="7076"/>
                    <a:pt x="19775" y="2522"/>
                  </a:cubicBezTo>
                  <a:lnTo>
                    <a:pt x="19775" y="0"/>
                  </a:lnTo>
                  <a:cubicBezTo>
                    <a:pt x="13849" y="5068"/>
                    <a:pt x="7230" y="10099"/>
                    <a:pt x="1" y="14937"/>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 name="Google Shape;497;p23"/>
            <p:cNvSpPr/>
            <p:nvPr/>
          </p:nvSpPr>
          <p:spPr>
            <a:xfrm>
              <a:off x="5832900" y="2664925"/>
              <a:ext cx="430250" cy="335150"/>
            </a:xfrm>
            <a:custGeom>
              <a:avLst/>
              <a:gdLst/>
              <a:ahLst/>
              <a:cxnLst/>
              <a:rect l="l" t="t" r="r" b="b"/>
              <a:pathLst>
                <a:path w="17210" h="13406" extrusionOk="0">
                  <a:moveTo>
                    <a:pt x="1112" y="13405"/>
                  </a:moveTo>
                  <a:cubicBezTo>
                    <a:pt x="6858" y="9541"/>
                    <a:pt x="12235" y="5562"/>
                    <a:pt x="17209" y="1540"/>
                  </a:cubicBezTo>
                  <a:lnTo>
                    <a:pt x="17209" y="1"/>
                  </a:lnTo>
                  <a:cubicBezTo>
                    <a:pt x="11936" y="4333"/>
                    <a:pt x="6185" y="8620"/>
                    <a:pt x="0" y="12774"/>
                  </a:cubicBezTo>
                  <a:close/>
                </a:path>
              </a:pathLst>
            </a:custGeom>
            <a:solidFill>
              <a:srgbClr val="50F0F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45152281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Slide" r:id="rId4" imgW="421" imgH="420" progId="TCLayout.ActiveDocument.1">
                  <p:embed/>
                </p:oleObj>
              </mc:Choice>
              <mc:Fallback>
                <p:oleObj name="think-cell Slide" r:id="rId4" imgW="421" imgH="420" progId="TCLayout.ActiveDocument.1">
                  <p:embed/>
                  <p:pic>
                    <p:nvPicPr>
                      <p:cNvPr id="15" name="Object 1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a:off x="9932662" y="648752"/>
            <a:ext cx="1343638" cy="646331"/>
          </a:xfrm>
          <a:prstGeom prst="rect">
            <a:avLst/>
          </a:prstGeom>
        </p:spPr>
        <p:txBody>
          <a:bodyPr wrap="none">
            <a:spAutoFit/>
          </a:bodyPr>
          <a:lstStyle/>
          <a:p>
            <a:pPr algn="r" rtl="1">
              <a:spcBef>
                <a:spcPts val="0"/>
              </a:spcBef>
              <a:spcAft>
                <a:spcPts val="0"/>
              </a:spcAft>
            </a:pPr>
            <a:r>
              <a:rPr lang="ar-SA" sz="3600" b="1" dirty="0" smtClean="0">
                <a:solidFill>
                  <a:schemeClr val="bg1"/>
                </a:solidFill>
                <a:latin typeface="Arial" panose="020B0604020202020204" pitchFamily="34" charset="0"/>
                <a:cs typeface="+mj-cs"/>
              </a:rPr>
              <a:t>المراجع</a:t>
            </a:r>
            <a:endParaRPr lang="ar-SA" sz="3600" b="1" dirty="0" smtClean="0">
              <a:solidFill>
                <a:schemeClr val="bg1"/>
              </a:solidFill>
              <a:effectLst/>
              <a:cs typeface="+mj-cs"/>
            </a:endParaRPr>
          </a:p>
        </p:txBody>
      </p:sp>
      <p:pic>
        <p:nvPicPr>
          <p:cNvPr id="1005" name="Google Shape;570;p33"/>
          <p:cNvPicPr preferRelativeResize="0"/>
          <p:nvPr/>
        </p:nvPicPr>
        <p:blipFill>
          <a:blip r:embed="rId6">
            <a:alphaModFix/>
          </a:blip>
          <a:stretch>
            <a:fillRect/>
          </a:stretch>
        </p:blipFill>
        <p:spPr>
          <a:xfrm flipH="1">
            <a:off x="456259" y="1861710"/>
            <a:ext cx="3806551" cy="3687225"/>
          </a:xfrm>
          <a:prstGeom prst="rect">
            <a:avLst/>
          </a:prstGeom>
          <a:noFill/>
          <a:ln>
            <a:noFill/>
          </a:ln>
        </p:spPr>
      </p:pic>
      <p:sp>
        <p:nvSpPr>
          <p:cNvPr id="8" name="Google Shape;915;p37"/>
          <p:cNvSpPr/>
          <p:nvPr/>
        </p:nvSpPr>
        <p:spPr>
          <a:xfrm rot="11445165" flipH="1">
            <a:off x="6497270" y="1398181"/>
            <a:ext cx="5046182" cy="5065639"/>
          </a:xfrm>
          <a:custGeom>
            <a:avLst/>
            <a:gdLst/>
            <a:ahLst/>
            <a:cxnLst/>
            <a:rect l="l" t="t" r="r" b="b"/>
            <a:pathLst>
              <a:path w="27076" h="25544" extrusionOk="0">
                <a:moveTo>
                  <a:pt x="8431" y="435"/>
                </a:moveTo>
                <a:cubicBezTo>
                  <a:pt x="3664" y="435"/>
                  <a:pt x="491" y="3040"/>
                  <a:pt x="275" y="6741"/>
                </a:cubicBezTo>
                <a:cubicBezTo>
                  <a:pt x="0" y="11316"/>
                  <a:pt x="6005" y="11921"/>
                  <a:pt x="5587" y="18057"/>
                </a:cubicBezTo>
                <a:cubicBezTo>
                  <a:pt x="5241" y="22899"/>
                  <a:pt x="6633" y="25544"/>
                  <a:pt x="10534" y="25544"/>
                </a:cubicBezTo>
                <a:cubicBezTo>
                  <a:pt x="10726" y="25544"/>
                  <a:pt x="10925" y="25537"/>
                  <a:pt x="11129" y="25524"/>
                </a:cubicBezTo>
                <a:cubicBezTo>
                  <a:pt x="18783" y="25019"/>
                  <a:pt x="27075" y="17695"/>
                  <a:pt x="26987" y="10359"/>
                </a:cubicBezTo>
                <a:cubicBezTo>
                  <a:pt x="26844" y="0"/>
                  <a:pt x="19751" y="3024"/>
                  <a:pt x="12691" y="1056"/>
                </a:cubicBezTo>
                <a:cubicBezTo>
                  <a:pt x="11170" y="632"/>
                  <a:pt x="9740" y="435"/>
                  <a:pt x="8431" y="435"/>
                </a:cubicBezTo>
                <a:close/>
              </a:path>
            </a:pathLst>
          </a:custGeom>
          <a:solidFill>
            <a:schemeClr val="bg1">
              <a:alpha val="76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TextBox 4"/>
          <p:cNvSpPr txBox="1"/>
          <p:nvPr/>
        </p:nvSpPr>
        <p:spPr>
          <a:xfrm>
            <a:off x="5400675" y="1739233"/>
            <a:ext cx="5203806" cy="4247317"/>
          </a:xfrm>
          <a:prstGeom prst="rect">
            <a:avLst/>
          </a:prstGeom>
          <a:noFill/>
        </p:spPr>
        <p:txBody>
          <a:bodyPr wrap="square" rtlCol="0">
            <a:spAutoFit/>
          </a:bodyPr>
          <a:lstStyle/>
          <a:p>
            <a:pPr marL="285750" indent="-285750" algn="r" rtl="1">
              <a:buFont typeface="Arial" panose="020B0604020202020204" pitchFamily="34" charset="0"/>
              <a:buChar char="•"/>
            </a:pPr>
            <a:r>
              <a:rPr lang="en-US" dirty="0" err="1" smtClean="0">
                <a:solidFill>
                  <a:schemeClr val="bg1"/>
                </a:solidFill>
                <a:hlinkClick r:id="rId7"/>
              </a:rPr>
              <a:t>Zdnet</a:t>
            </a:r>
            <a:endParaRPr lang="ar-SA" dirty="0" smtClean="0">
              <a:solidFill>
                <a:schemeClr val="bg1"/>
              </a:solidFill>
            </a:endParaRPr>
          </a:p>
          <a:p>
            <a:pPr marL="285750" indent="-285750" algn="r" rtl="1">
              <a:buFont typeface="Arial" panose="020B0604020202020204" pitchFamily="34" charset="0"/>
              <a:buChar char="•"/>
            </a:pPr>
            <a:r>
              <a:rPr lang="en-US" dirty="0" err="1" smtClean="0">
                <a:solidFill>
                  <a:schemeClr val="bg1"/>
                </a:solidFill>
                <a:hlinkClick r:id="rId8"/>
              </a:rPr>
              <a:t>onix</a:t>
            </a:r>
            <a:r>
              <a:rPr lang="en-US" dirty="0" smtClean="0">
                <a:solidFill>
                  <a:schemeClr val="bg1"/>
                </a:solidFill>
                <a:hlinkClick r:id="rId8"/>
              </a:rPr>
              <a:t> systems</a:t>
            </a:r>
            <a:endParaRPr lang="ar-SA" dirty="0" smtClean="0">
              <a:solidFill>
                <a:schemeClr val="bg1"/>
              </a:solidFill>
            </a:endParaRPr>
          </a:p>
          <a:p>
            <a:pPr marL="285750" indent="-285750" algn="r" rtl="1">
              <a:buFont typeface="Arial" panose="020B0604020202020204" pitchFamily="34" charset="0"/>
              <a:buChar char="•"/>
            </a:pPr>
            <a:r>
              <a:rPr lang="en-US" dirty="0" smtClean="0">
                <a:solidFill>
                  <a:schemeClr val="bg1"/>
                </a:solidFill>
                <a:hlinkClick r:id="rId9"/>
              </a:rPr>
              <a:t>Journal of the Faculty of Tourism and Hotels</a:t>
            </a:r>
            <a:endParaRPr lang="ar-SA" dirty="0" smtClean="0">
              <a:solidFill>
                <a:schemeClr val="bg1"/>
              </a:solidFill>
            </a:endParaRPr>
          </a:p>
          <a:p>
            <a:pPr marL="285750" indent="-285750" algn="r" rtl="1">
              <a:buFont typeface="Arial" panose="020B0604020202020204" pitchFamily="34" charset="0"/>
              <a:buChar char="•"/>
            </a:pPr>
            <a:r>
              <a:rPr lang="en-US" dirty="0" err="1" smtClean="0">
                <a:solidFill>
                  <a:schemeClr val="bg1"/>
                </a:solidFill>
                <a:hlinkClick r:id="rId10"/>
              </a:rPr>
              <a:t>Teleoperators</a:t>
            </a:r>
            <a:r>
              <a:rPr lang="en-US" dirty="0" smtClean="0">
                <a:solidFill>
                  <a:schemeClr val="bg1"/>
                </a:solidFill>
                <a:hlinkClick r:id="rId10"/>
              </a:rPr>
              <a:t> and Virtual Environments</a:t>
            </a:r>
            <a:endParaRPr lang="ar-SA" dirty="0" smtClean="0">
              <a:solidFill>
                <a:schemeClr val="bg1"/>
              </a:solidFill>
            </a:endParaRPr>
          </a:p>
          <a:p>
            <a:pPr marL="285750" indent="-285750" algn="r" rtl="1">
              <a:buFont typeface="Arial" panose="020B0604020202020204" pitchFamily="34" charset="0"/>
              <a:buChar char="•"/>
            </a:pPr>
            <a:r>
              <a:rPr lang="en-US" dirty="0" err="1" smtClean="0">
                <a:solidFill>
                  <a:schemeClr val="bg1"/>
                </a:solidFill>
                <a:hlinkClick r:id="rId11"/>
              </a:rPr>
              <a:t>Readwrite</a:t>
            </a:r>
            <a:endParaRPr lang="ar-SA" dirty="0" smtClean="0">
              <a:solidFill>
                <a:schemeClr val="bg1"/>
              </a:solidFill>
            </a:endParaRPr>
          </a:p>
          <a:p>
            <a:pPr marL="285750" indent="-285750" algn="r" rtl="1">
              <a:buFont typeface="Arial" panose="020B0604020202020204" pitchFamily="34" charset="0"/>
              <a:buChar char="•"/>
            </a:pPr>
            <a:r>
              <a:rPr lang="en-US" dirty="0" smtClean="0">
                <a:solidFill>
                  <a:schemeClr val="bg1"/>
                </a:solidFill>
                <a:hlinkClick r:id="rId12"/>
              </a:rPr>
              <a:t>Cisco</a:t>
            </a:r>
            <a:endParaRPr lang="en-US" dirty="0" smtClean="0">
              <a:solidFill>
                <a:schemeClr val="bg1"/>
              </a:solidFill>
            </a:endParaRPr>
          </a:p>
          <a:p>
            <a:pPr marL="285750" indent="-285750" algn="r" rtl="1">
              <a:buFont typeface="Arial" panose="020B0604020202020204" pitchFamily="34" charset="0"/>
              <a:buChar char="•"/>
            </a:pPr>
            <a:r>
              <a:rPr lang="en-US" dirty="0" smtClean="0">
                <a:solidFill>
                  <a:schemeClr val="bg1"/>
                </a:solidFill>
                <a:hlinkClick r:id="rId13"/>
              </a:rPr>
              <a:t>Entrepreneur</a:t>
            </a:r>
            <a:endParaRPr lang="en-US" dirty="0" smtClean="0">
              <a:solidFill>
                <a:schemeClr val="bg1"/>
              </a:solidFill>
            </a:endParaRPr>
          </a:p>
          <a:p>
            <a:pPr marL="285750" indent="-285750" algn="r" rtl="1">
              <a:buFont typeface="Arial" panose="020B0604020202020204" pitchFamily="34" charset="0"/>
              <a:buChar char="•"/>
            </a:pPr>
            <a:r>
              <a:rPr lang="en-US" dirty="0" err="1" smtClean="0">
                <a:solidFill>
                  <a:schemeClr val="bg1"/>
                </a:solidFill>
                <a:hlinkClick r:id="rId14"/>
              </a:rPr>
              <a:t>Prnewswire</a:t>
            </a:r>
            <a:endParaRPr lang="en-US" dirty="0" smtClean="0">
              <a:solidFill>
                <a:schemeClr val="bg1"/>
              </a:solidFill>
            </a:endParaRPr>
          </a:p>
          <a:p>
            <a:pPr marL="285750" indent="-285750" algn="r" rtl="1">
              <a:buFont typeface="Arial" panose="020B0604020202020204" pitchFamily="34" charset="0"/>
              <a:buChar char="•"/>
            </a:pPr>
            <a:r>
              <a:rPr lang="en-US" dirty="0" smtClean="0">
                <a:solidFill>
                  <a:schemeClr val="bg1"/>
                </a:solidFill>
                <a:hlinkClick r:id="rId15"/>
              </a:rPr>
              <a:t>Statista</a:t>
            </a:r>
            <a:endParaRPr lang="en-US" dirty="0" smtClean="0">
              <a:solidFill>
                <a:schemeClr val="bg1"/>
              </a:solidFill>
            </a:endParaRPr>
          </a:p>
          <a:p>
            <a:pPr marL="285750" indent="-285750" algn="r" rtl="1">
              <a:buFont typeface="Arial" panose="020B0604020202020204" pitchFamily="34" charset="0"/>
              <a:buChar char="•"/>
            </a:pPr>
            <a:r>
              <a:rPr lang="en-US" dirty="0" smtClean="0">
                <a:solidFill>
                  <a:schemeClr val="bg1"/>
                </a:solidFill>
                <a:hlinkClick r:id="rId16"/>
              </a:rPr>
              <a:t>Valuates Reports</a:t>
            </a:r>
            <a:endParaRPr lang="en-US" dirty="0" smtClean="0">
              <a:solidFill>
                <a:schemeClr val="bg1"/>
              </a:solidFill>
            </a:endParaRPr>
          </a:p>
          <a:p>
            <a:pPr marL="285750" indent="-285750" algn="r" rtl="1">
              <a:buFont typeface="Arial" panose="020B0604020202020204" pitchFamily="34" charset="0"/>
              <a:buChar char="•"/>
            </a:pPr>
            <a:r>
              <a:rPr lang="en-US" dirty="0" smtClean="0">
                <a:solidFill>
                  <a:schemeClr val="bg1"/>
                </a:solidFill>
                <a:hlinkClick r:id="rId17"/>
              </a:rPr>
              <a:t>The Franklin Institute</a:t>
            </a:r>
            <a:endParaRPr lang="en-US" dirty="0" smtClean="0">
              <a:solidFill>
                <a:schemeClr val="bg1"/>
              </a:solidFill>
            </a:endParaRPr>
          </a:p>
          <a:p>
            <a:pPr marL="285750" indent="-285750" algn="r" rtl="1">
              <a:buFont typeface="Arial" panose="020B0604020202020204" pitchFamily="34" charset="0"/>
              <a:buChar char="•"/>
            </a:pPr>
            <a:r>
              <a:rPr lang="en-US" dirty="0" smtClean="0">
                <a:solidFill>
                  <a:schemeClr val="bg1"/>
                </a:solidFill>
                <a:hlinkClick r:id="rId18"/>
              </a:rPr>
              <a:t>PC Magazine</a:t>
            </a:r>
            <a:endParaRPr lang="en-US" dirty="0" smtClean="0">
              <a:solidFill>
                <a:schemeClr val="bg1"/>
              </a:solidFill>
            </a:endParaRPr>
          </a:p>
          <a:p>
            <a:pPr marL="285750" indent="-285750" algn="r" rtl="1">
              <a:buFont typeface="Arial" panose="020B0604020202020204" pitchFamily="34" charset="0"/>
              <a:buChar char="•"/>
            </a:pPr>
            <a:r>
              <a:rPr lang="en-US" dirty="0" smtClean="0">
                <a:solidFill>
                  <a:schemeClr val="bg1"/>
                </a:solidFill>
                <a:hlinkClick r:id="rId19"/>
              </a:rPr>
              <a:t>Markets and Markets</a:t>
            </a:r>
            <a:endParaRPr lang="en-US" dirty="0" smtClean="0">
              <a:solidFill>
                <a:schemeClr val="bg1"/>
              </a:solidFill>
            </a:endParaRPr>
          </a:p>
          <a:p>
            <a:pPr marL="285750" indent="-285750" algn="r" rtl="1">
              <a:buFont typeface="Arial" panose="020B0604020202020204" pitchFamily="34" charset="0"/>
              <a:buChar char="•"/>
            </a:pPr>
            <a:r>
              <a:rPr lang="en-US" dirty="0" smtClean="0">
                <a:solidFill>
                  <a:schemeClr val="bg1"/>
                </a:solidFill>
                <a:hlinkClick r:id="rId20"/>
              </a:rPr>
              <a:t>Moonshot</a:t>
            </a:r>
            <a:endParaRPr lang="en-US" dirty="0" smtClean="0">
              <a:solidFill>
                <a:schemeClr val="bg1"/>
              </a:solidFill>
            </a:endParaRPr>
          </a:p>
          <a:p>
            <a:pPr marL="285750" indent="-285750" algn="r" rtl="1">
              <a:buFont typeface="Arial" panose="020B0604020202020204" pitchFamily="34" charset="0"/>
              <a:buChar char="•"/>
            </a:pPr>
            <a:r>
              <a:rPr lang="en-US" dirty="0" err="1" smtClean="0">
                <a:solidFill>
                  <a:schemeClr val="bg1"/>
                </a:solidFill>
                <a:hlinkClick r:id="rId21"/>
              </a:rPr>
              <a:t>Digiday</a:t>
            </a:r>
            <a:endParaRPr lang="en-US" dirty="0" smtClean="0">
              <a:solidFill>
                <a:schemeClr val="bg1"/>
              </a:solidFill>
            </a:endParaRPr>
          </a:p>
        </p:txBody>
      </p:sp>
    </p:spTree>
    <p:extLst>
      <p:ext uri="{BB962C8B-B14F-4D97-AF65-F5344CB8AC3E}">
        <p14:creationId xmlns:p14="http://schemas.microsoft.com/office/powerpoint/2010/main" val="8632892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3312874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1" name="think-cell Slide" r:id="rId4" imgW="421" imgH="420" progId="TCLayout.ActiveDocument.1">
                  <p:embed/>
                </p:oleObj>
              </mc:Choice>
              <mc:Fallback>
                <p:oleObj name="think-cell Slide" r:id="rId4" imgW="421" imgH="420" progId="TCLayout.ActiveDocument.1">
                  <p:embed/>
                  <p:pic>
                    <p:nvPicPr>
                      <p:cNvPr id="15" name="Object 1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p:nvPicPr>
        <p:blipFill>
          <a:blip r:embed="rId6"/>
          <a:stretch>
            <a:fillRect/>
          </a:stretch>
        </p:blipFill>
        <p:spPr>
          <a:xfrm>
            <a:off x="1026736" y="0"/>
            <a:ext cx="10138527" cy="6145301"/>
          </a:xfrm>
          <a:prstGeom prst="rect">
            <a:avLst/>
          </a:prstGeom>
        </p:spPr>
      </p:pic>
      <p:sp>
        <p:nvSpPr>
          <p:cNvPr id="8" name="TextBox 7"/>
          <p:cNvSpPr txBox="1"/>
          <p:nvPr/>
        </p:nvSpPr>
        <p:spPr>
          <a:xfrm>
            <a:off x="5329238" y="3015498"/>
            <a:ext cx="1485899" cy="769441"/>
          </a:xfrm>
          <a:prstGeom prst="rect">
            <a:avLst/>
          </a:prstGeom>
          <a:noFill/>
        </p:spPr>
        <p:txBody>
          <a:bodyPr wrap="square" rtlCol="0">
            <a:spAutoFit/>
          </a:bodyPr>
          <a:lstStyle/>
          <a:p>
            <a:pPr algn="ctr"/>
            <a:r>
              <a:rPr lang="ar-SA" sz="4400" b="1" dirty="0" smtClean="0">
                <a:solidFill>
                  <a:srgbClr val="4F008C"/>
                </a:solidFill>
                <a:cs typeface="+mj-cs"/>
              </a:rPr>
              <a:t>شكرًا</a:t>
            </a:r>
            <a:endParaRPr lang="en-US" sz="4400" b="1" dirty="0">
              <a:solidFill>
                <a:srgbClr val="4F008C"/>
              </a:solidFill>
              <a:cs typeface="+mj-cs"/>
            </a:endParaRPr>
          </a:p>
        </p:txBody>
      </p:sp>
      <p:sp>
        <p:nvSpPr>
          <p:cNvPr id="5" name="Text Placeholder 3">
            <a:extLst>
              <a:ext uri="{FF2B5EF4-FFF2-40B4-BE49-F238E27FC236}">
                <a16:creationId xmlns:a16="http://schemas.microsoft.com/office/drawing/2014/main" id="{4F678E75-4370-4CD7-80ED-5C0EBDD85A90}"/>
              </a:ext>
            </a:extLst>
          </p:cNvPr>
          <p:cNvSpPr txBox="1">
            <a:spLocks/>
          </p:cNvSpPr>
          <p:nvPr/>
        </p:nvSpPr>
        <p:spPr>
          <a:xfrm>
            <a:off x="0" y="5998069"/>
            <a:ext cx="12192000" cy="400056"/>
          </a:xfrm>
          <a:prstGeom prst="rect">
            <a:avLst/>
          </a:prstGeom>
          <a:noFill/>
        </p:spPr>
        <p:txBody>
          <a:bodyPr vert="horz" wrap="square" lIns="0" tIns="0" rIns="0" bIns="0" rtlCol="0" anchor="ctr">
            <a:noAutofit/>
          </a:bodyPr>
          <a:lstStyle>
            <a:lvl1pPr marL="0" indent="0" algn="l" defTabSz="914400" rtl="0" eaLnBrk="1" latinLnBrk="0" hangingPunct="1">
              <a:lnSpc>
                <a:spcPct val="100000"/>
              </a:lnSpc>
              <a:spcBef>
                <a:spcPts val="1000"/>
              </a:spcBef>
              <a:buFont typeface="Arial" panose="020B0604020202020204" pitchFamily="34" charset="0"/>
              <a:buNone/>
              <a:defRPr lang="es-ES" sz="800" b="0" kern="1200" smtClean="0">
                <a:solidFill>
                  <a:schemeClr val="bg1"/>
                </a:solidFill>
                <a:latin typeface="+mn-lt"/>
                <a:ea typeface="+mn-ea"/>
                <a:cs typeface="+mn-cs"/>
              </a:defRPr>
            </a:lvl1pPr>
            <a:lvl2pPr marL="228600" indent="0" algn="l" defTabSz="914400" rtl="0" eaLnBrk="1" latinLnBrk="0" hangingPunct="1">
              <a:lnSpc>
                <a:spcPct val="100000"/>
              </a:lnSpc>
              <a:spcBef>
                <a:spcPts val="500"/>
              </a:spcBef>
              <a:buFont typeface="Arial" panose="020B0604020202020204" pitchFamily="34" charset="0"/>
              <a:buNone/>
              <a:defRPr lang="es-ES" sz="1800" kern="1200" smtClean="0">
                <a:solidFill>
                  <a:schemeClr val="tx1"/>
                </a:solidFill>
                <a:latin typeface="+mn-lt"/>
                <a:ea typeface="+mn-ea"/>
                <a:cs typeface="+mn-cs"/>
              </a:defRPr>
            </a:lvl2pPr>
            <a:lvl3pPr marL="685800" indent="0" algn="l" defTabSz="914400" rtl="0" eaLnBrk="1" latinLnBrk="0" hangingPunct="1">
              <a:lnSpc>
                <a:spcPct val="100000"/>
              </a:lnSpc>
              <a:spcBef>
                <a:spcPts val="500"/>
              </a:spcBef>
              <a:buFont typeface="Arial" panose="020B0604020202020204" pitchFamily="34" charset="0"/>
              <a:buNone/>
              <a:defRPr lang="es-ES" sz="1800" kern="1200" smtClean="0">
                <a:solidFill>
                  <a:schemeClr val="tx1"/>
                </a:solidFill>
                <a:latin typeface="+mn-lt"/>
                <a:ea typeface="+mn-ea"/>
                <a:cs typeface="+mn-cs"/>
              </a:defRPr>
            </a:lvl3pPr>
            <a:lvl4pPr marL="1085850" indent="0" algn="l" defTabSz="914400" rtl="0" eaLnBrk="1" latinLnBrk="0" hangingPunct="1">
              <a:lnSpc>
                <a:spcPct val="100000"/>
              </a:lnSpc>
              <a:spcBef>
                <a:spcPts val="500"/>
              </a:spcBef>
              <a:buFont typeface="Arial" panose="020B0604020202020204" pitchFamily="34" charset="0"/>
              <a:buNone/>
              <a:defRPr lang="es-ES" sz="1800" kern="1200" smtClean="0">
                <a:solidFill>
                  <a:schemeClr val="tx1"/>
                </a:solidFill>
                <a:latin typeface="+mn-lt"/>
                <a:ea typeface="+mn-ea"/>
                <a:cs typeface="+mn-cs"/>
              </a:defRPr>
            </a:lvl4pPr>
            <a:lvl5pPr marL="1600200" indent="0" algn="l" defTabSz="914400" rtl="0" eaLnBrk="1" latinLnBrk="0" hangingPunct="1">
              <a:lnSpc>
                <a:spcPct val="100000"/>
              </a:lnSpc>
              <a:spcBef>
                <a:spcPts val="500"/>
              </a:spcBef>
              <a:buFont typeface="Arial" panose="020B0604020202020204" pitchFamily="34" charset="0"/>
              <a:buNone/>
              <a:defRPr lang="es-ES"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ar-SA" sz="1800" b="1" noProof="0" dirty="0" smtClean="0">
                <a:solidFill>
                  <a:srgbClr val="FFFFFF"/>
                </a:solidFill>
                <a:cs typeface="+mj-cs"/>
              </a:rPr>
              <a:t>إعداد: عبير المقرن وَساره الخميس</a:t>
            </a:r>
            <a:endParaRPr kumimoji="0" lang="en-GB" sz="1800" b="1" i="0" u="none" strike="noStrike" kern="1200" cap="none" spc="0" normalizeH="0" baseline="0" noProof="0" dirty="0">
              <a:ln>
                <a:noFill/>
              </a:ln>
              <a:solidFill>
                <a:srgbClr val="FFFFFF"/>
              </a:solidFill>
              <a:effectLst/>
              <a:uLnTx/>
              <a:uFillTx/>
              <a:cs typeface="+mj-cs"/>
            </a:endParaRPr>
          </a:p>
        </p:txBody>
      </p:sp>
    </p:spTree>
    <p:extLst>
      <p:ext uri="{BB962C8B-B14F-4D97-AF65-F5344CB8AC3E}">
        <p14:creationId xmlns:p14="http://schemas.microsoft.com/office/powerpoint/2010/main" val="185377037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178983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2"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p:cNvSpPr/>
          <p:nvPr/>
        </p:nvSpPr>
        <p:spPr>
          <a:xfrm>
            <a:off x="1412125" y="1886622"/>
            <a:ext cx="9280200" cy="2934137"/>
          </a:xfrm>
          <a:prstGeom prst="rect">
            <a:avLst/>
          </a:prstGeom>
        </p:spPr>
        <p:txBody>
          <a:bodyPr wrap="square">
            <a:spAutoFit/>
          </a:bodyPr>
          <a:lstStyle/>
          <a:p>
            <a:pPr algn="ctr" rtl="1">
              <a:spcBef>
                <a:spcPts val="1000"/>
              </a:spcBef>
              <a:spcAft>
                <a:spcPts val="0"/>
              </a:spcAft>
            </a:pPr>
            <a:r>
              <a:rPr lang="ar-SA" sz="2400" b="1" dirty="0">
                <a:solidFill>
                  <a:schemeClr val="bg1"/>
                </a:solidFill>
                <a:latin typeface="Arial" panose="020B0604020202020204" pitchFamily="34" charset="0"/>
              </a:rPr>
              <a:t>أدى التطور التكنولوجي المتسارع في عالمنا الحديث لظهور مفاهيم جديدة تزيد التجانس بين الواقع والتقنية، أهمها هو تقنيات الواقع الافتراضي والواقع المعزز، التي تزيد من مدى تجارب الأفراد في تلقي المحتوى لمنح تجربة مشابهة للعالم الواقعي</a:t>
            </a:r>
            <a:r>
              <a:rPr lang="ar-SA" sz="2400" b="1" dirty="0" smtClean="0">
                <a:solidFill>
                  <a:schemeClr val="bg1"/>
                </a:solidFill>
                <a:latin typeface="Arial" panose="020B0604020202020204" pitchFamily="34" charset="0"/>
              </a:rPr>
              <a:t>.</a:t>
            </a:r>
          </a:p>
          <a:p>
            <a:pPr algn="ctr" rtl="1">
              <a:spcBef>
                <a:spcPts val="1000"/>
              </a:spcBef>
              <a:spcAft>
                <a:spcPts val="0"/>
              </a:spcAft>
            </a:pPr>
            <a:endParaRPr lang="ar-SA" sz="2400" b="1" dirty="0" smtClean="0">
              <a:solidFill>
                <a:schemeClr val="bg1"/>
              </a:solidFill>
              <a:effectLst/>
            </a:endParaRPr>
          </a:p>
          <a:p>
            <a:pPr algn="ctr" rtl="1">
              <a:spcBef>
                <a:spcPts val="1000"/>
              </a:spcBef>
              <a:spcAft>
                <a:spcPts val="0"/>
              </a:spcAft>
            </a:pPr>
            <a:r>
              <a:rPr lang="ar-SA" sz="2400" b="1" dirty="0" smtClean="0">
                <a:solidFill>
                  <a:schemeClr val="bg1"/>
                </a:solidFill>
                <a:latin typeface="Arial" panose="020B0604020202020204" pitchFamily="34" charset="0"/>
              </a:rPr>
              <a:t>وهي </a:t>
            </a:r>
            <a:r>
              <a:rPr lang="ar-SA" sz="2400" b="1" dirty="0">
                <a:solidFill>
                  <a:schemeClr val="bg1"/>
                </a:solidFill>
                <a:latin typeface="Arial" panose="020B0604020202020204" pitchFamily="34" charset="0"/>
              </a:rPr>
              <a:t>ليست حصرًا على عالم الألعاب والترفيه كما قد يتبادر للأذهان، فهذه التقنيات أصبحت جزءًا لا يتجزأ من حياتنا، ابتداءً بالمهام الحياتية اليومية كالتسوق، وانتهاءً بمتابعة الكواكب في المجرات. </a:t>
            </a:r>
            <a:endParaRPr lang="ar-SA" sz="2400" b="1" dirty="0" smtClean="0">
              <a:solidFill>
                <a:schemeClr val="bg1"/>
              </a:solidFill>
              <a:effectLst/>
            </a:endParaRPr>
          </a:p>
        </p:txBody>
      </p:sp>
      <p:cxnSp>
        <p:nvCxnSpPr>
          <p:cNvPr id="9" name="Google Shape;91;p13"/>
          <p:cNvCxnSpPr/>
          <p:nvPr/>
        </p:nvCxnSpPr>
        <p:spPr>
          <a:xfrm>
            <a:off x="-19050" y="2646100"/>
            <a:ext cx="7016700" cy="2834400"/>
          </a:xfrm>
          <a:prstGeom prst="bentConnector3">
            <a:avLst>
              <a:gd name="adj1" fmla="val 12316"/>
            </a:avLst>
          </a:prstGeom>
          <a:noFill/>
          <a:ln w="28575" cap="flat" cmpd="sng">
            <a:solidFill>
              <a:srgbClr val="FFFFFF">
                <a:alpha val="69000"/>
              </a:srgbClr>
            </a:solidFill>
            <a:prstDash val="solid"/>
            <a:round/>
            <a:headEnd type="none" w="med" len="med"/>
            <a:tailEnd type="none" w="med" len="med"/>
          </a:ln>
        </p:spPr>
      </p:cxnSp>
      <p:cxnSp>
        <p:nvCxnSpPr>
          <p:cNvPr id="10" name="Google Shape;92;p13"/>
          <p:cNvCxnSpPr/>
          <p:nvPr/>
        </p:nvCxnSpPr>
        <p:spPr>
          <a:xfrm rot="10800000">
            <a:off x="7143751" y="1276350"/>
            <a:ext cx="5040125" cy="4570600"/>
          </a:xfrm>
          <a:prstGeom prst="bentConnector3">
            <a:avLst>
              <a:gd name="adj1" fmla="val 21652"/>
            </a:avLst>
          </a:prstGeom>
          <a:noFill/>
          <a:ln w="28575" cap="flat" cmpd="sng">
            <a:solidFill>
              <a:srgbClr val="FFFFFF">
                <a:alpha val="69000"/>
              </a:srgbClr>
            </a:solidFill>
            <a:prstDash val="solid"/>
            <a:round/>
            <a:headEnd type="none" w="med" len="med"/>
            <a:tailEnd type="none" w="med" len="med"/>
          </a:ln>
        </p:spPr>
      </p:cxnSp>
      <p:cxnSp>
        <p:nvCxnSpPr>
          <p:cNvPr id="11" name="Google Shape;93;p13"/>
          <p:cNvCxnSpPr/>
          <p:nvPr/>
        </p:nvCxnSpPr>
        <p:spPr>
          <a:xfrm rot="-5400000">
            <a:off x="1150075" y="5250900"/>
            <a:ext cx="1888200" cy="1364100"/>
          </a:xfrm>
          <a:prstGeom prst="bentConnector2">
            <a:avLst/>
          </a:prstGeom>
          <a:noFill/>
          <a:ln w="28575" cap="flat" cmpd="sng">
            <a:solidFill>
              <a:srgbClr val="FFFFFF">
                <a:alpha val="69000"/>
              </a:srgbClr>
            </a:solidFill>
            <a:prstDash val="solid"/>
            <a:round/>
            <a:headEnd type="none" w="med" len="med"/>
            <a:tailEnd type="none" w="med" len="med"/>
          </a:ln>
        </p:spPr>
      </p:cxnSp>
      <p:cxnSp>
        <p:nvCxnSpPr>
          <p:cNvPr id="12" name="Google Shape;94;p13"/>
          <p:cNvCxnSpPr/>
          <p:nvPr/>
        </p:nvCxnSpPr>
        <p:spPr>
          <a:xfrm rot="5400000" flipH="1">
            <a:off x="9082225" y="5260050"/>
            <a:ext cx="1881300" cy="1338900"/>
          </a:xfrm>
          <a:prstGeom prst="bentConnector2">
            <a:avLst/>
          </a:prstGeom>
          <a:noFill/>
          <a:ln w="28575" cap="flat" cmpd="sng">
            <a:solidFill>
              <a:srgbClr val="FFFFFF">
                <a:alpha val="69000"/>
              </a:srgbClr>
            </a:solidFill>
            <a:prstDash val="solid"/>
            <a:round/>
            <a:headEnd type="none" w="med" len="med"/>
            <a:tailEnd type="none" w="med" len="med"/>
          </a:ln>
        </p:spPr>
      </p:cxnSp>
      <p:sp>
        <p:nvSpPr>
          <p:cNvPr id="15" name="Oval 14"/>
          <p:cNvSpPr/>
          <p:nvPr/>
        </p:nvSpPr>
        <p:spPr>
          <a:xfrm>
            <a:off x="2739446" y="4897410"/>
            <a:ext cx="182880" cy="18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6906210" y="5389060"/>
            <a:ext cx="182880" cy="18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9199808" y="4897410"/>
            <a:ext cx="182880" cy="18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6997650" y="1190194"/>
            <a:ext cx="182880" cy="18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647928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52" hidden="1"/>
          <p:cNvGraphicFramePr>
            <a:graphicFrameLocks noChangeAspect="1"/>
          </p:cNvGraphicFramePr>
          <p:nvPr>
            <p:custDataLst>
              <p:tags r:id="rId2"/>
            </p:custDataLst>
            <p:extLst>
              <p:ext uri="{D42A27DB-BD31-4B8C-83A1-F6EECF244321}">
                <p14:modId xmlns:p14="http://schemas.microsoft.com/office/powerpoint/2010/main" val="377916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8"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a:xfrm>
            <a:off x="10125023" y="648752"/>
            <a:ext cx="1151277" cy="646331"/>
          </a:xfrm>
          <a:prstGeom prst="rect">
            <a:avLst/>
          </a:prstGeom>
        </p:spPr>
        <p:txBody>
          <a:bodyPr wrap="none">
            <a:spAutoFit/>
          </a:bodyPr>
          <a:lstStyle/>
          <a:p>
            <a:pPr algn="r" rtl="1">
              <a:spcBef>
                <a:spcPts val="0"/>
              </a:spcBef>
              <a:spcAft>
                <a:spcPts val="0"/>
              </a:spcAft>
            </a:pPr>
            <a:r>
              <a:rPr lang="ar-SA" sz="3600" b="1" dirty="0">
                <a:solidFill>
                  <a:schemeClr val="bg1"/>
                </a:solidFill>
                <a:latin typeface="Arial" panose="020B0604020202020204" pitchFamily="34" charset="0"/>
                <a:cs typeface="+mj-cs"/>
              </a:rPr>
              <a:t>تعريف</a:t>
            </a:r>
            <a:endParaRPr lang="ar-SA" sz="3600" b="1" dirty="0" smtClean="0">
              <a:solidFill>
                <a:schemeClr val="bg1"/>
              </a:solidFill>
              <a:effectLst/>
              <a:cs typeface="+mj-cs"/>
            </a:endParaRPr>
          </a:p>
        </p:txBody>
      </p:sp>
      <p:grpSp>
        <p:nvGrpSpPr>
          <p:cNvPr id="8" name="Google Shape;540;p27"/>
          <p:cNvGrpSpPr/>
          <p:nvPr/>
        </p:nvGrpSpPr>
        <p:grpSpPr>
          <a:xfrm flipH="1">
            <a:off x="3429000" y="1350233"/>
            <a:ext cx="8056850" cy="2590800"/>
            <a:chOff x="238125" y="1662850"/>
            <a:chExt cx="7137300" cy="2369400"/>
          </a:xfrm>
        </p:grpSpPr>
        <p:sp>
          <p:nvSpPr>
            <p:cNvPr id="9" name="Google Shape;541;p27"/>
            <p:cNvSpPr/>
            <p:nvPr/>
          </p:nvSpPr>
          <p:spPr>
            <a:xfrm>
              <a:off x="490500" y="1898550"/>
              <a:ext cx="6774075" cy="1771550"/>
            </a:xfrm>
            <a:custGeom>
              <a:avLst/>
              <a:gdLst/>
              <a:ahLst/>
              <a:cxnLst/>
              <a:rect l="l" t="t" r="r" b="b"/>
              <a:pathLst>
                <a:path w="270963" h="70862" extrusionOk="0">
                  <a:moveTo>
                    <a:pt x="4112" y="0"/>
                  </a:moveTo>
                  <a:lnTo>
                    <a:pt x="0" y="4090"/>
                  </a:lnTo>
                  <a:lnTo>
                    <a:pt x="0" y="66750"/>
                  </a:lnTo>
                  <a:lnTo>
                    <a:pt x="4112" y="70861"/>
                  </a:lnTo>
                  <a:lnTo>
                    <a:pt x="266873" y="70861"/>
                  </a:lnTo>
                  <a:lnTo>
                    <a:pt x="270962" y="66750"/>
                  </a:lnTo>
                  <a:lnTo>
                    <a:pt x="270962" y="28155"/>
                  </a:lnTo>
                  <a:lnTo>
                    <a:pt x="265086" y="22279"/>
                  </a:lnTo>
                  <a:lnTo>
                    <a:pt x="225393" y="22279"/>
                  </a:lnTo>
                  <a:lnTo>
                    <a:pt x="203114" y="0"/>
                  </a:lnTo>
                  <a:close/>
                </a:path>
              </a:pathLst>
            </a:custGeom>
            <a:solidFill>
              <a:schemeClr val="bg1">
                <a:alpha val="19230"/>
              </a:schemeClr>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0" name="Google Shape;542;p27"/>
            <p:cNvSpPr/>
            <p:nvPr/>
          </p:nvSpPr>
          <p:spPr>
            <a:xfrm>
              <a:off x="482975" y="1890475"/>
              <a:ext cx="6789675" cy="1787150"/>
            </a:xfrm>
            <a:custGeom>
              <a:avLst/>
              <a:gdLst/>
              <a:ahLst/>
              <a:cxnLst/>
              <a:rect l="l" t="t" r="r" b="b"/>
              <a:pathLst>
                <a:path w="271587" h="71486" extrusionOk="0">
                  <a:moveTo>
                    <a:pt x="203286" y="624"/>
                  </a:moveTo>
                  <a:lnTo>
                    <a:pt x="225565" y="22903"/>
                  </a:lnTo>
                  <a:lnTo>
                    <a:pt x="265258" y="22903"/>
                  </a:lnTo>
                  <a:lnTo>
                    <a:pt x="270941" y="28607"/>
                  </a:lnTo>
                  <a:lnTo>
                    <a:pt x="270941" y="66944"/>
                  </a:lnTo>
                  <a:lnTo>
                    <a:pt x="267044" y="70861"/>
                  </a:lnTo>
                  <a:lnTo>
                    <a:pt x="4542" y="70861"/>
                  </a:lnTo>
                  <a:lnTo>
                    <a:pt x="624" y="66944"/>
                  </a:lnTo>
                  <a:lnTo>
                    <a:pt x="624" y="4542"/>
                  </a:lnTo>
                  <a:lnTo>
                    <a:pt x="4542" y="624"/>
                  </a:lnTo>
                  <a:close/>
                  <a:moveTo>
                    <a:pt x="4262" y="0"/>
                  </a:moveTo>
                  <a:lnTo>
                    <a:pt x="0" y="4284"/>
                  </a:lnTo>
                  <a:lnTo>
                    <a:pt x="0" y="67202"/>
                  </a:lnTo>
                  <a:lnTo>
                    <a:pt x="4262" y="71485"/>
                  </a:lnTo>
                  <a:lnTo>
                    <a:pt x="267303" y="71485"/>
                  </a:lnTo>
                  <a:lnTo>
                    <a:pt x="271586" y="67202"/>
                  </a:lnTo>
                  <a:lnTo>
                    <a:pt x="271586" y="28349"/>
                  </a:lnTo>
                  <a:lnTo>
                    <a:pt x="265516" y="22279"/>
                  </a:lnTo>
                  <a:lnTo>
                    <a:pt x="225823" y="22279"/>
                  </a:lnTo>
                  <a:lnTo>
                    <a:pt x="203544" y="0"/>
                  </a:lnTo>
                  <a:close/>
                </a:path>
              </a:pathLst>
            </a:custGeom>
            <a:solidFill>
              <a:srgbClr val="4D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 name="Google Shape;543;p27"/>
            <p:cNvSpPr/>
            <p:nvPr/>
          </p:nvSpPr>
          <p:spPr>
            <a:xfrm>
              <a:off x="677225" y="1899625"/>
              <a:ext cx="1804950" cy="1769400"/>
            </a:xfrm>
            <a:custGeom>
              <a:avLst/>
              <a:gdLst/>
              <a:ahLst/>
              <a:cxnLst/>
              <a:rect l="l" t="t" r="r" b="b"/>
              <a:pathLst>
                <a:path w="72198" h="70776" extrusionOk="0">
                  <a:moveTo>
                    <a:pt x="36809" y="1249"/>
                  </a:moveTo>
                  <a:cubicBezTo>
                    <a:pt x="55644" y="1270"/>
                    <a:pt x="70905" y="16531"/>
                    <a:pt x="70927" y="35388"/>
                  </a:cubicBezTo>
                  <a:cubicBezTo>
                    <a:pt x="70927" y="49185"/>
                    <a:pt x="62618" y="61627"/>
                    <a:pt x="49875" y="66901"/>
                  </a:cubicBezTo>
                  <a:cubicBezTo>
                    <a:pt x="45648" y="68654"/>
                    <a:pt x="41210" y="69506"/>
                    <a:pt x="36811" y="69506"/>
                  </a:cubicBezTo>
                  <a:cubicBezTo>
                    <a:pt x="27928" y="69506"/>
                    <a:pt x="19201" y="66032"/>
                    <a:pt x="12679" y="59496"/>
                  </a:cubicBezTo>
                  <a:cubicBezTo>
                    <a:pt x="2907" y="49745"/>
                    <a:pt x="1" y="35065"/>
                    <a:pt x="5274" y="22322"/>
                  </a:cubicBezTo>
                  <a:cubicBezTo>
                    <a:pt x="10570" y="9557"/>
                    <a:pt x="23011" y="1249"/>
                    <a:pt x="36809" y="1249"/>
                  </a:cubicBezTo>
                  <a:close/>
                  <a:moveTo>
                    <a:pt x="36809" y="0"/>
                  </a:moveTo>
                  <a:cubicBezTo>
                    <a:pt x="17307" y="0"/>
                    <a:pt x="1421" y="15864"/>
                    <a:pt x="1421" y="35388"/>
                  </a:cubicBezTo>
                  <a:cubicBezTo>
                    <a:pt x="1421" y="54889"/>
                    <a:pt x="17307" y="70775"/>
                    <a:pt x="36809" y="70775"/>
                  </a:cubicBezTo>
                  <a:cubicBezTo>
                    <a:pt x="56333" y="70775"/>
                    <a:pt x="72197" y="54889"/>
                    <a:pt x="72197" y="35388"/>
                  </a:cubicBezTo>
                  <a:cubicBezTo>
                    <a:pt x="72197" y="15864"/>
                    <a:pt x="56333" y="0"/>
                    <a:pt x="36809" y="0"/>
                  </a:cubicBezTo>
                  <a:close/>
                </a:path>
              </a:pathLst>
            </a:custGeom>
            <a:solidFill>
              <a:schemeClr val="bg1"/>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 name="Google Shape;544;p27"/>
            <p:cNvSpPr/>
            <p:nvPr/>
          </p:nvSpPr>
          <p:spPr>
            <a:xfrm>
              <a:off x="659475" y="2784300"/>
              <a:ext cx="262625" cy="596275"/>
            </a:xfrm>
            <a:custGeom>
              <a:avLst/>
              <a:gdLst/>
              <a:ahLst/>
              <a:cxnLst/>
              <a:rect l="l" t="t" r="r" b="b"/>
              <a:pathLst>
                <a:path w="10505" h="23851" extrusionOk="0">
                  <a:moveTo>
                    <a:pt x="0" y="1"/>
                  </a:moveTo>
                  <a:cubicBezTo>
                    <a:pt x="0" y="8697"/>
                    <a:pt x="3035" y="17135"/>
                    <a:pt x="8568" y="23851"/>
                  </a:cubicBezTo>
                  <a:lnTo>
                    <a:pt x="10505" y="22258"/>
                  </a:lnTo>
                  <a:cubicBezTo>
                    <a:pt x="5339" y="15972"/>
                    <a:pt x="2519" y="8116"/>
                    <a:pt x="2519" y="1"/>
                  </a:cubicBezTo>
                  <a:close/>
                </a:path>
              </a:pathLst>
            </a:custGeom>
            <a:solidFill>
              <a:schemeClr val="bg1"/>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 name="Google Shape;545;p27"/>
            <p:cNvSpPr/>
            <p:nvPr/>
          </p:nvSpPr>
          <p:spPr>
            <a:xfrm>
              <a:off x="1597450" y="2784300"/>
              <a:ext cx="967575" cy="967575"/>
            </a:xfrm>
            <a:custGeom>
              <a:avLst/>
              <a:gdLst/>
              <a:ahLst/>
              <a:cxnLst/>
              <a:rect l="l" t="t" r="r" b="b"/>
              <a:pathLst>
                <a:path w="38703" h="38703" extrusionOk="0">
                  <a:moveTo>
                    <a:pt x="34914" y="1"/>
                  </a:moveTo>
                  <a:cubicBezTo>
                    <a:pt x="34893" y="19266"/>
                    <a:pt x="19265" y="34871"/>
                    <a:pt x="0" y="34914"/>
                  </a:cubicBezTo>
                  <a:lnTo>
                    <a:pt x="0" y="38703"/>
                  </a:lnTo>
                  <a:cubicBezTo>
                    <a:pt x="21332" y="38703"/>
                    <a:pt x="38703" y="21332"/>
                    <a:pt x="38703" y="1"/>
                  </a:cubicBezTo>
                  <a:close/>
                </a:path>
              </a:pathLst>
            </a:custGeom>
            <a:solidFill>
              <a:schemeClr val="bg1"/>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 name="Google Shape;546;p27"/>
            <p:cNvSpPr/>
            <p:nvPr/>
          </p:nvSpPr>
          <p:spPr>
            <a:xfrm>
              <a:off x="745575" y="1994450"/>
              <a:ext cx="1641350" cy="1579325"/>
            </a:xfrm>
            <a:custGeom>
              <a:avLst/>
              <a:gdLst/>
              <a:ahLst/>
              <a:cxnLst/>
              <a:rect l="l" t="t" r="r" b="b"/>
              <a:pathLst>
                <a:path w="65654" h="63173" extrusionOk="0">
                  <a:moveTo>
                    <a:pt x="34075" y="1266"/>
                  </a:moveTo>
                  <a:cubicBezTo>
                    <a:pt x="50822" y="1287"/>
                    <a:pt x="64383" y="14848"/>
                    <a:pt x="64405" y="31595"/>
                  </a:cubicBezTo>
                  <a:cubicBezTo>
                    <a:pt x="64405" y="43842"/>
                    <a:pt x="57000" y="54906"/>
                    <a:pt x="45677" y="59599"/>
                  </a:cubicBezTo>
                  <a:cubicBezTo>
                    <a:pt x="41933" y="61151"/>
                    <a:pt x="38000" y="61905"/>
                    <a:pt x="34099" y="61905"/>
                  </a:cubicBezTo>
                  <a:cubicBezTo>
                    <a:pt x="26205" y="61905"/>
                    <a:pt x="18442" y="58818"/>
                    <a:pt x="12636" y="53012"/>
                  </a:cubicBezTo>
                  <a:cubicBezTo>
                    <a:pt x="3961" y="44359"/>
                    <a:pt x="1378" y="31315"/>
                    <a:pt x="6071" y="19971"/>
                  </a:cubicBezTo>
                  <a:cubicBezTo>
                    <a:pt x="10763" y="8649"/>
                    <a:pt x="21806" y="1266"/>
                    <a:pt x="34075" y="1266"/>
                  </a:cubicBezTo>
                  <a:close/>
                  <a:moveTo>
                    <a:pt x="34075" y="0"/>
                  </a:moveTo>
                  <a:cubicBezTo>
                    <a:pt x="25855" y="0"/>
                    <a:pt x="17784" y="3206"/>
                    <a:pt x="11753" y="9251"/>
                  </a:cubicBezTo>
                  <a:cubicBezTo>
                    <a:pt x="2713" y="18292"/>
                    <a:pt x="0" y="31874"/>
                    <a:pt x="4887" y="43670"/>
                  </a:cubicBezTo>
                  <a:cubicBezTo>
                    <a:pt x="9795" y="55466"/>
                    <a:pt x="21311" y="63172"/>
                    <a:pt x="34075" y="63172"/>
                  </a:cubicBezTo>
                  <a:cubicBezTo>
                    <a:pt x="51511" y="63151"/>
                    <a:pt x="65631" y="49008"/>
                    <a:pt x="65653" y="31595"/>
                  </a:cubicBezTo>
                  <a:cubicBezTo>
                    <a:pt x="65653" y="18809"/>
                    <a:pt x="57968" y="7293"/>
                    <a:pt x="46173" y="2406"/>
                  </a:cubicBezTo>
                  <a:cubicBezTo>
                    <a:pt x="42257" y="787"/>
                    <a:pt x="38148" y="0"/>
                    <a:pt x="34075" y="0"/>
                  </a:cubicBezTo>
                  <a:close/>
                </a:path>
              </a:pathLst>
            </a:custGeom>
            <a:solidFill>
              <a:srgbClr val="200E7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 name="Google Shape;547;p27"/>
            <p:cNvSpPr/>
            <p:nvPr/>
          </p:nvSpPr>
          <p:spPr>
            <a:xfrm>
              <a:off x="1597450" y="2012625"/>
              <a:ext cx="771175" cy="771700"/>
            </a:xfrm>
            <a:custGeom>
              <a:avLst/>
              <a:gdLst/>
              <a:ahLst/>
              <a:cxnLst/>
              <a:rect l="l" t="t" r="r" b="b"/>
              <a:pathLst>
                <a:path w="30847" h="30868" extrusionOk="0">
                  <a:moveTo>
                    <a:pt x="0" y="0"/>
                  </a:moveTo>
                  <a:lnTo>
                    <a:pt x="0" y="3789"/>
                  </a:lnTo>
                  <a:cubicBezTo>
                    <a:pt x="14939" y="3810"/>
                    <a:pt x="27036" y="15929"/>
                    <a:pt x="27058" y="30868"/>
                  </a:cubicBezTo>
                  <a:lnTo>
                    <a:pt x="30846" y="30868"/>
                  </a:lnTo>
                  <a:cubicBezTo>
                    <a:pt x="30825" y="13820"/>
                    <a:pt x="17027" y="22"/>
                    <a:pt x="0" y="0"/>
                  </a:cubicBezTo>
                  <a:close/>
                </a:path>
              </a:pathLst>
            </a:custGeom>
            <a:solidFill>
              <a:srgbClr val="200E7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 name="Google Shape;548;p27"/>
            <p:cNvSpPr/>
            <p:nvPr/>
          </p:nvSpPr>
          <p:spPr>
            <a:xfrm>
              <a:off x="1581825" y="1803825"/>
              <a:ext cx="31250" cy="111425"/>
            </a:xfrm>
            <a:custGeom>
              <a:avLst/>
              <a:gdLst/>
              <a:ahLst/>
              <a:cxnLst/>
              <a:rect l="l" t="t" r="r" b="b"/>
              <a:pathLst>
                <a:path w="1250" h="4457" extrusionOk="0">
                  <a:moveTo>
                    <a:pt x="1" y="1"/>
                  </a:moveTo>
                  <a:lnTo>
                    <a:pt x="1" y="4456"/>
                  </a:lnTo>
                  <a:lnTo>
                    <a:pt x="1249" y="4456"/>
                  </a:lnTo>
                  <a:lnTo>
                    <a:pt x="1249" y="1"/>
                  </a:lnTo>
                  <a:close/>
                </a:path>
              </a:pathLst>
            </a:custGeom>
            <a:solidFill>
              <a:srgbClr val="4D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 name="Google Shape;549;p27"/>
            <p:cNvSpPr/>
            <p:nvPr/>
          </p:nvSpPr>
          <p:spPr>
            <a:xfrm>
              <a:off x="1581825" y="3652850"/>
              <a:ext cx="31250" cy="111400"/>
            </a:xfrm>
            <a:custGeom>
              <a:avLst/>
              <a:gdLst/>
              <a:ahLst/>
              <a:cxnLst/>
              <a:rect l="l" t="t" r="r" b="b"/>
              <a:pathLst>
                <a:path w="1250" h="4456" extrusionOk="0">
                  <a:moveTo>
                    <a:pt x="1" y="0"/>
                  </a:moveTo>
                  <a:lnTo>
                    <a:pt x="1" y="4456"/>
                  </a:lnTo>
                  <a:lnTo>
                    <a:pt x="1249" y="4456"/>
                  </a:lnTo>
                  <a:lnTo>
                    <a:pt x="1249" y="0"/>
                  </a:lnTo>
                  <a:close/>
                </a:path>
              </a:pathLst>
            </a:custGeom>
            <a:solidFill>
              <a:srgbClr val="4D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 name="Google Shape;550;p27"/>
            <p:cNvSpPr/>
            <p:nvPr/>
          </p:nvSpPr>
          <p:spPr>
            <a:xfrm>
              <a:off x="554000" y="2768150"/>
              <a:ext cx="427300" cy="31775"/>
            </a:xfrm>
            <a:custGeom>
              <a:avLst/>
              <a:gdLst/>
              <a:ahLst/>
              <a:cxnLst/>
              <a:rect l="l" t="t" r="r" b="b"/>
              <a:pathLst>
                <a:path w="17092" h="1271" extrusionOk="0">
                  <a:moveTo>
                    <a:pt x="0" y="1"/>
                  </a:moveTo>
                  <a:lnTo>
                    <a:pt x="0" y="1271"/>
                  </a:lnTo>
                  <a:lnTo>
                    <a:pt x="17092" y="1271"/>
                  </a:lnTo>
                  <a:lnTo>
                    <a:pt x="17092" y="1"/>
                  </a:lnTo>
                  <a:close/>
                </a:path>
              </a:pathLst>
            </a:custGeom>
            <a:solidFill>
              <a:srgbClr val="4D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 name="Google Shape;553;p27"/>
            <p:cNvSpPr/>
            <p:nvPr/>
          </p:nvSpPr>
          <p:spPr>
            <a:xfrm>
              <a:off x="4423200" y="1896925"/>
              <a:ext cx="1637025" cy="94725"/>
            </a:xfrm>
            <a:custGeom>
              <a:avLst/>
              <a:gdLst/>
              <a:ahLst/>
              <a:cxnLst/>
              <a:rect l="l" t="t" r="r" b="b"/>
              <a:pathLst>
                <a:path w="65481" h="3789" extrusionOk="0">
                  <a:moveTo>
                    <a:pt x="0" y="0"/>
                  </a:moveTo>
                  <a:lnTo>
                    <a:pt x="0" y="3789"/>
                  </a:lnTo>
                  <a:lnTo>
                    <a:pt x="65481" y="3789"/>
                  </a:lnTo>
                  <a:lnTo>
                    <a:pt x="65481" y="0"/>
                  </a:lnTo>
                  <a:close/>
                </a:path>
              </a:pathLst>
            </a:custGeom>
            <a:solidFill>
              <a:srgbClr val="0068E8">
                <a:alpha val="40000"/>
              </a:srgbClr>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 name="Google Shape;554;p27"/>
            <p:cNvSpPr/>
            <p:nvPr/>
          </p:nvSpPr>
          <p:spPr>
            <a:xfrm>
              <a:off x="6622025" y="3603875"/>
              <a:ext cx="456900" cy="243250"/>
            </a:xfrm>
            <a:custGeom>
              <a:avLst/>
              <a:gdLst/>
              <a:ahLst/>
              <a:cxnLst/>
              <a:rect l="l" t="t" r="r" b="b"/>
              <a:pathLst>
                <a:path w="18276" h="9730" extrusionOk="0">
                  <a:moveTo>
                    <a:pt x="3789" y="0"/>
                  </a:moveTo>
                  <a:lnTo>
                    <a:pt x="0" y="9730"/>
                  </a:lnTo>
                  <a:lnTo>
                    <a:pt x="1292" y="9730"/>
                  </a:lnTo>
                  <a:lnTo>
                    <a:pt x="5102" y="0"/>
                  </a:lnTo>
                  <a:close/>
                  <a:moveTo>
                    <a:pt x="8201" y="0"/>
                  </a:moveTo>
                  <a:lnTo>
                    <a:pt x="4413" y="9730"/>
                  </a:lnTo>
                  <a:lnTo>
                    <a:pt x="5704" y="9730"/>
                  </a:lnTo>
                  <a:lnTo>
                    <a:pt x="9493" y="0"/>
                  </a:lnTo>
                  <a:close/>
                  <a:moveTo>
                    <a:pt x="12592" y="0"/>
                  </a:moveTo>
                  <a:lnTo>
                    <a:pt x="8804" y="9730"/>
                  </a:lnTo>
                  <a:lnTo>
                    <a:pt x="10096" y="9730"/>
                  </a:lnTo>
                  <a:lnTo>
                    <a:pt x="13884" y="0"/>
                  </a:lnTo>
                  <a:close/>
                  <a:moveTo>
                    <a:pt x="16984" y="0"/>
                  </a:moveTo>
                  <a:lnTo>
                    <a:pt x="13195" y="9730"/>
                  </a:lnTo>
                  <a:lnTo>
                    <a:pt x="14487" y="9730"/>
                  </a:lnTo>
                  <a:lnTo>
                    <a:pt x="18275" y="0"/>
                  </a:lnTo>
                  <a:close/>
                </a:path>
              </a:pathLst>
            </a:custGeom>
            <a:solidFill>
              <a:srgbClr val="0068E8">
                <a:alpha val="40000"/>
              </a:srgbClr>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3" name="Google Shape;555;p27"/>
            <p:cNvSpPr/>
            <p:nvPr/>
          </p:nvSpPr>
          <p:spPr>
            <a:xfrm>
              <a:off x="2403575" y="1662850"/>
              <a:ext cx="1733350" cy="281450"/>
            </a:xfrm>
            <a:custGeom>
              <a:avLst/>
              <a:gdLst/>
              <a:ahLst/>
              <a:cxnLst/>
              <a:rect l="l" t="t" r="r" b="b"/>
              <a:pathLst>
                <a:path w="69334" h="11258" extrusionOk="0">
                  <a:moveTo>
                    <a:pt x="0" y="0"/>
                  </a:moveTo>
                  <a:lnTo>
                    <a:pt x="0" y="11258"/>
                  </a:lnTo>
                  <a:lnTo>
                    <a:pt x="69334" y="11258"/>
                  </a:lnTo>
                  <a:lnTo>
                    <a:pt x="69334" y="0"/>
                  </a:lnTo>
                  <a:close/>
                </a:path>
              </a:pathLst>
            </a:custGeom>
            <a:solidFill>
              <a:srgbClr val="0068E8">
                <a:alpha val="40000"/>
              </a:srgbClr>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4" name="Google Shape;556;p27"/>
            <p:cNvSpPr/>
            <p:nvPr/>
          </p:nvSpPr>
          <p:spPr>
            <a:xfrm>
              <a:off x="380175" y="1787675"/>
              <a:ext cx="6995250" cy="1992725"/>
            </a:xfrm>
            <a:custGeom>
              <a:avLst/>
              <a:gdLst/>
              <a:ahLst/>
              <a:cxnLst/>
              <a:rect l="l" t="t" r="r" b="b"/>
              <a:pathLst>
                <a:path w="279810" h="79709" extrusionOk="0">
                  <a:moveTo>
                    <a:pt x="208819" y="1271"/>
                  </a:moveTo>
                  <a:lnTo>
                    <a:pt x="231098" y="23549"/>
                  </a:lnTo>
                  <a:lnTo>
                    <a:pt x="270812" y="23549"/>
                  </a:lnTo>
                  <a:lnTo>
                    <a:pt x="278540" y="31277"/>
                  </a:lnTo>
                  <a:lnTo>
                    <a:pt x="278540" y="72498"/>
                  </a:lnTo>
                  <a:lnTo>
                    <a:pt x="272599" y="78439"/>
                  </a:lnTo>
                  <a:lnTo>
                    <a:pt x="7212" y="78439"/>
                  </a:lnTo>
                  <a:lnTo>
                    <a:pt x="1271" y="72498"/>
                  </a:lnTo>
                  <a:lnTo>
                    <a:pt x="1271" y="7212"/>
                  </a:lnTo>
                  <a:lnTo>
                    <a:pt x="7212" y="1271"/>
                  </a:lnTo>
                  <a:close/>
                  <a:moveTo>
                    <a:pt x="6695" y="1"/>
                  </a:moveTo>
                  <a:lnTo>
                    <a:pt x="1" y="6695"/>
                  </a:lnTo>
                  <a:lnTo>
                    <a:pt x="1" y="73014"/>
                  </a:lnTo>
                  <a:lnTo>
                    <a:pt x="6695" y="79709"/>
                  </a:lnTo>
                  <a:lnTo>
                    <a:pt x="273115" y="79709"/>
                  </a:lnTo>
                  <a:lnTo>
                    <a:pt x="279810" y="73014"/>
                  </a:lnTo>
                  <a:lnTo>
                    <a:pt x="279810" y="30782"/>
                  </a:lnTo>
                  <a:lnTo>
                    <a:pt x="271329" y="22279"/>
                  </a:lnTo>
                  <a:lnTo>
                    <a:pt x="231636" y="22279"/>
                  </a:lnTo>
                  <a:lnTo>
                    <a:pt x="209357" y="1"/>
                  </a:lnTo>
                  <a:close/>
                </a:path>
              </a:pathLst>
            </a:custGeom>
            <a:solidFill>
              <a:schemeClr val="bg1"/>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5" name="Google Shape;557;p27"/>
            <p:cNvSpPr/>
            <p:nvPr/>
          </p:nvSpPr>
          <p:spPr>
            <a:xfrm>
              <a:off x="238125" y="1961500"/>
              <a:ext cx="62975" cy="789475"/>
            </a:xfrm>
            <a:custGeom>
              <a:avLst/>
              <a:gdLst/>
              <a:ahLst/>
              <a:cxnLst/>
              <a:rect l="l" t="t" r="r" b="b"/>
              <a:pathLst>
                <a:path w="2519" h="31579" extrusionOk="0">
                  <a:moveTo>
                    <a:pt x="0" y="1"/>
                  </a:moveTo>
                  <a:lnTo>
                    <a:pt x="0" y="883"/>
                  </a:lnTo>
                  <a:lnTo>
                    <a:pt x="2518" y="883"/>
                  </a:lnTo>
                  <a:lnTo>
                    <a:pt x="2518" y="1"/>
                  </a:lnTo>
                  <a:close/>
                  <a:moveTo>
                    <a:pt x="0" y="3401"/>
                  </a:moveTo>
                  <a:lnTo>
                    <a:pt x="0" y="4284"/>
                  </a:lnTo>
                  <a:lnTo>
                    <a:pt x="2518" y="4284"/>
                  </a:lnTo>
                  <a:lnTo>
                    <a:pt x="2518" y="3401"/>
                  </a:lnTo>
                  <a:close/>
                  <a:moveTo>
                    <a:pt x="0" y="6824"/>
                  </a:moveTo>
                  <a:lnTo>
                    <a:pt x="0" y="7707"/>
                  </a:lnTo>
                  <a:lnTo>
                    <a:pt x="2518" y="7707"/>
                  </a:lnTo>
                  <a:lnTo>
                    <a:pt x="2518" y="6824"/>
                  </a:lnTo>
                  <a:close/>
                  <a:moveTo>
                    <a:pt x="0" y="10225"/>
                  </a:moveTo>
                  <a:lnTo>
                    <a:pt x="0" y="11108"/>
                  </a:lnTo>
                  <a:lnTo>
                    <a:pt x="2518" y="11108"/>
                  </a:lnTo>
                  <a:lnTo>
                    <a:pt x="2518" y="10225"/>
                  </a:lnTo>
                  <a:close/>
                  <a:moveTo>
                    <a:pt x="0" y="13626"/>
                  </a:moveTo>
                  <a:lnTo>
                    <a:pt x="0" y="14530"/>
                  </a:lnTo>
                  <a:lnTo>
                    <a:pt x="2518" y="14530"/>
                  </a:lnTo>
                  <a:lnTo>
                    <a:pt x="2518" y="13626"/>
                  </a:lnTo>
                  <a:close/>
                  <a:moveTo>
                    <a:pt x="0" y="17048"/>
                  </a:moveTo>
                  <a:lnTo>
                    <a:pt x="0" y="17931"/>
                  </a:lnTo>
                  <a:lnTo>
                    <a:pt x="2518" y="17931"/>
                  </a:lnTo>
                  <a:lnTo>
                    <a:pt x="2518" y="17048"/>
                  </a:lnTo>
                  <a:close/>
                  <a:moveTo>
                    <a:pt x="0" y="20449"/>
                  </a:moveTo>
                  <a:lnTo>
                    <a:pt x="0" y="21332"/>
                  </a:lnTo>
                  <a:lnTo>
                    <a:pt x="2518" y="21332"/>
                  </a:lnTo>
                  <a:lnTo>
                    <a:pt x="2518" y="20449"/>
                  </a:lnTo>
                  <a:close/>
                  <a:moveTo>
                    <a:pt x="0" y="23872"/>
                  </a:moveTo>
                  <a:lnTo>
                    <a:pt x="0" y="24755"/>
                  </a:lnTo>
                  <a:lnTo>
                    <a:pt x="2518" y="24755"/>
                  </a:lnTo>
                  <a:lnTo>
                    <a:pt x="2518" y="23872"/>
                  </a:lnTo>
                  <a:close/>
                  <a:moveTo>
                    <a:pt x="0" y="27273"/>
                  </a:moveTo>
                  <a:lnTo>
                    <a:pt x="0" y="28155"/>
                  </a:lnTo>
                  <a:lnTo>
                    <a:pt x="2518" y="28155"/>
                  </a:lnTo>
                  <a:lnTo>
                    <a:pt x="2518" y="27273"/>
                  </a:lnTo>
                  <a:close/>
                  <a:moveTo>
                    <a:pt x="0" y="30695"/>
                  </a:moveTo>
                  <a:lnTo>
                    <a:pt x="0" y="31578"/>
                  </a:lnTo>
                  <a:lnTo>
                    <a:pt x="2518" y="31578"/>
                  </a:lnTo>
                  <a:lnTo>
                    <a:pt x="2518" y="30695"/>
                  </a:lnTo>
                  <a:close/>
                </a:path>
              </a:pathLst>
            </a:custGeom>
            <a:solidFill>
              <a:srgbClr val="4D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6" name="Google Shape;558;p27"/>
            <p:cNvSpPr/>
            <p:nvPr/>
          </p:nvSpPr>
          <p:spPr>
            <a:xfrm>
              <a:off x="805300" y="1857650"/>
              <a:ext cx="388025" cy="332050"/>
            </a:xfrm>
            <a:custGeom>
              <a:avLst/>
              <a:gdLst/>
              <a:ahLst/>
              <a:cxnLst/>
              <a:rect l="l" t="t" r="r" b="b"/>
              <a:pathLst>
                <a:path w="15521" h="13282" extrusionOk="0">
                  <a:moveTo>
                    <a:pt x="13885" y="0"/>
                  </a:moveTo>
                  <a:cubicBezTo>
                    <a:pt x="8525" y="2583"/>
                    <a:pt x="3789" y="6286"/>
                    <a:pt x="1" y="10849"/>
                  </a:cubicBezTo>
                  <a:lnTo>
                    <a:pt x="2907" y="13281"/>
                  </a:lnTo>
                  <a:cubicBezTo>
                    <a:pt x="6351" y="9127"/>
                    <a:pt x="10656" y="5747"/>
                    <a:pt x="15521" y="3401"/>
                  </a:cubicBezTo>
                  <a:lnTo>
                    <a:pt x="13885" y="0"/>
                  </a:lnTo>
                  <a:close/>
                </a:path>
              </a:pathLst>
            </a:custGeom>
            <a:solidFill>
              <a:srgbClr val="0068E8">
                <a:alpha val="40000"/>
              </a:srgbClr>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7" name="Google Shape;559;p27"/>
            <p:cNvSpPr/>
            <p:nvPr/>
          </p:nvSpPr>
          <p:spPr>
            <a:xfrm>
              <a:off x="728350" y="3848725"/>
              <a:ext cx="3064700" cy="183525"/>
            </a:xfrm>
            <a:custGeom>
              <a:avLst/>
              <a:gdLst/>
              <a:ahLst/>
              <a:cxnLst/>
              <a:rect l="l" t="t" r="r" b="b"/>
              <a:pathLst>
                <a:path w="122588" h="7341" extrusionOk="0">
                  <a:moveTo>
                    <a:pt x="1" y="0"/>
                  </a:moveTo>
                  <a:lnTo>
                    <a:pt x="1" y="7341"/>
                  </a:lnTo>
                  <a:lnTo>
                    <a:pt x="1572" y="7341"/>
                  </a:lnTo>
                  <a:lnTo>
                    <a:pt x="1572" y="0"/>
                  </a:lnTo>
                  <a:close/>
                  <a:moveTo>
                    <a:pt x="3036" y="0"/>
                  </a:moveTo>
                  <a:lnTo>
                    <a:pt x="3036" y="7341"/>
                  </a:lnTo>
                  <a:lnTo>
                    <a:pt x="4586" y="7341"/>
                  </a:lnTo>
                  <a:lnTo>
                    <a:pt x="4586" y="0"/>
                  </a:lnTo>
                  <a:close/>
                  <a:moveTo>
                    <a:pt x="6049" y="0"/>
                  </a:moveTo>
                  <a:lnTo>
                    <a:pt x="6049" y="7341"/>
                  </a:lnTo>
                  <a:lnTo>
                    <a:pt x="7621" y="7341"/>
                  </a:lnTo>
                  <a:lnTo>
                    <a:pt x="7621" y="0"/>
                  </a:lnTo>
                  <a:close/>
                  <a:moveTo>
                    <a:pt x="9084" y="0"/>
                  </a:moveTo>
                  <a:lnTo>
                    <a:pt x="9084" y="7341"/>
                  </a:lnTo>
                  <a:lnTo>
                    <a:pt x="10634" y="7341"/>
                  </a:lnTo>
                  <a:lnTo>
                    <a:pt x="10634" y="0"/>
                  </a:lnTo>
                  <a:close/>
                  <a:moveTo>
                    <a:pt x="12119" y="0"/>
                  </a:moveTo>
                  <a:lnTo>
                    <a:pt x="12119" y="7341"/>
                  </a:lnTo>
                  <a:lnTo>
                    <a:pt x="13669" y="7341"/>
                  </a:lnTo>
                  <a:lnTo>
                    <a:pt x="13669" y="0"/>
                  </a:lnTo>
                  <a:close/>
                  <a:moveTo>
                    <a:pt x="15133" y="0"/>
                  </a:moveTo>
                  <a:lnTo>
                    <a:pt x="15133" y="7341"/>
                  </a:lnTo>
                  <a:lnTo>
                    <a:pt x="16704" y="7341"/>
                  </a:lnTo>
                  <a:lnTo>
                    <a:pt x="16704" y="0"/>
                  </a:lnTo>
                  <a:close/>
                  <a:moveTo>
                    <a:pt x="18168" y="0"/>
                  </a:moveTo>
                  <a:lnTo>
                    <a:pt x="18168" y="7341"/>
                  </a:lnTo>
                  <a:lnTo>
                    <a:pt x="19718" y="7341"/>
                  </a:lnTo>
                  <a:lnTo>
                    <a:pt x="19718" y="0"/>
                  </a:lnTo>
                  <a:close/>
                  <a:moveTo>
                    <a:pt x="21182" y="0"/>
                  </a:moveTo>
                  <a:lnTo>
                    <a:pt x="21182" y="7341"/>
                  </a:lnTo>
                  <a:lnTo>
                    <a:pt x="22753" y="7341"/>
                  </a:lnTo>
                  <a:lnTo>
                    <a:pt x="22753" y="0"/>
                  </a:lnTo>
                  <a:close/>
                  <a:moveTo>
                    <a:pt x="24217" y="0"/>
                  </a:moveTo>
                  <a:lnTo>
                    <a:pt x="24217" y="7341"/>
                  </a:lnTo>
                  <a:lnTo>
                    <a:pt x="25767" y="7341"/>
                  </a:lnTo>
                  <a:lnTo>
                    <a:pt x="25767" y="0"/>
                  </a:lnTo>
                  <a:close/>
                  <a:moveTo>
                    <a:pt x="27230" y="0"/>
                  </a:moveTo>
                  <a:lnTo>
                    <a:pt x="27230" y="7341"/>
                  </a:lnTo>
                  <a:lnTo>
                    <a:pt x="28802" y="7341"/>
                  </a:lnTo>
                  <a:lnTo>
                    <a:pt x="28802" y="0"/>
                  </a:lnTo>
                  <a:close/>
                  <a:moveTo>
                    <a:pt x="30265" y="0"/>
                  </a:moveTo>
                  <a:lnTo>
                    <a:pt x="30265" y="7341"/>
                  </a:lnTo>
                  <a:lnTo>
                    <a:pt x="31815" y="7341"/>
                  </a:lnTo>
                  <a:lnTo>
                    <a:pt x="31815" y="0"/>
                  </a:lnTo>
                  <a:close/>
                  <a:moveTo>
                    <a:pt x="33300" y="0"/>
                  </a:moveTo>
                  <a:lnTo>
                    <a:pt x="33300" y="7341"/>
                  </a:lnTo>
                  <a:lnTo>
                    <a:pt x="34850" y="7341"/>
                  </a:lnTo>
                  <a:lnTo>
                    <a:pt x="34850" y="0"/>
                  </a:lnTo>
                  <a:close/>
                  <a:moveTo>
                    <a:pt x="36314" y="0"/>
                  </a:moveTo>
                  <a:lnTo>
                    <a:pt x="36314" y="7341"/>
                  </a:lnTo>
                  <a:lnTo>
                    <a:pt x="37885" y="7341"/>
                  </a:lnTo>
                  <a:lnTo>
                    <a:pt x="37885" y="0"/>
                  </a:lnTo>
                  <a:close/>
                  <a:moveTo>
                    <a:pt x="39349" y="0"/>
                  </a:moveTo>
                  <a:lnTo>
                    <a:pt x="39349" y="7341"/>
                  </a:lnTo>
                  <a:lnTo>
                    <a:pt x="40899" y="7341"/>
                  </a:lnTo>
                  <a:lnTo>
                    <a:pt x="40899" y="0"/>
                  </a:lnTo>
                  <a:close/>
                  <a:moveTo>
                    <a:pt x="42363" y="0"/>
                  </a:moveTo>
                  <a:lnTo>
                    <a:pt x="42363" y="7341"/>
                  </a:lnTo>
                  <a:lnTo>
                    <a:pt x="43934" y="7341"/>
                  </a:lnTo>
                  <a:lnTo>
                    <a:pt x="43934" y="0"/>
                  </a:lnTo>
                  <a:close/>
                  <a:moveTo>
                    <a:pt x="45398" y="0"/>
                  </a:moveTo>
                  <a:lnTo>
                    <a:pt x="45398" y="7341"/>
                  </a:lnTo>
                  <a:lnTo>
                    <a:pt x="46948" y="7341"/>
                  </a:lnTo>
                  <a:lnTo>
                    <a:pt x="46948" y="0"/>
                  </a:lnTo>
                  <a:close/>
                  <a:moveTo>
                    <a:pt x="48411" y="0"/>
                  </a:moveTo>
                  <a:lnTo>
                    <a:pt x="48411" y="7341"/>
                  </a:lnTo>
                  <a:lnTo>
                    <a:pt x="49983" y="7341"/>
                  </a:lnTo>
                  <a:lnTo>
                    <a:pt x="49983" y="0"/>
                  </a:lnTo>
                  <a:close/>
                  <a:moveTo>
                    <a:pt x="51446" y="0"/>
                  </a:moveTo>
                  <a:lnTo>
                    <a:pt x="51446" y="7341"/>
                  </a:lnTo>
                  <a:lnTo>
                    <a:pt x="52996" y="7341"/>
                  </a:lnTo>
                  <a:lnTo>
                    <a:pt x="52996" y="0"/>
                  </a:lnTo>
                  <a:close/>
                  <a:moveTo>
                    <a:pt x="54482" y="0"/>
                  </a:moveTo>
                  <a:lnTo>
                    <a:pt x="54482" y="7341"/>
                  </a:lnTo>
                  <a:lnTo>
                    <a:pt x="56031" y="7341"/>
                  </a:lnTo>
                  <a:lnTo>
                    <a:pt x="56031" y="0"/>
                  </a:lnTo>
                  <a:close/>
                  <a:moveTo>
                    <a:pt x="57495" y="0"/>
                  </a:moveTo>
                  <a:lnTo>
                    <a:pt x="57495" y="7341"/>
                  </a:lnTo>
                  <a:lnTo>
                    <a:pt x="59045" y="7341"/>
                  </a:lnTo>
                  <a:lnTo>
                    <a:pt x="59045" y="0"/>
                  </a:lnTo>
                  <a:close/>
                  <a:moveTo>
                    <a:pt x="60530" y="0"/>
                  </a:moveTo>
                  <a:lnTo>
                    <a:pt x="60530" y="7341"/>
                  </a:lnTo>
                  <a:lnTo>
                    <a:pt x="62080" y="7341"/>
                  </a:lnTo>
                  <a:lnTo>
                    <a:pt x="62080" y="0"/>
                  </a:lnTo>
                  <a:close/>
                  <a:moveTo>
                    <a:pt x="63544" y="0"/>
                  </a:moveTo>
                  <a:lnTo>
                    <a:pt x="63544" y="7341"/>
                  </a:lnTo>
                  <a:lnTo>
                    <a:pt x="65115" y="7341"/>
                  </a:lnTo>
                  <a:lnTo>
                    <a:pt x="65115" y="0"/>
                  </a:lnTo>
                  <a:close/>
                  <a:moveTo>
                    <a:pt x="66579" y="0"/>
                  </a:moveTo>
                  <a:lnTo>
                    <a:pt x="66579" y="7341"/>
                  </a:lnTo>
                  <a:lnTo>
                    <a:pt x="68129" y="7341"/>
                  </a:lnTo>
                  <a:lnTo>
                    <a:pt x="68129" y="0"/>
                  </a:lnTo>
                  <a:close/>
                  <a:moveTo>
                    <a:pt x="69592" y="0"/>
                  </a:moveTo>
                  <a:lnTo>
                    <a:pt x="69592" y="7341"/>
                  </a:lnTo>
                  <a:lnTo>
                    <a:pt x="71164" y="7341"/>
                  </a:lnTo>
                  <a:lnTo>
                    <a:pt x="71164" y="0"/>
                  </a:lnTo>
                  <a:close/>
                  <a:moveTo>
                    <a:pt x="72627" y="0"/>
                  </a:moveTo>
                  <a:lnTo>
                    <a:pt x="72627" y="7341"/>
                  </a:lnTo>
                  <a:lnTo>
                    <a:pt x="74177" y="7341"/>
                  </a:lnTo>
                  <a:lnTo>
                    <a:pt x="74177" y="0"/>
                  </a:lnTo>
                  <a:close/>
                  <a:moveTo>
                    <a:pt x="75641" y="0"/>
                  </a:moveTo>
                  <a:lnTo>
                    <a:pt x="75641" y="7341"/>
                  </a:lnTo>
                  <a:lnTo>
                    <a:pt x="77191" y="7341"/>
                  </a:lnTo>
                  <a:lnTo>
                    <a:pt x="77212" y="0"/>
                  </a:lnTo>
                  <a:close/>
                  <a:moveTo>
                    <a:pt x="78676" y="0"/>
                  </a:moveTo>
                  <a:lnTo>
                    <a:pt x="78676" y="7341"/>
                  </a:lnTo>
                  <a:lnTo>
                    <a:pt x="80226" y="7341"/>
                  </a:lnTo>
                  <a:lnTo>
                    <a:pt x="80226" y="0"/>
                  </a:lnTo>
                  <a:close/>
                  <a:moveTo>
                    <a:pt x="81711" y="0"/>
                  </a:moveTo>
                  <a:lnTo>
                    <a:pt x="81711" y="7341"/>
                  </a:lnTo>
                  <a:lnTo>
                    <a:pt x="83261" y="7341"/>
                  </a:lnTo>
                  <a:lnTo>
                    <a:pt x="83261" y="0"/>
                  </a:lnTo>
                  <a:close/>
                  <a:moveTo>
                    <a:pt x="84725" y="0"/>
                  </a:moveTo>
                  <a:lnTo>
                    <a:pt x="84725" y="7341"/>
                  </a:lnTo>
                  <a:lnTo>
                    <a:pt x="86296" y="7341"/>
                  </a:lnTo>
                  <a:lnTo>
                    <a:pt x="86296" y="0"/>
                  </a:lnTo>
                  <a:close/>
                  <a:moveTo>
                    <a:pt x="87760" y="0"/>
                  </a:moveTo>
                  <a:lnTo>
                    <a:pt x="87760" y="7341"/>
                  </a:lnTo>
                  <a:lnTo>
                    <a:pt x="89310" y="7341"/>
                  </a:lnTo>
                  <a:lnTo>
                    <a:pt x="89310" y="0"/>
                  </a:lnTo>
                  <a:close/>
                  <a:moveTo>
                    <a:pt x="90773" y="0"/>
                  </a:moveTo>
                  <a:lnTo>
                    <a:pt x="90773" y="7341"/>
                  </a:lnTo>
                  <a:lnTo>
                    <a:pt x="92345" y="7341"/>
                  </a:lnTo>
                  <a:lnTo>
                    <a:pt x="92345" y="0"/>
                  </a:lnTo>
                  <a:close/>
                  <a:moveTo>
                    <a:pt x="93808" y="0"/>
                  </a:moveTo>
                  <a:lnTo>
                    <a:pt x="93808" y="7341"/>
                  </a:lnTo>
                  <a:lnTo>
                    <a:pt x="95358" y="7341"/>
                  </a:lnTo>
                  <a:lnTo>
                    <a:pt x="95358" y="0"/>
                  </a:lnTo>
                  <a:close/>
                  <a:moveTo>
                    <a:pt x="96822" y="0"/>
                  </a:moveTo>
                  <a:lnTo>
                    <a:pt x="96822" y="7341"/>
                  </a:lnTo>
                  <a:lnTo>
                    <a:pt x="98393" y="7341"/>
                  </a:lnTo>
                  <a:lnTo>
                    <a:pt x="98393" y="0"/>
                  </a:lnTo>
                  <a:close/>
                  <a:moveTo>
                    <a:pt x="99857" y="0"/>
                  </a:moveTo>
                  <a:lnTo>
                    <a:pt x="99857" y="7341"/>
                  </a:lnTo>
                  <a:lnTo>
                    <a:pt x="101407" y="7341"/>
                  </a:lnTo>
                  <a:lnTo>
                    <a:pt x="101407" y="0"/>
                  </a:lnTo>
                  <a:close/>
                  <a:moveTo>
                    <a:pt x="102871" y="0"/>
                  </a:moveTo>
                  <a:lnTo>
                    <a:pt x="102871" y="7341"/>
                  </a:lnTo>
                  <a:lnTo>
                    <a:pt x="104442" y="7341"/>
                  </a:lnTo>
                  <a:lnTo>
                    <a:pt x="104442" y="0"/>
                  </a:lnTo>
                  <a:close/>
                  <a:moveTo>
                    <a:pt x="105906" y="0"/>
                  </a:moveTo>
                  <a:lnTo>
                    <a:pt x="105906" y="7341"/>
                  </a:lnTo>
                  <a:lnTo>
                    <a:pt x="107456" y="7341"/>
                  </a:lnTo>
                  <a:lnTo>
                    <a:pt x="107456" y="0"/>
                  </a:lnTo>
                  <a:close/>
                  <a:moveTo>
                    <a:pt x="108919" y="0"/>
                  </a:moveTo>
                  <a:lnTo>
                    <a:pt x="108919" y="7341"/>
                  </a:lnTo>
                  <a:lnTo>
                    <a:pt x="110491" y="7341"/>
                  </a:lnTo>
                  <a:lnTo>
                    <a:pt x="110491" y="0"/>
                  </a:lnTo>
                  <a:close/>
                  <a:moveTo>
                    <a:pt x="111976" y="0"/>
                  </a:moveTo>
                  <a:lnTo>
                    <a:pt x="111976" y="7341"/>
                  </a:lnTo>
                  <a:lnTo>
                    <a:pt x="113526" y="7341"/>
                  </a:lnTo>
                  <a:lnTo>
                    <a:pt x="113504" y="0"/>
                  </a:lnTo>
                  <a:close/>
                  <a:moveTo>
                    <a:pt x="114989" y="0"/>
                  </a:moveTo>
                  <a:lnTo>
                    <a:pt x="114989" y="7341"/>
                  </a:lnTo>
                  <a:lnTo>
                    <a:pt x="116539" y="7341"/>
                  </a:lnTo>
                  <a:lnTo>
                    <a:pt x="116539" y="0"/>
                  </a:lnTo>
                  <a:close/>
                  <a:moveTo>
                    <a:pt x="118003" y="0"/>
                  </a:moveTo>
                  <a:lnTo>
                    <a:pt x="118003" y="7341"/>
                  </a:lnTo>
                  <a:lnTo>
                    <a:pt x="119574" y="7341"/>
                  </a:lnTo>
                  <a:lnTo>
                    <a:pt x="119574" y="0"/>
                  </a:lnTo>
                  <a:close/>
                  <a:moveTo>
                    <a:pt x="121038" y="0"/>
                  </a:moveTo>
                  <a:lnTo>
                    <a:pt x="121038" y="7341"/>
                  </a:lnTo>
                  <a:lnTo>
                    <a:pt x="122588" y="7341"/>
                  </a:lnTo>
                  <a:lnTo>
                    <a:pt x="122588" y="0"/>
                  </a:lnTo>
                  <a:close/>
                </a:path>
              </a:pathLst>
            </a:custGeom>
            <a:solidFill>
              <a:srgbClr val="35439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8" name="Google Shape;560;p27"/>
            <p:cNvSpPr/>
            <p:nvPr/>
          </p:nvSpPr>
          <p:spPr>
            <a:xfrm>
              <a:off x="3877525" y="3848175"/>
              <a:ext cx="1971750" cy="31775"/>
            </a:xfrm>
            <a:custGeom>
              <a:avLst/>
              <a:gdLst/>
              <a:ahLst/>
              <a:cxnLst/>
              <a:rect l="l" t="t" r="r" b="b"/>
              <a:pathLst>
                <a:path w="78870" h="1271" extrusionOk="0">
                  <a:moveTo>
                    <a:pt x="0" y="1"/>
                  </a:moveTo>
                  <a:lnTo>
                    <a:pt x="0" y="1271"/>
                  </a:lnTo>
                  <a:lnTo>
                    <a:pt x="78870" y="1271"/>
                  </a:lnTo>
                  <a:lnTo>
                    <a:pt x="78870" y="1"/>
                  </a:lnTo>
                  <a:close/>
                </a:path>
              </a:pathLst>
            </a:custGeom>
            <a:solidFill>
              <a:srgbClr val="0068E8">
                <a:alpha val="40000"/>
              </a:srgbClr>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9" name="Google Shape;561;p27"/>
            <p:cNvSpPr/>
            <p:nvPr/>
          </p:nvSpPr>
          <p:spPr>
            <a:xfrm>
              <a:off x="858050" y="2044375"/>
              <a:ext cx="1478825" cy="1479350"/>
            </a:xfrm>
            <a:custGeom>
              <a:avLst/>
              <a:gdLst/>
              <a:ahLst/>
              <a:cxnLst/>
              <a:rect l="l" t="t" r="r" b="b"/>
              <a:pathLst>
                <a:path w="59153" h="59174" extrusionOk="0">
                  <a:moveTo>
                    <a:pt x="29576" y="0"/>
                  </a:moveTo>
                  <a:lnTo>
                    <a:pt x="29576" y="1270"/>
                  </a:lnTo>
                  <a:lnTo>
                    <a:pt x="30071" y="1270"/>
                  </a:lnTo>
                  <a:lnTo>
                    <a:pt x="30093" y="0"/>
                  </a:lnTo>
                  <a:close/>
                  <a:moveTo>
                    <a:pt x="28285" y="22"/>
                  </a:moveTo>
                  <a:lnTo>
                    <a:pt x="27790" y="43"/>
                  </a:lnTo>
                  <a:lnTo>
                    <a:pt x="27854" y="1313"/>
                  </a:lnTo>
                  <a:lnTo>
                    <a:pt x="28349" y="1292"/>
                  </a:lnTo>
                  <a:lnTo>
                    <a:pt x="28285" y="22"/>
                  </a:lnTo>
                  <a:close/>
                  <a:moveTo>
                    <a:pt x="31384" y="65"/>
                  </a:moveTo>
                  <a:lnTo>
                    <a:pt x="31298" y="1313"/>
                  </a:lnTo>
                  <a:lnTo>
                    <a:pt x="31793" y="1356"/>
                  </a:lnTo>
                  <a:lnTo>
                    <a:pt x="31901" y="86"/>
                  </a:lnTo>
                  <a:lnTo>
                    <a:pt x="31384" y="65"/>
                  </a:lnTo>
                  <a:close/>
                  <a:moveTo>
                    <a:pt x="26520" y="151"/>
                  </a:moveTo>
                  <a:lnTo>
                    <a:pt x="26003" y="216"/>
                  </a:lnTo>
                  <a:lnTo>
                    <a:pt x="26154" y="1464"/>
                  </a:lnTo>
                  <a:lnTo>
                    <a:pt x="26649" y="1421"/>
                  </a:lnTo>
                  <a:lnTo>
                    <a:pt x="26520" y="151"/>
                  </a:lnTo>
                  <a:close/>
                  <a:moveTo>
                    <a:pt x="33192" y="216"/>
                  </a:moveTo>
                  <a:lnTo>
                    <a:pt x="33042" y="1464"/>
                  </a:lnTo>
                  <a:lnTo>
                    <a:pt x="33537" y="1529"/>
                  </a:lnTo>
                  <a:lnTo>
                    <a:pt x="33709" y="280"/>
                  </a:lnTo>
                  <a:lnTo>
                    <a:pt x="33192" y="216"/>
                  </a:lnTo>
                  <a:close/>
                  <a:moveTo>
                    <a:pt x="24711" y="388"/>
                  </a:moveTo>
                  <a:lnTo>
                    <a:pt x="24216" y="495"/>
                  </a:lnTo>
                  <a:lnTo>
                    <a:pt x="24453" y="1722"/>
                  </a:lnTo>
                  <a:lnTo>
                    <a:pt x="24927" y="1636"/>
                  </a:lnTo>
                  <a:lnTo>
                    <a:pt x="24711" y="388"/>
                  </a:lnTo>
                  <a:close/>
                  <a:moveTo>
                    <a:pt x="34979" y="474"/>
                  </a:moveTo>
                  <a:lnTo>
                    <a:pt x="34742" y="1722"/>
                  </a:lnTo>
                  <a:lnTo>
                    <a:pt x="35237" y="1809"/>
                  </a:lnTo>
                  <a:lnTo>
                    <a:pt x="35474" y="603"/>
                  </a:lnTo>
                  <a:lnTo>
                    <a:pt x="34979" y="474"/>
                  </a:lnTo>
                  <a:close/>
                  <a:moveTo>
                    <a:pt x="22968" y="732"/>
                  </a:moveTo>
                  <a:lnTo>
                    <a:pt x="22451" y="861"/>
                  </a:lnTo>
                  <a:lnTo>
                    <a:pt x="22753" y="2088"/>
                  </a:lnTo>
                  <a:lnTo>
                    <a:pt x="23226" y="1959"/>
                  </a:lnTo>
                  <a:lnTo>
                    <a:pt x="22968" y="732"/>
                  </a:lnTo>
                  <a:close/>
                  <a:moveTo>
                    <a:pt x="36744" y="861"/>
                  </a:moveTo>
                  <a:lnTo>
                    <a:pt x="36443" y="2088"/>
                  </a:lnTo>
                  <a:lnTo>
                    <a:pt x="36916" y="2217"/>
                  </a:lnTo>
                  <a:lnTo>
                    <a:pt x="37239" y="991"/>
                  </a:lnTo>
                  <a:lnTo>
                    <a:pt x="36744" y="861"/>
                  </a:lnTo>
                  <a:close/>
                  <a:moveTo>
                    <a:pt x="21203" y="1206"/>
                  </a:moveTo>
                  <a:lnTo>
                    <a:pt x="20708" y="1356"/>
                  </a:lnTo>
                  <a:lnTo>
                    <a:pt x="21074" y="2562"/>
                  </a:lnTo>
                  <a:lnTo>
                    <a:pt x="21569" y="2411"/>
                  </a:lnTo>
                  <a:lnTo>
                    <a:pt x="21203" y="1206"/>
                  </a:lnTo>
                  <a:close/>
                  <a:moveTo>
                    <a:pt x="38488" y="1378"/>
                  </a:moveTo>
                  <a:lnTo>
                    <a:pt x="38100" y="2583"/>
                  </a:lnTo>
                  <a:lnTo>
                    <a:pt x="38574" y="2734"/>
                  </a:lnTo>
                  <a:lnTo>
                    <a:pt x="38961" y="1529"/>
                  </a:lnTo>
                  <a:lnTo>
                    <a:pt x="38488" y="1378"/>
                  </a:lnTo>
                  <a:close/>
                  <a:moveTo>
                    <a:pt x="19481" y="1765"/>
                  </a:moveTo>
                  <a:lnTo>
                    <a:pt x="19007" y="1938"/>
                  </a:lnTo>
                  <a:lnTo>
                    <a:pt x="19459" y="3143"/>
                  </a:lnTo>
                  <a:lnTo>
                    <a:pt x="19933" y="2949"/>
                  </a:lnTo>
                  <a:lnTo>
                    <a:pt x="19481" y="1765"/>
                  </a:lnTo>
                  <a:close/>
                  <a:moveTo>
                    <a:pt x="40188" y="1959"/>
                  </a:moveTo>
                  <a:lnTo>
                    <a:pt x="39736" y="3143"/>
                  </a:lnTo>
                  <a:lnTo>
                    <a:pt x="40210" y="3337"/>
                  </a:lnTo>
                  <a:lnTo>
                    <a:pt x="40683" y="2153"/>
                  </a:lnTo>
                  <a:lnTo>
                    <a:pt x="40188" y="1959"/>
                  </a:lnTo>
                  <a:close/>
                  <a:moveTo>
                    <a:pt x="17823" y="2433"/>
                  </a:moveTo>
                  <a:lnTo>
                    <a:pt x="17350" y="2648"/>
                  </a:lnTo>
                  <a:lnTo>
                    <a:pt x="17866" y="3810"/>
                  </a:lnTo>
                  <a:lnTo>
                    <a:pt x="18318" y="3595"/>
                  </a:lnTo>
                  <a:lnTo>
                    <a:pt x="17823" y="2433"/>
                  </a:lnTo>
                  <a:close/>
                  <a:moveTo>
                    <a:pt x="41867" y="2670"/>
                  </a:moveTo>
                  <a:lnTo>
                    <a:pt x="41329" y="3810"/>
                  </a:lnTo>
                  <a:lnTo>
                    <a:pt x="41781" y="4026"/>
                  </a:lnTo>
                  <a:lnTo>
                    <a:pt x="42341" y="2885"/>
                  </a:lnTo>
                  <a:lnTo>
                    <a:pt x="41867" y="2670"/>
                  </a:lnTo>
                  <a:close/>
                  <a:moveTo>
                    <a:pt x="16187" y="3208"/>
                  </a:moveTo>
                  <a:lnTo>
                    <a:pt x="15735" y="3444"/>
                  </a:lnTo>
                  <a:lnTo>
                    <a:pt x="16317" y="4564"/>
                  </a:lnTo>
                  <a:lnTo>
                    <a:pt x="16769" y="4327"/>
                  </a:lnTo>
                  <a:lnTo>
                    <a:pt x="16187" y="3208"/>
                  </a:lnTo>
                  <a:close/>
                  <a:moveTo>
                    <a:pt x="43460" y="3466"/>
                  </a:moveTo>
                  <a:lnTo>
                    <a:pt x="42879" y="4564"/>
                  </a:lnTo>
                  <a:lnTo>
                    <a:pt x="43309" y="4801"/>
                  </a:lnTo>
                  <a:lnTo>
                    <a:pt x="43912" y="3703"/>
                  </a:lnTo>
                  <a:lnTo>
                    <a:pt x="43460" y="3466"/>
                  </a:lnTo>
                  <a:close/>
                  <a:moveTo>
                    <a:pt x="14595" y="4069"/>
                  </a:moveTo>
                  <a:lnTo>
                    <a:pt x="14164" y="4348"/>
                  </a:lnTo>
                  <a:lnTo>
                    <a:pt x="14831" y="5425"/>
                  </a:lnTo>
                  <a:lnTo>
                    <a:pt x="15240" y="5166"/>
                  </a:lnTo>
                  <a:lnTo>
                    <a:pt x="14595" y="4069"/>
                  </a:lnTo>
                  <a:close/>
                  <a:moveTo>
                    <a:pt x="45031" y="4348"/>
                  </a:moveTo>
                  <a:lnTo>
                    <a:pt x="44364" y="5425"/>
                  </a:lnTo>
                  <a:lnTo>
                    <a:pt x="44795" y="5683"/>
                  </a:lnTo>
                  <a:lnTo>
                    <a:pt x="45462" y="4607"/>
                  </a:lnTo>
                  <a:lnTo>
                    <a:pt x="45031" y="4348"/>
                  </a:lnTo>
                  <a:close/>
                  <a:moveTo>
                    <a:pt x="13066" y="5037"/>
                  </a:moveTo>
                  <a:lnTo>
                    <a:pt x="12657" y="5339"/>
                  </a:lnTo>
                  <a:lnTo>
                    <a:pt x="13368" y="6350"/>
                  </a:lnTo>
                  <a:lnTo>
                    <a:pt x="13777" y="6092"/>
                  </a:lnTo>
                  <a:lnTo>
                    <a:pt x="13066" y="5037"/>
                  </a:lnTo>
                  <a:close/>
                  <a:moveTo>
                    <a:pt x="46517" y="5339"/>
                  </a:moveTo>
                  <a:lnTo>
                    <a:pt x="45806" y="6372"/>
                  </a:lnTo>
                  <a:lnTo>
                    <a:pt x="46194" y="6652"/>
                  </a:lnTo>
                  <a:lnTo>
                    <a:pt x="46947" y="5640"/>
                  </a:lnTo>
                  <a:lnTo>
                    <a:pt x="46517" y="5339"/>
                  </a:lnTo>
                  <a:close/>
                  <a:moveTo>
                    <a:pt x="11602" y="6092"/>
                  </a:moveTo>
                  <a:lnTo>
                    <a:pt x="11194" y="6415"/>
                  </a:lnTo>
                  <a:lnTo>
                    <a:pt x="11968" y="7405"/>
                  </a:lnTo>
                  <a:lnTo>
                    <a:pt x="12356" y="7082"/>
                  </a:lnTo>
                  <a:lnTo>
                    <a:pt x="11602" y="6092"/>
                  </a:lnTo>
                  <a:close/>
                  <a:moveTo>
                    <a:pt x="47959" y="6415"/>
                  </a:moveTo>
                  <a:lnTo>
                    <a:pt x="47184" y="7405"/>
                  </a:lnTo>
                  <a:lnTo>
                    <a:pt x="47571" y="7706"/>
                  </a:lnTo>
                  <a:lnTo>
                    <a:pt x="48368" y="6738"/>
                  </a:lnTo>
                  <a:lnTo>
                    <a:pt x="47959" y="6415"/>
                  </a:lnTo>
                  <a:close/>
                  <a:moveTo>
                    <a:pt x="10203" y="7233"/>
                  </a:moveTo>
                  <a:cubicBezTo>
                    <a:pt x="10074" y="7340"/>
                    <a:pt x="9945" y="7470"/>
                    <a:pt x="9816" y="7577"/>
                  </a:cubicBezTo>
                  <a:lnTo>
                    <a:pt x="10655" y="8524"/>
                  </a:lnTo>
                  <a:lnTo>
                    <a:pt x="10655" y="8503"/>
                  </a:lnTo>
                  <a:cubicBezTo>
                    <a:pt x="10785" y="8395"/>
                    <a:pt x="10892" y="8288"/>
                    <a:pt x="11021" y="8201"/>
                  </a:cubicBezTo>
                  <a:lnTo>
                    <a:pt x="10203" y="7233"/>
                  </a:lnTo>
                  <a:close/>
                  <a:moveTo>
                    <a:pt x="49337" y="7577"/>
                  </a:moveTo>
                  <a:lnTo>
                    <a:pt x="48497" y="8524"/>
                  </a:lnTo>
                  <a:lnTo>
                    <a:pt x="48863" y="8847"/>
                  </a:lnTo>
                  <a:lnTo>
                    <a:pt x="49724" y="7922"/>
                  </a:lnTo>
                  <a:lnTo>
                    <a:pt x="49337" y="7577"/>
                  </a:lnTo>
                  <a:close/>
                  <a:moveTo>
                    <a:pt x="8869" y="8460"/>
                  </a:moveTo>
                  <a:cubicBezTo>
                    <a:pt x="8761" y="8589"/>
                    <a:pt x="8632" y="8697"/>
                    <a:pt x="8503" y="8826"/>
                  </a:cubicBezTo>
                  <a:lnTo>
                    <a:pt x="9407" y="9708"/>
                  </a:lnTo>
                  <a:cubicBezTo>
                    <a:pt x="9515" y="9579"/>
                    <a:pt x="9644" y="9471"/>
                    <a:pt x="9751" y="9364"/>
                  </a:cubicBezTo>
                  <a:lnTo>
                    <a:pt x="8869" y="8460"/>
                  </a:lnTo>
                  <a:close/>
                  <a:moveTo>
                    <a:pt x="50650" y="8826"/>
                  </a:moveTo>
                  <a:lnTo>
                    <a:pt x="49746" y="9708"/>
                  </a:lnTo>
                  <a:lnTo>
                    <a:pt x="50090" y="10074"/>
                  </a:lnTo>
                  <a:lnTo>
                    <a:pt x="51016" y="9192"/>
                  </a:lnTo>
                  <a:lnTo>
                    <a:pt x="50650" y="8826"/>
                  </a:lnTo>
                  <a:close/>
                  <a:moveTo>
                    <a:pt x="7620" y="9751"/>
                  </a:moveTo>
                  <a:lnTo>
                    <a:pt x="7276" y="10139"/>
                  </a:lnTo>
                  <a:lnTo>
                    <a:pt x="8223" y="10978"/>
                  </a:lnTo>
                  <a:lnTo>
                    <a:pt x="8567" y="10612"/>
                  </a:lnTo>
                  <a:lnTo>
                    <a:pt x="7620" y="9751"/>
                  </a:lnTo>
                  <a:close/>
                  <a:moveTo>
                    <a:pt x="51877" y="10160"/>
                  </a:moveTo>
                  <a:lnTo>
                    <a:pt x="50929" y="10978"/>
                  </a:lnTo>
                  <a:lnTo>
                    <a:pt x="51252" y="11366"/>
                  </a:lnTo>
                  <a:lnTo>
                    <a:pt x="52199" y="10548"/>
                  </a:lnTo>
                  <a:lnTo>
                    <a:pt x="51877" y="10160"/>
                  </a:lnTo>
                  <a:close/>
                  <a:moveTo>
                    <a:pt x="6458" y="11129"/>
                  </a:moveTo>
                  <a:lnTo>
                    <a:pt x="6157" y="11538"/>
                  </a:lnTo>
                  <a:lnTo>
                    <a:pt x="7147" y="12313"/>
                  </a:lnTo>
                  <a:lnTo>
                    <a:pt x="7448" y="11904"/>
                  </a:lnTo>
                  <a:lnTo>
                    <a:pt x="6458" y="11129"/>
                  </a:lnTo>
                  <a:close/>
                  <a:moveTo>
                    <a:pt x="53017" y="11538"/>
                  </a:moveTo>
                  <a:lnTo>
                    <a:pt x="52027" y="12313"/>
                  </a:lnTo>
                  <a:lnTo>
                    <a:pt x="52329" y="12700"/>
                  </a:lnTo>
                  <a:lnTo>
                    <a:pt x="53340" y="11947"/>
                  </a:lnTo>
                  <a:lnTo>
                    <a:pt x="53017" y="11538"/>
                  </a:lnTo>
                  <a:close/>
                  <a:moveTo>
                    <a:pt x="5360" y="12571"/>
                  </a:moveTo>
                  <a:lnTo>
                    <a:pt x="5080" y="12980"/>
                  </a:lnTo>
                  <a:lnTo>
                    <a:pt x="6135" y="13690"/>
                  </a:lnTo>
                  <a:lnTo>
                    <a:pt x="6393" y="13303"/>
                  </a:lnTo>
                  <a:lnTo>
                    <a:pt x="5360" y="12571"/>
                  </a:lnTo>
                  <a:close/>
                  <a:moveTo>
                    <a:pt x="54072" y="12980"/>
                  </a:moveTo>
                  <a:lnTo>
                    <a:pt x="53039" y="13690"/>
                  </a:lnTo>
                  <a:lnTo>
                    <a:pt x="53297" y="14099"/>
                  </a:lnTo>
                  <a:lnTo>
                    <a:pt x="54374" y="13411"/>
                  </a:lnTo>
                  <a:lnTo>
                    <a:pt x="54072" y="12980"/>
                  </a:lnTo>
                  <a:close/>
                  <a:moveTo>
                    <a:pt x="4391" y="14056"/>
                  </a:moveTo>
                  <a:lnTo>
                    <a:pt x="4133" y="14508"/>
                  </a:lnTo>
                  <a:lnTo>
                    <a:pt x="5209" y="15133"/>
                  </a:lnTo>
                  <a:lnTo>
                    <a:pt x="5468" y="14724"/>
                  </a:lnTo>
                  <a:lnTo>
                    <a:pt x="4391" y="14056"/>
                  </a:lnTo>
                  <a:close/>
                  <a:moveTo>
                    <a:pt x="55041" y="14508"/>
                  </a:moveTo>
                  <a:lnTo>
                    <a:pt x="53965" y="15154"/>
                  </a:lnTo>
                  <a:lnTo>
                    <a:pt x="54201" y="15585"/>
                  </a:lnTo>
                  <a:lnTo>
                    <a:pt x="55299" y="14960"/>
                  </a:lnTo>
                  <a:lnTo>
                    <a:pt x="55041" y="14508"/>
                  </a:lnTo>
                  <a:close/>
                  <a:moveTo>
                    <a:pt x="3487" y="15628"/>
                  </a:moveTo>
                  <a:lnTo>
                    <a:pt x="3251" y="16080"/>
                  </a:lnTo>
                  <a:lnTo>
                    <a:pt x="4370" y="16661"/>
                  </a:lnTo>
                  <a:lnTo>
                    <a:pt x="4607" y="16230"/>
                  </a:lnTo>
                  <a:lnTo>
                    <a:pt x="3487" y="15628"/>
                  </a:lnTo>
                  <a:close/>
                  <a:moveTo>
                    <a:pt x="55902" y="16101"/>
                  </a:moveTo>
                  <a:lnTo>
                    <a:pt x="54782" y="16682"/>
                  </a:lnTo>
                  <a:lnTo>
                    <a:pt x="54998" y="17134"/>
                  </a:lnTo>
                  <a:lnTo>
                    <a:pt x="56139" y="16575"/>
                  </a:lnTo>
                  <a:lnTo>
                    <a:pt x="55902" y="16101"/>
                  </a:lnTo>
                  <a:close/>
                  <a:moveTo>
                    <a:pt x="2669" y="17242"/>
                  </a:moveTo>
                  <a:lnTo>
                    <a:pt x="2454" y="17716"/>
                  </a:lnTo>
                  <a:lnTo>
                    <a:pt x="3617" y="18211"/>
                  </a:lnTo>
                  <a:lnTo>
                    <a:pt x="3810" y="17780"/>
                  </a:lnTo>
                  <a:lnTo>
                    <a:pt x="2669" y="17242"/>
                  </a:lnTo>
                  <a:close/>
                  <a:moveTo>
                    <a:pt x="56677" y="17737"/>
                  </a:moveTo>
                  <a:lnTo>
                    <a:pt x="55536" y="18254"/>
                  </a:lnTo>
                  <a:lnTo>
                    <a:pt x="55730" y="18706"/>
                  </a:lnTo>
                  <a:lnTo>
                    <a:pt x="56892" y="18211"/>
                  </a:lnTo>
                  <a:lnTo>
                    <a:pt x="56677" y="17737"/>
                  </a:lnTo>
                  <a:close/>
                  <a:moveTo>
                    <a:pt x="1981" y="18900"/>
                  </a:moveTo>
                  <a:lnTo>
                    <a:pt x="1808" y="19373"/>
                  </a:lnTo>
                  <a:lnTo>
                    <a:pt x="2992" y="19825"/>
                  </a:lnTo>
                  <a:lnTo>
                    <a:pt x="3165" y="19352"/>
                  </a:lnTo>
                  <a:lnTo>
                    <a:pt x="1981" y="18900"/>
                  </a:lnTo>
                  <a:close/>
                  <a:moveTo>
                    <a:pt x="57366" y="19416"/>
                  </a:moveTo>
                  <a:lnTo>
                    <a:pt x="56182" y="19847"/>
                  </a:lnTo>
                  <a:lnTo>
                    <a:pt x="56354" y="20320"/>
                  </a:lnTo>
                  <a:lnTo>
                    <a:pt x="57538" y="19911"/>
                  </a:lnTo>
                  <a:lnTo>
                    <a:pt x="57366" y="19416"/>
                  </a:lnTo>
                  <a:close/>
                  <a:moveTo>
                    <a:pt x="1378" y="20600"/>
                  </a:moveTo>
                  <a:lnTo>
                    <a:pt x="1227" y="21095"/>
                  </a:lnTo>
                  <a:lnTo>
                    <a:pt x="2433" y="21461"/>
                  </a:lnTo>
                  <a:lnTo>
                    <a:pt x="2583" y="20987"/>
                  </a:lnTo>
                  <a:lnTo>
                    <a:pt x="1378" y="20600"/>
                  </a:lnTo>
                  <a:close/>
                  <a:moveTo>
                    <a:pt x="57925" y="21138"/>
                  </a:moveTo>
                  <a:lnTo>
                    <a:pt x="56720" y="21483"/>
                  </a:lnTo>
                  <a:lnTo>
                    <a:pt x="56849" y="21956"/>
                  </a:lnTo>
                  <a:lnTo>
                    <a:pt x="58076" y="21633"/>
                  </a:lnTo>
                  <a:lnTo>
                    <a:pt x="57925" y="21138"/>
                  </a:lnTo>
                  <a:close/>
                  <a:moveTo>
                    <a:pt x="883" y="22322"/>
                  </a:moveTo>
                  <a:lnTo>
                    <a:pt x="775" y="22839"/>
                  </a:lnTo>
                  <a:lnTo>
                    <a:pt x="1981" y="23118"/>
                  </a:lnTo>
                  <a:lnTo>
                    <a:pt x="2110" y="22645"/>
                  </a:lnTo>
                  <a:lnTo>
                    <a:pt x="883" y="22322"/>
                  </a:lnTo>
                  <a:close/>
                  <a:moveTo>
                    <a:pt x="58399" y="22882"/>
                  </a:moveTo>
                  <a:lnTo>
                    <a:pt x="57172" y="23162"/>
                  </a:lnTo>
                  <a:lnTo>
                    <a:pt x="57279" y="23635"/>
                  </a:lnTo>
                  <a:lnTo>
                    <a:pt x="58506" y="23377"/>
                  </a:lnTo>
                  <a:lnTo>
                    <a:pt x="58399" y="22882"/>
                  </a:lnTo>
                  <a:close/>
                  <a:moveTo>
                    <a:pt x="495" y="24087"/>
                  </a:moveTo>
                  <a:lnTo>
                    <a:pt x="409" y="24604"/>
                  </a:lnTo>
                  <a:lnTo>
                    <a:pt x="1658" y="24819"/>
                  </a:lnTo>
                  <a:lnTo>
                    <a:pt x="1744" y="24324"/>
                  </a:lnTo>
                  <a:lnTo>
                    <a:pt x="495" y="24087"/>
                  </a:lnTo>
                  <a:close/>
                  <a:moveTo>
                    <a:pt x="58743" y="24647"/>
                  </a:moveTo>
                  <a:lnTo>
                    <a:pt x="57516" y="24862"/>
                  </a:lnTo>
                  <a:lnTo>
                    <a:pt x="57581" y="25357"/>
                  </a:lnTo>
                  <a:lnTo>
                    <a:pt x="58829" y="25163"/>
                  </a:lnTo>
                  <a:lnTo>
                    <a:pt x="58743" y="24647"/>
                  </a:lnTo>
                  <a:close/>
                  <a:moveTo>
                    <a:pt x="237" y="25895"/>
                  </a:moveTo>
                  <a:lnTo>
                    <a:pt x="172" y="26390"/>
                  </a:lnTo>
                  <a:lnTo>
                    <a:pt x="1421" y="26519"/>
                  </a:lnTo>
                  <a:lnTo>
                    <a:pt x="1486" y="26046"/>
                  </a:lnTo>
                  <a:lnTo>
                    <a:pt x="237" y="25895"/>
                  </a:lnTo>
                  <a:close/>
                  <a:moveTo>
                    <a:pt x="59001" y="26433"/>
                  </a:moveTo>
                  <a:lnTo>
                    <a:pt x="57753" y="26563"/>
                  </a:lnTo>
                  <a:lnTo>
                    <a:pt x="57796" y="27058"/>
                  </a:lnTo>
                  <a:lnTo>
                    <a:pt x="59045" y="26950"/>
                  </a:lnTo>
                  <a:lnTo>
                    <a:pt x="59001" y="26433"/>
                  </a:lnTo>
                  <a:close/>
                  <a:moveTo>
                    <a:pt x="65" y="27660"/>
                  </a:moveTo>
                  <a:lnTo>
                    <a:pt x="22" y="28177"/>
                  </a:lnTo>
                  <a:lnTo>
                    <a:pt x="1292" y="28241"/>
                  </a:lnTo>
                  <a:lnTo>
                    <a:pt x="1313" y="27746"/>
                  </a:lnTo>
                  <a:lnTo>
                    <a:pt x="65" y="27660"/>
                  </a:lnTo>
                  <a:close/>
                  <a:moveTo>
                    <a:pt x="59131" y="28220"/>
                  </a:moveTo>
                  <a:lnTo>
                    <a:pt x="57882" y="28285"/>
                  </a:lnTo>
                  <a:lnTo>
                    <a:pt x="57882" y="28780"/>
                  </a:lnTo>
                  <a:lnTo>
                    <a:pt x="59152" y="28737"/>
                  </a:lnTo>
                  <a:lnTo>
                    <a:pt x="59131" y="28220"/>
                  </a:lnTo>
                  <a:close/>
                  <a:moveTo>
                    <a:pt x="1270" y="29468"/>
                  </a:moveTo>
                  <a:lnTo>
                    <a:pt x="0" y="29598"/>
                  </a:lnTo>
                  <a:lnTo>
                    <a:pt x="0" y="30093"/>
                  </a:lnTo>
                  <a:lnTo>
                    <a:pt x="1270" y="30071"/>
                  </a:lnTo>
                  <a:lnTo>
                    <a:pt x="1270" y="29468"/>
                  </a:lnTo>
                  <a:close/>
                  <a:moveTo>
                    <a:pt x="57882" y="30007"/>
                  </a:moveTo>
                  <a:lnTo>
                    <a:pt x="57882" y="30502"/>
                  </a:lnTo>
                  <a:lnTo>
                    <a:pt x="59152" y="30545"/>
                  </a:lnTo>
                  <a:lnTo>
                    <a:pt x="59152" y="30028"/>
                  </a:lnTo>
                  <a:lnTo>
                    <a:pt x="57882" y="30007"/>
                  </a:lnTo>
                  <a:close/>
                  <a:moveTo>
                    <a:pt x="1292" y="31320"/>
                  </a:moveTo>
                  <a:lnTo>
                    <a:pt x="43" y="31384"/>
                  </a:lnTo>
                  <a:lnTo>
                    <a:pt x="86" y="31901"/>
                  </a:lnTo>
                  <a:lnTo>
                    <a:pt x="1335" y="31815"/>
                  </a:lnTo>
                  <a:lnTo>
                    <a:pt x="1292" y="31320"/>
                  </a:lnTo>
                  <a:close/>
                  <a:moveTo>
                    <a:pt x="57818" y="31750"/>
                  </a:moveTo>
                  <a:lnTo>
                    <a:pt x="57775" y="32224"/>
                  </a:lnTo>
                  <a:lnTo>
                    <a:pt x="59045" y="32353"/>
                  </a:lnTo>
                  <a:lnTo>
                    <a:pt x="59088" y="31836"/>
                  </a:lnTo>
                  <a:lnTo>
                    <a:pt x="57818" y="31750"/>
                  </a:lnTo>
                  <a:close/>
                  <a:moveTo>
                    <a:pt x="1464" y="33020"/>
                  </a:moveTo>
                  <a:lnTo>
                    <a:pt x="194" y="33192"/>
                  </a:lnTo>
                  <a:lnTo>
                    <a:pt x="280" y="33687"/>
                  </a:lnTo>
                  <a:lnTo>
                    <a:pt x="1529" y="33515"/>
                  </a:lnTo>
                  <a:lnTo>
                    <a:pt x="1464" y="33020"/>
                  </a:lnTo>
                  <a:close/>
                  <a:moveTo>
                    <a:pt x="57645" y="33429"/>
                  </a:moveTo>
                  <a:lnTo>
                    <a:pt x="57559" y="33924"/>
                  </a:lnTo>
                  <a:lnTo>
                    <a:pt x="58808" y="34118"/>
                  </a:lnTo>
                  <a:lnTo>
                    <a:pt x="58894" y="33601"/>
                  </a:lnTo>
                  <a:lnTo>
                    <a:pt x="57645" y="33429"/>
                  </a:lnTo>
                  <a:close/>
                  <a:moveTo>
                    <a:pt x="1722" y="34742"/>
                  </a:moveTo>
                  <a:lnTo>
                    <a:pt x="474" y="34957"/>
                  </a:lnTo>
                  <a:lnTo>
                    <a:pt x="581" y="35474"/>
                  </a:lnTo>
                  <a:lnTo>
                    <a:pt x="1808" y="35216"/>
                  </a:lnTo>
                  <a:lnTo>
                    <a:pt x="1722" y="34742"/>
                  </a:lnTo>
                  <a:close/>
                  <a:moveTo>
                    <a:pt x="57344" y="35151"/>
                  </a:moveTo>
                  <a:lnTo>
                    <a:pt x="57258" y="35625"/>
                  </a:lnTo>
                  <a:lnTo>
                    <a:pt x="58485" y="35904"/>
                  </a:lnTo>
                  <a:lnTo>
                    <a:pt x="58592" y="35388"/>
                  </a:lnTo>
                  <a:lnTo>
                    <a:pt x="57344" y="35151"/>
                  </a:lnTo>
                  <a:close/>
                  <a:moveTo>
                    <a:pt x="2088" y="36421"/>
                  </a:moveTo>
                  <a:lnTo>
                    <a:pt x="861" y="36722"/>
                  </a:lnTo>
                  <a:lnTo>
                    <a:pt x="990" y="37218"/>
                  </a:lnTo>
                  <a:lnTo>
                    <a:pt x="2217" y="36895"/>
                  </a:lnTo>
                  <a:lnTo>
                    <a:pt x="2088" y="36421"/>
                  </a:lnTo>
                  <a:close/>
                  <a:moveTo>
                    <a:pt x="56957" y="36830"/>
                  </a:moveTo>
                  <a:lnTo>
                    <a:pt x="56827" y="37304"/>
                  </a:lnTo>
                  <a:lnTo>
                    <a:pt x="58054" y="37648"/>
                  </a:lnTo>
                  <a:lnTo>
                    <a:pt x="58184" y="37153"/>
                  </a:lnTo>
                  <a:lnTo>
                    <a:pt x="56957" y="36830"/>
                  </a:lnTo>
                  <a:close/>
                  <a:moveTo>
                    <a:pt x="2562" y="38079"/>
                  </a:moveTo>
                  <a:lnTo>
                    <a:pt x="1356" y="38466"/>
                  </a:lnTo>
                  <a:lnTo>
                    <a:pt x="1507" y="38961"/>
                  </a:lnTo>
                  <a:lnTo>
                    <a:pt x="2712" y="38552"/>
                  </a:lnTo>
                  <a:lnTo>
                    <a:pt x="2562" y="38079"/>
                  </a:lnTo>
                  <a:close/>
                  <a:moveTo>
                    <a:pt x="56483" y="38487"/>
                  </a:moveTo>
                  <a:lnTo>
                    <a:pt x="56311" y="38961"/>
                  </a:lnTo>
                  <a:lnTo>
                    <a:pt x="57516" y="39370"/>
                  </a:lnTo>
                  <a:lnTo>
                    <a:pt x="57667" y="38875"/>
                  </a:lnTo>
                  <a:lnTo>
                    <a:pt x="56483" y="38487"/>
                  </a:lnTo>
                  <a:close/>
                  <a:moveTo>
                    <a:pt x="3121" y="39714"/>
                  </a:moveTo>
                  <a:lnTo>
                    <a:pt x="1938" y="40166"/>
                  </a:lnTo>
                  <a:lnTo>
                    <a:pt x="2131" y="40662"/>
                  </a:lnTo>
                  <a:lnTo>
                    <a:pt x="3294" y="40166"/>
                  </a:lnTo>
                  <a:lnTo>
                    <a:pt x="3121" y="39714"/>
                  </a:lnTo>
                  <a:close/>
                  <a:moveTo>
                    <a:pt x="55880" y="40102"/>
                  </a:moveTo>
                  <a:lnTo>
                    <a:pt x="55687" y="40554"/>
                  </a:lnTo>
                  <a:lnTo>
                    <a:pt x="56849" y="41049"/>
                  </a:lnTo>
                  <a:lnTo>
                    <a:pt x="57043" y="40575"/>
                  </a:lnTo>
                  <a:lnTo>
                    <a:pt x="55880" y="40102"/>
                  </a:lnTo>
                  <a:close/>
                  <a:moveTo>
                    <a:pt x="3789" y="41307"/>
                  </a:moveTo>
                  <a:lnTo>
                    <a:pt x="2648" y="41845"/>
                  </a:lnTo>
                  <a:lnTo>
                    <a:pt x="2863" y="42297"/>
                  </a:lnTo>
                  <a:lnTo>
                    <a:pt x="4004" y="41759"/>
                  </a:lnTo>
                  <a:lnTo>
                    <a:pt x="3789" y="41307"/>
                  </a:lnTo>
                  <a:close/>
                  <a:moveTo>
                    <a:pt x="55191" y="41695"/>
                  </a:moveTo>
                  <a:lnTo>
                    <a:pt x="54976" y="42125"/>
                  </a:lnTo>
                  <a:lnTo>
                    <a:pt x="56117" y="42685"/>
                  </a:lnTo>
                  <a:lnTo>
                    <a:pt x="56332" y="42233"/>
                  </a:lnTo>
                  <a:lnTo>
                    <a:pt x="55191" y="41695"/>
                  </a:lnTo>
                  <a:close/>
                  <a:moveTo>
                    <a:pt x="4564" y="42879"/>
                  </a:moveTo>
                  <a:lnTo>
                    <a:pt x="3444" y="43460"/>
                  </a:lnTo>
                  <a:lnTo>
                    <a:pt x="3681" y="43912"/>
                  </a:lnTo>
                  <a:lnTo>
                    <a:pt x="4800" y="43309"/>
                  </a:lnTo>
                  <a:lnTo>
                    <a:pt x="4564" y="42879"/>
                  </a:lnTo>
                  <a:close/>
                  <a:moveTo>
                    <a:pt x="54417" y="43223"/>
                  </a:moveTo>
                  <a:lnTo>
                    <a:pt x="54158" y="43654"/>
                  </a:lnTo>
                  <a:lnTo>
                    <a:pt x="55256" y="44278"/>
                  </a:lnTo>
                  <a:lnTo>
                    <a:pt x="55514" y="43826"/>
                  </a:lnTo>
                  <a:lnTo>
                    <a:pt x="54417" y="43223"/>
                  </a:lnTo>
                  <a:close/>
                  <a:moveTo>
                    <a:pt x="5425" y="44364"/>
                  </a:moveTo>
                  <a:lnTo>
                    <a:pt x="4348" y="45031"/>
                  </a:lnTo>
                  <a:lnTo>
                    <a:pt x="4607" y="45462"/>
                  </a:lnTo>
                  <a:lnTo>
                    <a:pt x="5683" y="44794"/>
                  </a:lnTo>
                  <a:lnTo>
                    <a:pt x="5425" y="44364"/>
                  </a:lnTo>
                  <a:close/>
                  <a:moveTo>
                    <a:pt x="53534" y="44708"/>
                  </a:moveTo>
                  <a:lnTo>
                    <a:pt x="53276" y="45117"/>
                  </a:lnTo>
                  <a:lnTo>
                    <a:pt x="54309" y="45828"/>
                  </a:lnTo>
                  <a:lnTo>
                    <a:pt x="54610" y="45376"/>
                  </a:lnTo>
                  <a:lnTo>
                    <a:pt x="53534" y="44708"/>
                  </a:lnTo>
                  <a:close/>
                  <a:moveTo>
                    <a:pt x="6372" y="45828"/>
                  </a:moveTo>
                  <a:lnTo>
                    <a:pt x="5339" y="46538"/>
                  </a:lnTo>
                  <a:lnTo>
                    <a:pt x="5618" y="46968"/>
                  </a:lnTo>
                  <a:lnTo>
                    <a:pt x="6673" y="46215"/>
                  </a:lnTo>
                  <a:lnTo>
                    <a:pt x="6372" y="45828"/>
                  </a:lnTo>
                  <a:close/>
                  <a:moveTo>
                    <a:pt x="52565" y="46150"/>
                  </a:moveTo>
                  <a:lnTo>
                    <a:pt x="52264" y="46538"/>
                  </a:lnTo>
                  <a:lnTo>
                    <a:pt x="53276" y="47291"/>
                  </a:lnTo>
                  <a:lnTo>
                    <a:pt x="53577" y="46882"/>
                  </a:lnTo>
                  <a:lnTo>
                    <a:pt x="52565" y="46150"/>
                  </a:lnTo>
                  <a:close/>
                  <a:moveTo>
                    <a:pt x="7384" y="47205"/>
                  </a:moveTo>
                  <a:lnTo>
                    <a:pt x="6393" y="47980"/>
                  </a:lnTo>
                  <a:lnTo>
                    <a:pt x="6716" y="48389"/>
                  </a:lnTo>
                  <a:lnTo>
                    <a:pt x="7706" y="47593"/>
                  </a:lnTo>
                  <a:lnTo>
                    <a:pt x="7384" y="47205"/>
                  </a:lnTo>
                  <a:close/>
                  <a:moveTo>
                    <a:pt x="51511" y="47507"/>
                  </a:moveTo>
                  <a:lnTo>
                    <a:pt x="51188" y="47894"/>
                  </a:lnTo>
                  <a:lnTo>
                    <a:pt x="52156" y="48712"/>
                  </a:lnTo>
                  <a:lnTo>
                    <a:pt x="52479" y="48325"/>
                  </a:lnTo>
                  <a:lnTo>
                    <a:pt x="51511" y="47507"/>
                  </a:lnTo>
                  <a:close/>
                  <a:moveTo>
                    <a:pt x="8503" y="48540"/>
                  </a:moveTo>
                  <a:lnTo>
                    <a:pt x="7577" y="49379"/>
                  </a:lnTo>
                  <a:lnTo>
                    <a:pt x="7922" y="49745"/>
                  </a:lnTo>
                  <a:lnTo>
                    <a:pt x="8847" y="48884"/>
                  </a:lnTo>
                  <a:lnTo>
                    <a:pt x="8503" y="48540"/>
                  </a:lnTo>
                  <a:close/>
                  <a:moveTo>
                    <a:pt x="50370" y="48820"/>
                  </a:moveTo>
                  <a:lnTo>
                    <a:pt x="50047" y="49186"/>
                  </a:lnTo>
                  <a:lnTo>
                    <a:pt x="50951" y="50047"/>
                  </a:lnTo>
                  <a:lnTo>
                    <a:pt x="51317" y="49681"/>
                  </a:lnTo>
                  <a:lnTo>
                    <a:pt x="50370" y="48820"/>
                  </a:lnTo>
                  <a:close/>
                  <a:moveTo>
                    <a:pt x="9708" y="49788"/>
                  </a:moveTo>
                  <a:lnTo>
                    <a:pt x="8826" y="50671"/>
                  </a:lnTo>
                  <a:cubicBezTo>
                    <a:pt x="8933" y="50800"/>
                    <a:pt x="9062" y="50929"/>
                    <a:pt x="9192" y="51037"/>
                  </a:cubicBezTo>
                  <a:lnTo>
                    <a:pt x="10053" y="50111"/>
                  </a:lnTo>
                  <a:lnTo>
                    <a:pt x="9708" y="49788"/>
                  </a:lnTo>
                  <a:close/>
                  <a:moveTo>
                    <a:pt x="49164" y="50047"/>
                  </a:moveTo>
                  <a:lnTo>
                    <a:pt x="48798" y="50369"/>
                  </a:lnTo>
                  <a:lnTo>
                    <a:pt x="49659" y="51317"/>
                  </a:lnTo>
                  <a:lnTo>
                    <a:pt x="50047" y="50951"/>
                  </a:lnTo>
                  <a:lnTo>
                    <a:pt x="49164" y="50047"/>
                  </a:lnTo>
                  <a:close/>
                  <a:moveTo>
                    <a:pt x="10978" y="50951"/>
                  </a:moveTo>
                  <a:lnTo>
                    <a:pt x="10139" y="51898"/>
                  </a:lnTo>
                  <a:cubicBezTo>
                    <a:pt x="10268" y="52005"/>
                    <a:pt x="10397" y="52134"/>
                    <a:pt x="10526" y="52242"/>
                  </a:cubicBezTo>
                  <a:lnTo>
                    <a:pt x="11344" y="51273"/>
                  </a:lnTo>
                  <a:cubicBezTo>
                    <a:pt x="11215" y="51166"/>
                    <a:pt x="11086" y="51058"/>
                    <a:pt x="10978" y="50951"/>
                  </a:cubicBezTo>
                  <a:close/>
                  <a:moveTo>
                    <a:pt x="47873" y="51209"/>
                  </a:moveTo>
                  <a:cubicBezTo>
                    <a:pt x="47744" y="51317"/>
                    <a:pt x="47615" y="51424"/>
                    <a:pt x="47507" y="51532"/>
                  </a:cubicBezTo>
                  <a:lnTo>
                    <a:pt x="48303" y="52500"/>
                  </a:lnTo>
                  <a:lnTo>
                    <a:pt x="48691" y="52178"/>
                  </a:lnTo>
                  <a:lnTo>
                    <a:pt x="47873" y="51209"/>
                  </a:lnTo>
                  <a:close/>
                  <a:moveTo>
                    <a:pt x="12291" y="52027"/>
                  </a:moveTo>
                  <a:lnTo>
                    <a:pt x="11538" y="53039"/>
                  </a:lnTo>
                  <a:lnTo>
                    <a:pt x="11947" y="53361"/>
                  </a:lnTo>
                  <a:lnTo>
                    <a:pt x="12700" y="52328"/>
                  </a:lnTo>
                  <a:lnTo>
                    <a:pt x="12291" y="52027"/>
                  </a:lnTo>
                  <a:close/>
                  <a:moveTo>
                    <a:pt x="46538" y="52285"/>
                  </a:moveTo>
                  <a:lnTo>
                    <a:pt x="46129" y="52587"/>
                  </a:lnTo>
                  <a:lnTo>
                    <a:pt x="46883" y="53598"/>
                  </a:lnTo>
                  <a:lnTo>
                    <a:pt x="47292" y="53297"/>
                  </a:lnTo>
                  <a:lnTo>
                    <a:pt x="46538" y="52285"/>
                  </a:lnTo>
                  <a:close/>
                  <a:moveTo>
                    <a:pt x="13690" y="53060"/>
                  </a:moveTo>
                  <a:lnTo>
                    <a:pt x="12980" y="54115"/>
                  </a:lnTo>
                  <a:lnTo>
                    <a:pt x="13411" y="54373"/>
                  </a:lnTo>
                  <a:lnTo>
                    <a:pt x="14099" y="53340"/>
                  </a:lnTo>
                  <a:lnTo>
                    <a:pt x="13690" y="53060"/>
                  </a:lnTo>
                  <a:close/>
                  <a:moveTo>
                    <a:pt x="45118" y="53254"/>
                  </a:moveTo>
                  <a:lnTo>
                    <a:pt x="44687" y="53534"/>
                  </a:lnTo>
                  <a:lnTo>
                    <a:pt x="45376" y="54610"/>
                  </a:lnTo>
                  <a:lnTo>
                    <a:pt x="45806" y="54309"/>
                  </a:lnTo>
                  <a:lnTo>
                    <a:pt x="45118" y="53254"/>
                  </a:lnTo>
                  <a:close/>
                  <a:moveTo>
                    <a:pt x="15154" y="53964"/>
                  </a:moveTo>
                  <a:lnTo>
                    <a:pt x="14508" y="55040"/>
                  </a:lnTo>
                  <a:lnTo>
                    <a:pt x="14939" y="55320"/>
                  </a:lnTo>
                  <a:lnTo>
                    <a:pt x="15585" y="54222"/>
                  </a:lnTo>
                  <a:lnTo>
                    <a:pt x="15154" y="53964"/>
                  </a:lnTo>
                  <a:close/>
                  <a:moveTo>
                    <a:pt x="43654" y="54179"/>
                  </a:moveTo>
                  <a:lnTo>
                    <a:pt x="43223" y="54416"/>
                  </a:lnTo>
                  <a:lnTo>
                    <a:pt x="43826" y="55514"/>
                  </a:lnTo>
                  <a:lnTo>
                    <a:pt x="44278" y="55256"/>
                  </a:lnTo>
                  <a:lnTo>
                    <a:pt x="43654" y="54179"/>
                  </a:lnTo>
                  <a:close/>
                  <a:moveTo>
                    <a:pt x="16661" y="54804"/>
                  </a:moveTo>
                  <a:lnTo>
                    <a:pt x="16080" y="55923"/>
                  </a:lnTo>
                  <a:lnTo>
                    <a:pt x="16553" y="56160"/>
                  </a:lnTo>
                  <a:lnTo>
                    <a:pt x="17113" y="55019"/>
                  </a:lnTo>
                  <a:lnTo>
                    <a:pt x="16661" y="54804"/>
                  </a:lnTo>
                  <a:close/>
                  <a:moveTo>
                    <a:pt x="42126" y="54997"/>
                  </a:moveTo>
                  <a:lnTo>
                    <a:pt x="41674" y="55213"/>
                  </a:lnTo>
                  <a:lnTo>
                    <a:pt x="42212" y="56353"/>
                  </a:lnTo>
                  <a:lnTo>
                    <a:pt x="42685" y="56117"/>
                  </a:lnTo>
                  <a:lnTo>
                    <a:pt x="42126" y="54997"/>
                  </a:lnTo>
                  <a:close/>
                  <a:moveTo>
                    <a:pt x="18211" y="55535"/>
                  </a:moveTo>
                  <a:lnTo>
                    <a:pt x="17716" y="56698"/>
                  </a:lnTo>
                  <a:lnTo>
                    <a:pt x="18189" y="56913"/>
                  </a:lnTo>
                  <a:lnTo>
                    <a:pt x="18684" y="55751"/>
                  </a:lnTo>
                  <a:lnTo>
                    <a:pt x="18211" y="55535"/>
                  </a:lnTo>
                  <a:close/>
                  <a:moveTo>
                    <a:pt x="40554" y="55708"/>
                  </a:moveTo>
                  <a:lnTo>
                    <a:pt x="40081" y="55901"/>
                  </a:lnTo>
                  <a:lnTo>
                    <a:pt x="40554" y="57064"/>
                  </a:lnTo>
                  <a:lnTo>
                    <a:pt x="41028" y="56870"/>
                  </a:lnTo>
                  <a:lnTo>
                    <a:pt x="40554" y="55708"/>
                  </a:lnTo>
                  <a:close/>
                  <a:moveTo>
                    <a:pt x="19825" y="56181"/>
                  </a:moveTo>
                  <a:lnTo>
                    <a:pt x="19395" y="57365"/>
                  </a:lnTo>
                  <a:lnTo>
                    <a:pt x="19868" y="57537"/>
                  </a:lnTo>
                  <a:lnTo>
                    <a:pt x="20277" y="56353"/>
                  </a:lnTo>
                  <a:lnTo>
                    <a:pt x="19825" y="56181"/>
                  </a:lnTo>
                  <a:close/>
                  <a:moveTo>
                    <a:pt x="38940" y="56332"/>
                  </a:moveTo>
                  <a:lnTo>
                    <a:pt x="38466" y="56483"/>
                  </a:lnTo>
                  <a:lnTo>
                    <a:pt x="38854" y="57688"/>
                  </a:lnTo>
                  <a:lnTo>
                    <a:pt x="39349" y="57516"/>
                  </a:lnTo>
                  <a:lnTo>
                    <a:pt x="38940" y="56332"/>
                  </a:lnTo>
                  <a:close/>
                  <a:moveTo>
                    <a:pt x="21461" y="56741"/>
                  </a:moveTo>
                  <a:lnTo>
                    <a:pt x="21095" y="57946"/>
                  </a:lnTo>
                  <a:lnTo>
                    <a:pt x="21590" y="58075"/>
                  </a:lnTo>
                  <a:lnTo>
                    <a:pt x="21935" y="56870"/>
                  </a:lnTo>
                  <a:lnTo>
                    <a:pt x="21461" y="56741"/>
                  </a:lnTo>
                  <a:close/>
                  <a:moveTo>
                    <a:pt x="37282" y="56849"/>
                  </a:moveTo>
                  <a:lnTo>
                    <a:pt x="36809" y="56978"/>
                  </a:lnTo>
                  <a:lnTo>
                    <a:pt x="37132" y="58205"/>
                  </a:lnTo>
                  <a:lnTo>
                    <a:pt x="37627" y="58075"/>
                  </a:lnTo>
                  <a:lnTo>
                    <a:pt x="37282" y="56849"/>
                  </a:lnTo>
                  <a:close/>
                  <a:moveTo>
                    <a:pt x="23119" y="57171"/>
                  </a:moveTo>
                  <a:lnTo>
                    <a:pt x="22839" y="58398"/>
                  </a:lnTo>
                  <a:lnTo>
                    <a:pt x="23334" y="58527"/>
                  </a:lnTo>
                  <a:lnTo>
                    <a:pt x="23614" y="57279"/>
                  </a:lnTo>
                  <a:lnTo>
                    <a:pt x="23119" y="57171"/>
                  </a:lnTo>
                  <a:close/>
                  <a:moveTo>
                    <a:pt x="35603" y="57257"/>
                  </a:moveTo>
                  <a:lnTo>
                    <a:pt x="35130" y="57365"/>
                  </a:lnTo>
                  <a:lnTo>
                    <a:pt x="35367" y="58614"/>
                  </a:lnTo>
                  <a:lnTo>
                    <a:pt x="35883" y="58506"/>
                  </a:lnTo>
                  <a:lnTo>
                    <a:pt x="35603" y="57257"/>
                  </a:lnTo>
                  <a:close/>
                  <a:moveTo>
                    <a:pt x="24819" y="57516"/>
                  </a:moveTo>
                  <a:lnTo>
                    <a:pt x="24604" y="58764"/>
                  </a:lnTo>
                  <a:lnTo>
                    <a:pt x="25120" y="58850"/>
                  </a:lnTo>
                  <a:lnTo>
                    <a:pt x="25314" y="57602"/>
                  </a:lnTo>
                  <a:lnTo>
                    <a:pt x="24819" y="57516"/>
                  </a:lnTo>
                  <a:close/>
                  <a:moveTo>
                    <a:pt x="33924" y="57580"/>
                  </a:moveTo>
                  <a:lnTo>
                    <a:pt x="33429" y="57645"/>
                  </a:lnTo>
                  <a:lnTo>
                    <a:pt x="33601" y="58915"/>
                  </a:lnTo>
                  <a:lnTo>
                    <a:pt x="34097" y="58829"/>
                  </a:lnTo>
                  <a:lnTo>
                    <a:pt x="33924" y="57580"/>
                  </a:lnTo>
                  <a:close/>
                  <a:moveTo>
                    <a:pt x="26520" y="57753"/>
                  </a:moveTo>
                  <a:lnTo>
                    <a:pt x="26390" y="59023"/>
                  </a:lnTo>
                  <a:lnTo>
                    <a:pt x="26907" y="59066"/>
                  </a:lnTo>
                  <a:lnTo>
                    <a:pt x="27036" y="57817"/>
                  </a:lnTo>
                  <a:lnTo>
                    <a:pt x="26520" y="57753"/>
                  </a:lnTo>
                  <a:close/>
                  <a:moveTo>
                    <a:pt x="32202" y="57796"/>
                  </a:moveTo>
                  <a:lnTo>
                    <a:pt x="31707" y="57839"/>
                  </a:lnTo>
                  <a:lnTo>
                    <a:pt x="31793" y="59109"/>
                  </a:lnTo>
                  <a:lnTo>
                    <a:pt x="32310" y="59066"/>
                  </a:lnTo>
                  <a:lnTo>
                    <a:pt x="32202" y="57796"/>
                  </a:lnTo>
                  <a:close/>
                  <a:moveTo>
                    <a:pt x="28263" y="57882"/>
                  </a:moveTo>
                  <a:lnTo>
                    <a:pt x="28199" y="59152"/>
                  </a:lnTo>
                  <a:lnTo>
                    <a:pt x="28715" y="59173"/>
                  </a:lnTo>
                  <a:lnTo>
                    <a:pt x="28758" y="57903"/>
                  </a:lnTo>
                  <a:lnTo>
                    <a:pt x="28263" y="57882"/>
                  </a:lnTo>
                  <a:close/>
                  <a:moveTo>
                    <a:pt x="29985" y="57903"/>
                  </a:moveTo>
                  <a:lnTo>
                    <a:pt x="30007" y="59173"/>
                  </a:lnTo>
                  <a:lnTo>
                    <a:pt x="30502" y="59173"/>
                  </a:lnTo>
                  <a:lnTo>
                    <a:pt x="30480" y="57903"/>
                  </a:lnTo>
                  <a:close/>
                </a:path>
              </a:pathLst>
            </a:custGeom>
            <a:solidFill>
              <a:srgbClr val="4D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grpSp>
      <p:sp>
        <p:nvSpPr>
          <p:cNvPr id="30" name="Rectangle 29"/>
          <p:cNvSpPr/>
          <p:nvPr/>
        </p:nvSpPr>
        <p:spPr>
          <a:xfrm>
            <a:off x="9103229" y="2081153"/>
            <a:ext cx="1676708" cy="954107"/>
          </a:xfrm>
          <a:prstGeom prst="rect">
            <a:avLst/>
          </a:prstGeom>
        </p:spPr>
        <p:txBody>
          <a:bodyPr wrap="square">
            <a:spAutoFit/>
          </a:bodyPr>
          <a:lstStyle/>
          <a:p>
            <a:pPr algn="ctr"/>
            <a:r>
              <a:rPr lang="ar-SA" sz="2800" b="1" dirty="0">
                <a:solidFill>
                  <a:schemeClr val="bg1"/>
                </a:solidFill>
                <a:latin typeface="Arial" panose="020B0604020202020204" pitchFamily="34" charset="0"/>
              </a:rPr>
              <a:t>الواقع الافتراضي </a:t>
            </a:r>
            <a:endParaRPr lang="en-US" sz="2800" dirty="0"/>
          </a:p>
        </p:txBody>
      </p:sp>
      <p:sp>
        <p:nvSpPr>
          <p:cNvPr id="31" name="Rectangle 30"/>
          <p:cNvSpPr/>
          <p:nvPr/>
        </p:nvSpPr>
        <p:spPr>
          <a:xfrm>
            <a:off x="3574138" y="1855669"/>
            <a:ext cx="5285021" cy="1682512"/>
          </a:xfrm>
          <a:prstGeom prst="rect">
            <a:avLst/>
          </a:prstGeom>
        </p:spPr>
        <p:txBody>
          <a:bodyPr wrap="square">
            <a:spAutoFit/>
          </a:bodyPr>
          <a:lstStyle/>
          <a:p>
            <a:pPr algn="r" rtl="1">
              <a:spcBef>
                <a:spcPts val="1000"/>
              </a:spcBef>
            </a:pPr>
            <a:r>
              <a:rPr lang="ar-SA" sz="1900" dirty="0">
                <a:solidFill>
                  <a:schemeClr val="bg1"/>
                </a:solidFill>
                <a:latin typeface="Arial" panose="020B0604020202020204" pitchFamily="34" charset="0"/>
              </a:rPr>
              <a:t>تقنية محاكاة تستطيع أخذك لأي </a:t>
            </a:r>
            <a:r>
              <a:rPr lang="ar-SA" sz="1900" dirty="0" smtClean="0">
                <a:solidFill>
                  <a:schemeClr val="bg1"/>
                </a:solidFill>
                <a:latin typeface="Arial" panose="020B0604020202020204" pitchFamily="34" charset="0"/>
              </a:rPr>
              <a:t>مكان، وتمنحك </a:t>
            </a:r>
          </a:p>
          <a:p>
            <a:pPr algn="r" rtl="1">
              <a:spcBef>
                <a:spcPts val="1000"/>
              </a:spcBef>
            </a:pPr>
            <a:r>
              <a:rPr lang="ar-SA" sz="1900" dirty="0" smtClean="0">
                <a:solidFill>
                  <a:schemeClr val="bg1"/>
                </a:solidFill>
                <a:latin typeface="Arial" panose="020B0604020202020204" pitchFamily="34" charset="0"/>
              </a:rPr>
              <a:t>تجربة </a:t>
            </a:r>
            <a:r>
              <a:rPr lang="ar-SA" sz="1900" dirty="0">
                <a:solidFill>
                  <a:schemeClr val="bg1"/>
                </a:solidFill>
                <a:latin typeface="Arial" panose="020B0604020202020204" pitchFamily="34" charset="0"/>
              </a:rPr>
              <a:t>التعلم والاستكشاف كما لو كنت هناك فعلًا. فهي تسمح بالانخراط الكامل للحواس باستخدام أجهزة مخصصة (جهاز عرض محمول أو نظارة) تعزلك عن العالم الواقعي لتمنحك تجربة رؤية عالمٍ رقمي مختلف.</a:t>
            </a:r>
          </a:p>
        </p:txBody>
      </p:sp>
      <p:grpSp>
        <p:nvGrpSpPr>
          <p:cNvPr id="32" name="Google Shape;540;p27"/>
          <p:cNvGrpSpPr/>
          <p:nvPr/>
        </p:nvGrpSpPr>
        <p:grpSpPr>
          <a:xfrm>
            <a:off x="700275" y="3828657"/>
            <a:ext cx="8056850" cy="2590800"/>
            <a:chOff x="238125" y="1662850"/>
            <a:chExt cx="7137300" cy="2369400"/>
          </a:xfrm>
        </p:grpSpPr>
        <p:sp>
          <p:nvSpPr>
            <p:cNvPr id="33" name="Google Shape;541;p27"/>
            <p:cNvSpPr/>
            <p:nvPr/>
          </p:nvSpPr>
          <p:spPr>
            <a:xfrm>
              <a:off x="490500" y="1898550"/>
              <a:ext cx="6774075" cy="1771550"/>
            </a:xfrm>
            <a:custGeom>
              <a:avLst/>
              <a:gdLst/>
              <a:ahLst/>
              <a:cxnLst/>
              <a:rect l="l" t="t" r="r" b="b"/>
              <a:pathLst>
                <a:path w="270963" h="70862" extrusionOk="0">
                  <a:moveTo>
                    <a:pt x="4112" y="0"/>
                  </a:moveTo>
                  <a:lnTo>
                    <a:pt x="0" y="4090"/>
                  </a:lnTo>
                  <a:lnTo>
                    <a:pt x="0" y="66750"/>
                  </a:lnTo>
                  <a:lnTo>
                    <a:pt x="4112" y="70861"/>
                  </a:lnTo>
                  <a:lnTo>
                    <a:pt x="266873" y="70861"/>
                  </a:lnTo>
                  <a:lnTo>
                    <a:pt x="270962" y="66750"/>
                  </a:lnTo>
                  <a:lnTo>
                    <a:pt x="270962" y="28155"/>
                  </a:lnTo>
                  <a:lnTo>
                    <a:pt x="265086" y="22279"/>
                  </a:lnTo>
                  <a:lnTo>
                    <a:pt x="225393" y="22279"/>
                  </a:lnTo>
                  <a:lnTo>
                    <a:pt x="203114" y="0"/>
                  </a:lnTo>
                  <a:close/>
                </a:path>
              </a:pathLst>
            </a:custGeom>
            <a:solidFill>
              <a:schemeClr val="bg1">
                <a:alpha val="19230"/>
              </a:schemeClr>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4" name="Google Shape;542;p27"/>
            <p:cNvSpPr/>
            <p:nvPr/>
          </p:nvSpPr>
          <p:spPr>
            <a:xfrm>
              <a:off x="482975" y="1890475"/>
              <a:ext cx="6789675" cy="1787150"/>
            </a:xfrm>
            <a:custGeom>
              <a:avLst/>
              <a:gdLst/>
              <a:ahLst/>
              <a:cxnLst/>
              <a:rect l="l" t="t" r="r" b="b"/>
              <a:pathLst>
                <a:path w="271587" h="71486" extrusionOk="0">
                  <a:moveTo>
                    <a:pt x="203286" y="624"/>
                  </a:moveTo>
                  <a:lnTo>
                    <a:pt x="225565" y="22903"/>
                  </a:lnTo>
                  <a:lnTo>
                    <a:pt x="265258" y="22903"/>
                  </a:lnTo>
                  <a:lnTo>
                    <a:pt x="270941" y="28607"/>
                  </a:lnTo>
                  <a:lnTo>
                    <a:pt x="270941" y="66944"/>
                  </a:lnTo>
                  <a:lnTo>
                    <a:pt x="267044" y="70861"/>
                  </a:lnTo>
                  <a:lnTo>
                    <a:pt x="4542" y="70861"/>
                  </a:lnTo>
                  <a:lnTo>
                    <a:pt x="624" y="66944"/>
                  </a:lnTo>
                  <a:lnTo>
                    <a:pt x="624" y="4542"/>
                  </a:lnTo>
                  <a:lnTo>
                    <a:pt x="4542" y="624"/>
                  </a:lnTo>
                  <a:close/>
                  <a:moveTo>
                    <a:pt x="4262" y="0"/>
                  </a:moveTo>
                  <a:lnTo>
                    <a:pt x="0" y="4284"/>
                  </a:lnTo>
                  <a:lnTo>
                    <a:pt x="0" y="67202"/>
                  </a:lnTo>
                  <a:lnTo>
                    <a:pt x="4262" y="71485"/>
                  </a:lnTo>
                  <a:lnTo>
                    <a:pt x="267303" y="71485"/>
                  </a:lnTo>
                  <a:lnTo>
                    <a:pt x="271586" y="67202"/>
                  </a:lnTo>
                  <a:lnTo>
                    <a:pt x="271586" y="28349"/>
                  </a:lnTo>
                  <a:lnTo>
                    <a:pt x="265516" y="22279"/>
                  </a:lnTo>
                  <a:lnTo>
                    <a:pt x="225823" y="22279"/>
                  </a:lnTo>
                  <a:lnTo>
                    <a:pt x="203544" y="0"/>
                  </a:lnTo>
                  <a:close/>
                </a:path>
              </a:pathLst>
            </a:custGeom>
            <a:solidFill>
              <a:srgbClr val="4D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5" name="Google Shape;543;p27"/>
            <p:cNvSpPr/>
            <p:nvPr/>
          </p:nvSpPr>
          <p:spPr>
            <a:xfrm>
              <a:off x="677225" y="1899625"/>
              <a:ext cx="1804950" cy="1769400"/>
            </a:xfrm>
            <a:custGeom>
              <a:avLst/>
              <a:gdLst/>
              <a:ahLst/>
              <a:cxnLst/>
              <a:rect l="l" t="t" r="r" b="b"/>
              <a:pathLst>
                <a:path w="72198" h="70776" extrusionOk="0">
                  <a:moveTo>
                    <a:pt x="36809" y="1249"/>
                  </a:moveTo>
                  <a:cubicBezTo>
                    <a:pt x="55644" y="1270"/>
                    <a:pt x="70905" y="16531"/>
                    <a:pt x="70927" y="35388"/>
                  </a:cubicBezTo>
                  <a:cubicBezTo>
                    <a:pt x="70927" y="49185"/>
                    <a:pt x="62618" y="61627"/>
                    <a:pt x="49875" y="66901"/>
                  </a:cubicBezTo>
                  <a:cubicBezTo>
                    <a:pt x="45648" y="68654"/>
                    <a:pt x="41210" y="69506"/>
                    <a:pt x="36811" y="69506"/>
                  </a:cubicBezTo>
                  <a:cubicBezTo>
                    <a:pt x="27928" y="69506"/>
                    <a:pt x="19201" y="66032"/>
                    <a:pt x="12679" y="59496"/>
                  </a:cubicBezTo>
                  <a:cubicBezTo>
                    <a:pt x="2907" y="49745"/>
                    <a:pt x="1" y="35065"/>
                    <a:pt x="5274" y="22322"/>
                  </a:cubicBezTo>
                  <a:cubicBezTo>
                    <a:pt x="10570" y="9557"/>
                    <a:pt x="23011" y="1249"/>
                    <a:pt x="36809" y="1249"/>
                  </a:cubicBezTo>
                  <a:close/>
                  <a:moveTo>
                    <a:pt x="36809" y="0"/>
                  </a:moveTo>
                  <a:cubicBezTo>
                    <a:pt x="17307" y="0"/>
                    <a:pt x="1421" y="15864"/>
                    <a:pt x="1421" y="35388"/>
                  </a:cubicBezTo>
                  <a:cubicBezTo>
                    <a:pt x="1421" y="54889"/>
                    <a:pt x="17307" y="70775"/>
                    <a:pt x="36809" y="70775"/>
                  </a:cubicBezTo>
                  <a:cubicBezTo>
                    <a:pt x="56333" y="70775"/>
                    <a:pt x="72197" y="54889"/>
                    <a:pt x="72197" y="35388"/>
                  </a:cubicBezTo>
                  <a:cubicBezTo>
                    <a:pt x="72197" y="15864"/>
                    <a:pt x="56333" y="0"/>
                    <a:pt x="36809" y="0"/>
                  </a:cubicBezTo>
                  <a:close/>
                </a:path>
              </a:pathLst>
            </a:custGeom>
            <a:solidFill>
              <a:schemeClr val="bg1"/>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6" name="Google Shape;544;p27"/>
            <p:cNvSpPr/>
            <p:nvPr/>
          </p:nvSpPr>
          <p:spPr>
            <a:xfrm>
              <a:off x="659475" y="2784300"/>
              <a:ext cx="262625" cy="596275"/>
            </a:xfrm>
            <a:custGeom>
              <a:avLst/>
              <a:gdLst/>
              <a:ahLst/>
              <a:cxnLst/>
              <a:rect l="l" t="t" r="r" b="b"/>
              <a:pathLst>
                <a:path w="10505" h="23851" extrusionOk="0">
                  <a:moveTo>
                    <a:pt x="0" y="1"/>
                  </a:moveTo>
                  <a:cubicBezTo>
                    <a:pt x="0" y="8697"/>
                    <a:pt x="3035" y="17135"/>
                    <a:pt x="8568" y="23851"/>
                  </a:cubicBezTo>
                  <a:lnTo>
                    <a:pt x="10505" y="22258"/>
                  </a:lnTo>
                  <a:cubicBezTo>
                    <a:pt x="5339" y="15972"/>
                    <a:pt x="2519" y="8116"/>
                    <a:pt x="2519" y="1"/>
                  </a:cubicBezTo>
                  <a:close/>
                </a:path>
              </a:pathLst>
            </a:custGeom>
            <a:solidFill>
              <a:schemeClr val="bg1"/>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7" name="Google Shape;545;p27"/>
            <p:cNvSpPr/>
            <p:nvPr/>
          </p:nvSpPr>
          <p:spPr>
            <a:xfrm>
              <a:off x="1597450" y="2784300"/>
              <a:ext cx="967575" cy="967575"/>
            </a:xfrm>
            <a:custGeom>
              <a:avLst/>
              <a:gdLst/>
              <a:ahLst/>
              <a:cxnLst/>
              <a:rect l="l" t="t" r="r" b="b"/>
              <a:pathLst>
                <a:path w="38703" h="38703" extrusionOk="0">
                  <a:moveTo>
                    <a:pt x="34914" y="1"/>
                  </a:moveTo>
                  <a:cubicBezTo>
                    <a:pt x="34893" y="19266"/>
                    <a:pt x="19265" y="34871"/>
                    <a:pt x="0" y="34914"/>
                  </a:cubicBezTo>
                  <a:lnTo>
                    <a:pt x="0" y="38703"/>
                  </a:lnTo>
                  <a:cubicBezTo>
                    <a:pt x="21332" y="38703"/>
                    <a:pt x="38703" y="21332"/>
                    <a:pt x="38703" y="1"/>
                  </a:cubicBezTo>
                  <a:close/>
                </a:path>
              </a:pathLst>
            </a:custGeom>
            <a:solidFill>
              <a:schemeClr val="bg1"/>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8" name="Google Shape;546;p27"/>
            <p:cNvSpPr/>
            <p:nvPr/>
          </p:nvSpPr>
          <p:spPr>
            <a:xfrm>
              <a:off x="745575" y="1994450"/>
              <a:ext cx="1641350" cy="1579325"/>
            </a:xfrm>
            <a:custGeom>
              <a:avLst/>
              <a:gdLst/>
              <a:ahLst/>
              <a:cxnLst/>
              <a:rect l="l" t="t" r="r" b="b"/>
              <a:pathLst>
                <a:path w="65654" h="63173" extrusionOk="0">
                  <a:moveTo>
                    <a:pt x="34075" y="1266"/>
                  </a:moveTo>
                  <a:cubicBezTo>
                    <a:pt x="50822" y="1287"/>
                    <a:pt x="64383" y="14848"/>
                    <a:pt x="64405" y="31595"/>
                  </a:cubicBezTo>
                  <a:cubicBezTo>
                    <a:pt x="64405" y="43842"/>
                    <a:pt x="57000" y="54906"/>
                    <a:pt x="45677" y="59599"/>
                  </a:cubicBezTo>
                  <a:cubicBezTo>
                    <a:pt x="41933" y="61151"/>
                    <a:pt x="38000" y="61905"/>
                    <a:pt x="34099" y="61905"/>
                  </a:cubicBezTo>
                  <a:cubicBezTo>
                    <a:pt x="26205" y="61905"/>
                    <a:pt x="18442" y="58818"/>
                    <a:pt x="12636" y="53012"/>
                  </a:cubicBezTo>
                  <a:cubicBezTo>
                    <a:pt x="3961" y="44359"/>
                    <a:pt x="1378" y="31315"/>
                    <a:pt x="6071" y="19971"/>
                  </a:cubicBezTo>
                  <a:cubicBezTo>
                    <a:pt x="10763" y="8649"/>
                    <a:pt x="21806" y="1266"/>
                    <a:pt x="34075" y="1266"/>
                  </a:cubicBezTo>
                  <a:close/>
                  <a:moveTo>
                    <a:pt x="34075" y="0"/>
                  </a:moveTo>
                  <a:cubicBezTo>
                    <a:pt x="25855" y="0"/>
                    <a:pt x="17784" y="3206"/>
                    <a:pt x="11753" y="9251"/>
                  </a:cubicBezTo>
                  <a:cubicBezTo>
                    <a:pt x="2713" y="18292"/>
                    <a:pt x="0" y="31874"/>
                    <a:pt x="4887" y="43670"/>
                  </a:cubicBezTo>
                  <a:cubicBezTo>
                    <a:pt x="9795" y="55466"/>
                    <a:pt x="21311" y="63172"/>
                    <a:pt x="34075" y="63172"/>
                  </a:cubicBezTo>
                  <a:cubicBezTo>
                    <a:pt x="51511" y="63151"/>
                    <a:pt x="65631" y="49008"/>
                    <a:pt x="65653" y="31595"/>
                  </a:cubicBezTo>
                  <a:cubicBezTo>
                    <a:pt x="65653" y="18809"/>
                    <a:pt x="57968" y="7293"/>
                    <a:pt x="46173" y="2406"/>
                  </a:cubicBezTo>
                  <a:cubicBezTo>
                    <a:pt x="42257" y="787"/>
                    <a:pt x="38148" y="0"/>
                    <a:pt x="34075" y="0"/>
                  </a:cubicBezTo>
                  <a:close/>
                </a:path>
              </a:pathLst>
            </a:custGeom>
            <a:solidFill>
              <a:srgbClr val="200E7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9" name="Google Shape;547;p27"/>
            <p:cNvSpPr/>
            <p:nvPr/>
          </p:nvSpPr>
          <p:spPr>
            <a:xfrm>
              <a:off x="1597450" y="2012625"/>
              <a:ext cx="771175" cy="771700"/>
            </a:xfrm>
            <a:custGeom>
              <a:avLst/>
              <a:gdLst/>
              <a:ahLst/>
              <a:cxnLst/>
              <a:rect l="l" t="t" r="r" b="b"/>
              <a:pathLst>
                <a:path w="30847" h="30868" extrusionOk="0">
                  <a:moveTo>
                    <a:pt x="0" y="0"/>
                  </a:moveTo>
                  <a:lnTo>
                    <a:pt x="0" y="3789"/>
                  </a:lnTo>
                  <a:cubicBezTo>
                    <a:pt x="14939" y="3810"/>
                    <a:pt x="27036" y="15929"/>
                    <a:pt x="27058" y="30868"/>
                  </a:cubicBezTo>
                  <a:lnTo>
                    <a:pt x="30846" y="30868"/>
                  </a:lnTo>
                  <a:cubicBezTo>
                    <a:pt x="30825" y="13820"/>
                    <a:pt x="17027" y="22"/>
                    <a:pt x="0" y="0"/>
                  </a:cubicBezTo>
                  <a:close/>
                </a:path>
              </a:pathLst>
            </a:custGeom>
            <a:solidFill>
              <a:srgbClr val="200E7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0" name="Google Shape;548;p27"/>
            <p:cNvSpPr/>
            <p:nvPr/>
          </p:nvSpPr>
          <p:spPr>
            <a:xfrm>
              <a:off x="1581825" y="1803825"/>
              <a:ext cx="31250" cy="111425"/>
            </a:xfrm>
            <a:custGeom>
              <a:avLst/>
              <a:gdLst/>
              <a:ahLst/>
              <a:cxnLst/>
              <a:rect l="l" t="t" r="r" b="b"/>
              <a:pathLst>
                <a:path w="1250" h="4457" extrusionOk="0">
                  <a:moveTo>
                    <a:pt x="1" y="1"/>
                  </a:moveTo>
                  <a:lnTo>
                    <a:pt x="1" y="4456"/>
                  </a:lnTo>
                  <a:lnTo>
                    <a:pt x="1249" y="4456"/>
                  </a:lnTo>
                  <a:lnTo>
                    <a:pt x="1249" y="1"/>
                  </a:lnTo>
                  <a:close/>
                </a:path>
              </a:pathLst>
            </a:custGeom>
            <a:solidFill>
              <a:srgbClr val="4D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1" name="Google Shape;549;p27"/>
            <p:cNvSpPr/>
            <p:nvPr/>
          </p:nvSpPr>
          <p:spPr>
            <a:xfrm>
              <a:off x="1581825" y="3652850"/>
              <a:ext cx="31250" cy="111400"/>
            </a:xfrm>
            <a:custGeom>
              <a:avLst/>
              <a:gdLst/>
              <a:ahLst/>
              <a:cxnLst/>
              <a:rect l="l" t="t" r="r" b="b"/>
              <a:pathLst>
                <a:path w="1250" h="4456" extrusionOk="0">
                  <a:moveTo>
                    <a:pt x="1" y="0"/>
                  </a:moveTo>
                  <a:lnTo>
                    <a:pt x="1" y="4456"/>
                  </a:lnTo>
                  <a:lnTo>
                    <a:pt x="1249" y="4456"/>
                  </a:lnTo>
                  <a:lnTo>
                    <a:pt x="1249" y="0"/>
                  </a:lnTo>
                  <a:close/>
                </a:path>
              </a:pathLst>
            </a:custGeom>
            <a:solidFill>
              <a:srgbClr val="4D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2" name="Google Shape;550;p27"/>
            <p:cNvSpPr/>
            <p:nvPr/>
          </p:nvSpPr>
          <p:spPr>
            <a:xfrm>
              <a:off x="554000" y="2768150"/>
              <a:ext cx="427300" cy="31775"/>
            </a:xfrm>
            <a:custGeom>
              <a:avLst/>
              <a:gdLst/>
              <a:ahLst/>
              <a:cxnLst/>
              <a:rect l="l" t="t" r="r" b="b"/>
              <a:pathLst>
                <a:path w="17092" h="1271" extrusionOk="0">
                  <a:moveTo>
                    <a:pt x="0" y="1"/>
                  </a:moveTo>
                  <a:lnTo>
                    <a:pt x="0" y="1271"/>
                  </a:lnTo>
                  <a:lnTo>
                    <a:pt x="17092" y="1271"/>
                  </a:lnTo>
                  <a:lnTo>
                    <a:pt x="17092" y="1"/>
                  </a:lnTo>
                  <a:close/>
                </a:path>
              </a:pathLst>
            </a:custGeom>
            <a:solidFill>
              <a:srgbClr val="4D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3" name="Google Shape;553;p27"/>
            <p:cNvSpPr/>
            <p:nvPr/>
          </p:nvSpPr>
          <p:spPr>
            <a:xfrm>
              <a:off x="4423200" y="1896925"/>
              <a:ext cx="1637025" cy="94725"/>
            </a:xfrm>
            <a:custGeom>
              <a:avLst/>
              <a:gdLst/>
              <a:ahLst/>
              <a:cxnLst/>
              <a:rect l="l" t="t" r="r" b="b"/>
              <a:pathLst>
                <a:path w="65481" h="3789" extrusionOk="0">
                  <a:moveTo>
                    <a:pt x="0" y="0"/>
                  </a:moveTo>
                  <a:lnTo>
                    <a:pt x="0" y="3789"/>
                  </a:lnTo>
                  <a:lnTo>
                    <a:pt x="65481" y="3789"/>
                  </a:lnTo>
                  <a:lnTo>
                    <a:pt x="65481" y="0"/>
                  </a:lnTo>
                  <a:close/>
                </a:path>
              </a:pathLst>
            </a:custGeom>
            <a:solidFill>
              <a:srgbClr val="0068E8">
                <a:alpha val="40000"/>
              </a:srgbClr>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4" name="Google Shape;554;p27"/>
            <p:cNvSpPr/>
            <p:nvPr/>
          </p:nvSpPr>
          <p:spPr>
            <a:xfrm>
              <a:off x="6622025" y="3603875"/>
              <a:ext cx="456900" cy="243250"/>
            </a:xfrm>
            <a:custGeom>
              <a:avLst/>
              <a:gdLst/>
              <a:ahLst/>
              <a:cxnLst/>
              <a:rect l="l" t="t" r="r" b="b"/>
              <a:pathLst>
                <a:path w="18276" h="9730" extrusionOk="0">
                  <a:moveTo>
                    <a:pt x="3789" y="0"/>
                  </a:moveTo>
                  <a:lnTo>
                    <a:pt x="0" y="9730"/>
                  </a:lnTo>
                  <a:lnTo>
                    <a:pt x="1292" y="9730"/>
                  </a:lnTo>
                  <a:lnTo>
                    <a:pt x="5102" y="0"/>
                  </a:lnTo>
                  <a:close/>
                  <a:moveTo>
                    <a:pt x="8201" y="0"/>
                  </a:moveTo>
                  <a:lnTo>
                    <a:pt x="4413" y="9730"/>
                  </a:lnTo>
                  <a:lnTo>
                    <a:pt x="5704" y="9730"/>
                  </a:lnTo>
                  <a:lnTo>
                    <a:pt x="9493" y="0"/>
                  </a:lnTo>
                  <a:close/>
                  <a:moveTo>
                    <a:pt x="12592" y="0"/>
                  </a:moveTo>
                  <a:lnTo>
                    <a:pt x="8804" y="9730"/>
                  </a:lnTo>
                  <a:lnTo>
                    <a:pt x="10096" y="9730"/>
                  </a:lnTo>
                  <a:lnTo>
                    <a:pt x="13884" y="0"/>
                  </a:lnTo>
                  <a:close/>
                  <a:moveTo>
                    <a:pt x="16984" y="0"/>
                  </a:moveTo>
                  <a:lnTo>
                    <a:pt x="13195" y="9730"/>
                  </a:lnTo>
                  <a:lnTo>
                    <a:pt x="14487" y="9730"/>
                  </a:lnTo>
                  <a:lnTo>
                    <a:pt x="18275" y="0"/>
                  </a:lnTo>
                  <a:close/>
                </a:path>
              </a:pathLst>
            </a:custGeom>
            <a:solidFill>
              <a:srgbClr val="0068E8">
                <a:alpha val="40000"/>
              </a:srgbClr>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5" name="Google Shape;555;p27"/>
            <p:cNvSpPr/>
            <p:nvPr/>
          </p:nvSpPr>
          <p:spPr>
            <a:xfrm>
              <a:off x="2403575" y="1662850"/>
              <a:ext cx="1733350" cy="281450"/>
            </a:xfrm>
            <a:custGeom>
              <a:avLst/>
              <a:gdLst/>
              <a:ahLst/>
              <a:cxnLst/>
              <a:rect l="l" t="t" r="r" b="b"/>
              <a:pathLst>
                <a:path w="69334" h="11258" extrusionOk="0">
                  <a:moveTo>
                    <a:pt x="0" y="0"/>
                  </a:moveTo>
                  <a:lnTo>
                    <a:pt x="0" y="11258"/>
                  </a:lnTo>
                  <a:lnTo>
                    <a:pt x="69334" y="11258"/>
                  </a:lnTo>
                  <a:lnTo>
                    <a:pt x="69334" y="0"/>
                  </a:lnTo>
                  <a:close/>
                </a:path>
              </a:pathLst>
            </a:custGeom>
            <a:solidFill>
              <a:srgbClr val="0068E8">
                <a:alpha val="40000"/>
              </a:srgbClr>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6" name="Google Shape;556;p27"/>
            <p:cNvSpPr/>
            <p:nvPr/>
          </p:nvSpPr>
          <p:spPr>
            <a:xfrm>
              <a:off x="380175" y="1787675"/>
              <a:ext cx="6995250" cy="1992725"/>
            </a:xfrm>
            <a:custGeom>
              <a:avLst/>
              <a:gdLst/>
              <a:ahLst/>
              <a:cxnLst/>
              <a:rect l="l" t="t" r="r" b="b"/>
              <a:pathLst>
                <a:path w="279810" h="79709" extrusionOk="0">
                  <a:moveTo>
                    <a:pt x="208819" y="1271"/>
                  </a:moveTo>
                  <a:lnTo>
                    <a:pt x="231098" y="23549"/>
                  </a:lnTo>
                  <a:lnTo>
                    <a:pt x="270812" y="23549"/>
                  </a:lnTo>
                  <a:lnTo>
                    <a:pt x="278540" y="31277"/>
                  </a:lnTo>
                  <a:lnTo>
                    <a:pt x="278540" y="72498"/>
                  </a:lnTo>
                  <a:lnTo>
                    <a:pt x="272599" y="78439"/>
                  </a:lnTo>
                  <a:lnTo>
                    <a:pt x="7212" y="78439"/>
                  </a:lnTo>
                  <a:lnTo>
                    <a:pt x="1271" y="72498"/>
                  </a:lnTo>
                  <a:lnTo>
                    <a:pt x="1271" y="7212"/>
                  </a:lnTo>
                  <a:lnTo>
                    <a:pt x="7212" y="1271"/>
                  </a:lnTo>
                  <a:close/>
                  <a:moveTo>
                    <a:pt x="6695" y="1"/>
                  </a:moveTo>
                  <a:lnTo>
                    <a:pt x="1" y="6695"/>
                  </a:lnTo>
                  <a:lnTo>
                    <a:pt x="1" y="73014"/>
                  </a:lnTo>
                  <a:lnTo>
                    <a:pt x="6695" y="79709"/>
                  </a:lnTo>
                  <a:lnTo>
                    <a:pt x="273115" y="79709"/>
                  </a:lnTo>
                  <a:lnTo>
                    <a:pt x="279810" y="73014"/>
                  </a:lnTo>
                  <a:lnTo>
                    <a:pt x="279810" y="30782"/>
                  </a:lnTo>
                  <a:lnTo>
                    <a:pt x="271329" y="22279"/>
                  </a:lnTo>
                  <a:lnTo>
                    <a:pt x="231636" y="22279"/>
                  </a:lnTo>
                  <a:lnTo>
                    <a:pt x="209357" y="1"/>
                  </a:lnTo>
                  <a:close/>
                </a:path>
              </a:pathLst>
            </a:custGeom>
            <a:solidFill>
              <a:schemeClr val="bg1"/>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7" name="Google Shape;557;p27"/>
            <p:cNvSpPr/>
            <p:nvPr/>
          </p:nvSpPr>
          <p:spPr>
            <a:xfrm>
              <a:off x="238125" y="1961500"/>
              <a:ext cx="62975" cy="789475"/>
            </a:xfrm>
            <a:custGeom>
              <a:avLst/>
              <a:gdLst/>
              <a:ahLst/>
              <a:cxnLst/>
              <a:rect l="l" t="t" r="r" b="b"/>
              <a:pathLst>
                <a:path w="2519" h="31579" extrusionOk="0">
                  <a:moveTo>
                    <a:pt x="0" y="1"/>
                  </a:moveTo>
                  <a:lnTo>
                    <a:pt x="0" y="883"/>
                  </a:lnTo>
                  <a:lnTo>
                    <a:pt x="2518" y="883"/>
                  </a:lnTo>
                  <a:lnTo>
                    <a:pt x="2518" y="1"/>
                  </a:lnTo>
                  <a:close/>
                  <a:moveTo>
                    <a:pt x="0" y="3401"/>
                  </a:moveTo>
                  <a:lnTo>
                    <a:pt x="0" y="4284"/>
                  </a:lnTo>
                  <a:lnTo>
                    <a:pt x="2518" y="4284"/>
                  </a:lnTo>
                  <a:lnTo>
                    <a:pt x="2518" y="3401"/>
                  </a:lnTo>
                  <a:close/>
                  <a:moveTo>
                    <a:pt x="0" y="6824"/>
                  </a:moveTo>
                  <a:lnTo>
                    <a:pt x="0" y="7707"/>
                  </a:lnTo>
                  <a:lnTo>
                    <a:pt x="2518" y="7707"/>
                  </a:lnTo>
                  <a:lnTo>
                    <a:pt x="2518" y="6824"/>
                  </a:lnTo>
                  <a:close/>
                  <a:moveTo>
                    <a:pt x="0" y="10225"/>
                  </a:moveTo>
                  <a:lnTo>
                    <a:pt x="0" y="11108"/>
                  </a:lnTo>
                  <a:lnTo>
                    <a:pt x="2518" y="11108"/>
                  </a:lnTo>
                  <a:lnTo>
                    <a:pt x="2518" y="10225"/>
                  </a:lnTo>
                  <a:close/>
                  <a:moveTo>
                    <a:pt x="0" y="13626"/>
                  </a:moveTo>
                  <a:lnTo>
                    <a:pt x="0" y="14530"/>
                  </a:lnTo>
                  <a:lnTo>
                    <a:pt x="2518" y="14530"/>
                  </a:lnTo>
                  <a:lnTo>
                    <a:pt x="2518" y="13626"/>
                  </a:lnTo>
                  <a:close/>
                  <a:moveTo>
                    <a:pt x="0" y="17048"/>
                  </a:moveTo>
                  <a:lnTo>
                    <a:pt x="0" y="17931"/>
                  </a:lnTo>
                  <a:lnTo>
                    <a:pt x="2518" y="17931"/>
                  </a:lnTo>
                  <a:lnTo>
                    <a:pt x="2518" y="17048"/>
                  </a:lnTo>
                  <a:close/>
                  <a:moveTo>
                    <a:pt x="0" y="20449"/>
                  </a:moveTo>
                  <a:lnTo>
                    <a:pt x="0" y="21332"/>
                  </a:lnTo>
                  <a:lnTo>
                    <a:pt x="2518" y="21332"/>
                  </a:lnTo>
                  <a:lnTo>
                    <a:pt x="2518" y="20449"/>
                  </a:lnTo>
                  <a:close/>
                  <a:moveTo>
                    <a:pt x="0" y="23872"/>
                  </a:moveTo>
                  <a:lnTo>
                    <a:pt x="0" y="24755"/>
                  </a:lnTo>
                  <a:lnTo>
                    <a:pt x="2518" y="24755"/>
                  </a:lnTo>
                  <a:lnTo>
                    <a:pt x="2518" y="23872"/>
                  </a:lnTo>
                  <a:close/>
                  <a:moveTo>
                    <a:pt x="0" y="27273"/>
                  </a:moveTo>
                  <a:lnTo>
                    <a:pt x="0" y="28155"/>
                  </a:lnTo>
                  <a:lnTo>
                    <a:pt x="2518" y="28155"/>
                  </a:lnTo>
                  <a:lnTo>
                    <a:pt x="2518" y="27273"/>
                  </a:lnTo>
                  <a:close/>
                  <a:moveTo>
                    <a:pt x="0" y="30695"/>
                  </a:moveTo>
                  <a:lnTo>
                    <a:pt x="0" y="31578"/>
                  </a:lnTo>
                  <a:lnTo>
                    <a:pt x="2518" y="31578"/>
                  </a:lnTo>
                  <a:lnTo>
                    <a:pt x="2518" y="30695"/>
                  </a:lnTo>
                  <a:close/>
                </a:path>
              </a:pathLst>
            </a:custGeom>
            <a:solidFill>
              <a:srgbClr val="4D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8" name="Google Shape;558;p27"/>
            <p:cNvSpPr/>
            <p:nvPr/>
          </p:nvSpPr>
          <p:spPr>
            <a:xfrm>
              <a:off x="805300" y="1857650"/>
              <a:ext cx="388025" cy="332050"/>
            </a:xfrm>
            <a:custGeom>
              <a:avLst/>
              <a:gdLst/>
              <a:ahLst/>
              <a:cxnLst/>
              <a:rect l="l" t="t" r="r" b="b"/>
              <a:pathLst>
                <a:path w="15521" h="13282" extrusionOk="0">
                  <a:moveTo>
                    <a:pt x="13885" y="0"/>
                  </a:moveTo>
                  <a:cubicBezTo>
                    <a:pt x="8525" y="2583"/>
                    <a:pt x="3789" y="6286"/>
                    <a:pt x="1" y="10849"/>
                  </a:cubicBezTo>
                  <a:lnTo>
                    <a:pt x="2907" y="13281"/>
                  </a:lnTo>
                  <a:cubicBezTo>
                    <a:pt x="6351" y="9127"/>
                    <a:pt x="10656" y="5747"/>
                    <a:pt x="15521" y="3401"/>
                  </a:cubicBezTo>
                  <a:lnTo>
                    <a:pt x="13885" y="0"/>
                  </a:lnTo>
                  <a:close/>
                </a:path>
              </a:pathLst>
            </a:custGeom>
            <a:solidFill>
              <a:srgbClr val="0068E8">
                <a:alpha val="40000"/>
              </a:srgbClr>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9" name="Google Shape;559;p27"/>
            <p:cNvSpPr/>
            <p:nvPr/>
          </p:nvSpPr>
          <p:spPr>
            <a:xfrm>
              <a:off x="728350" y="3848725"/>
              <a:ext cx="3064700" cy="183525"/>
            </a:xfrm>
            <a:custGeom>
              <a:avLst/>
              <a:gdLst/>
              <a:ahLst/>
              <a:cxnLst/>
              <a:rect l="l" t="t" r="r" b="b"/>
              <a:pathLst>
                <a:path w="122588" h="7341" extrusionOk="0">
                  <a:moveTo>
                    <a:pt x="1" y="0"/>
                  </a:moveTo>
                  <a:lnTo>
                    <a:pt x="1" y="7341"/>
                  </a:lnTo>
                  <a:lnTo>
                    <a:pt x="1572" y="7341"/>
                  </a:lnTo>
                  <a:lnTo>
                    <a:pt x="1572" y="0"/>
                  </a:lnTo>
                  <a:close/>
                  <a:moveTo>
                    <a:pt x="3036" y="0"/>
                  </a:moveTo>
                  <a:lnTo>
                    <a:pt x="3036" y="7341"/>
                  </a:lnTo>
                  <a:lnTo>
                    <a:pt x="4586" y="7341"/>
                  </a:lnTo>
                  <a:lnTo>
                    <a:pt x="4586" y="0"/>
                  </a:lnTo>
                  <a:close/>
                  <a:moveTo>
                    <a:pt x="6049" y="0"/>
                  </a:moveTo>
                  <a:lnTo>
                    <a:pt x="6049" y="7341"/>
                  </a:lnTo>
                  <a:lnTo>
                    <a:pt x="7621" y="7341"/>
                  </a:lnTo>
                  <a:lnTo>
                    <a:pt x="7621" y="0"/>
                  </a:lnTo>
                  <a:close/>
                  <a:moveTo>
                    <a:pt x="9084" y="0"/>
                  </a:moveTo>
                  <a:lnTo>
                    <a:pt x="9084" y="7341"/>
                  </a:lnTo>
                  <a:lnTo>
                    <a:pt x="10634" y="7341"/>
                  </a:lnTo>
                  <a:lnTo>
                    <a:pt x="10634" y="0"/>
                  </a:lnTo>
                  <a:close/>
                  <a:moveTo>
                    <a:pt x="12119" y="0"/>
                  </a:moveTo>
                  <a:lnTo>
                    <a:pt x="12119" y="7341"/>
                  </a:lnTo>
                  <a:lnTo>
                    <a:pt x="13669" y="7341"/>
                  </a:lnTo>
                  <a:lnTo>
                    <a:pt x="13669" y="0"/>
                  </a:lnTo>
                  <a:close/>
                  <a:moveTo>
                    <a:pt x="15133" y="0"/>
                  </a:moveTo>
                  <a:lnTo>
                    <a:pt x="15133" y="7341"/>
                  </a:lnTo>
                  <a:lnTo>
                    <a:pt x="16704" y="7341"/>
                  </a:lnTo>
                  <a:lnTo>
                    <a:pt x="16704" y="0"/>
                  </a:lnTo>
                  <a:close/>
                  <a:moveTo>
                    <a:pt x="18168" y="0"/>
                  </a:moveTo>
                  <a:lnTo>
                    <a:pt x="18168" y="7341"/>
                  </a:lnTo>
                  <a:lnTo>
                    <a:pt x="19718" y="7341"/>
                  </a:lnTo>
                  <a:lnTo>
                    <a:pt x="19718" y="0"/>
                  </a:lnTo>
                  <a:close/>
                  <a:moveTo>
                    <a:pt x="21182" y="0"/>
                  </a:moveTo>
                  <a:lnTo>
                    <a:pt x="21182" y="7341"/>
                  </a:lnTo>
                  <a:lnTo>
                    <a:pt x="22753" y="7341"/>
                  </a:lnTo>
                  <a:lnTo>
                    <a:pt x="22753" y="0"/>
                  </a:lnTo>
                  <a:close/>
                  <a:moveTo>
                    <a:pt x="24217" y="0"/>
                  </a:moveTo>
                  <a:lnTo>
                    <a:pt x="24217" y="7341"/>
                  </a:lnTo>
                  <a:lnTo>
                    <a:pt x="25767" y="7341"/>
                  </a:lnTo>
                  <a:lnTo>
                    <a:pt x="25767" y="0"/>
                  </a:lnTo>
                  <a:close/>
                  <a:moveTo>
                    <a:pt x="27230" y="0"/>
                  </a:moveTo>
                  <a:lnTo>
                    <a:pt x="27230" y="7341"/>
                  </a:lnTo>
                  <a:lnTo>
                    <a:pt x="28802" y="7341"/>
                  </a:lnTo>
                  <a:lnTo>
                    <a:pt x="28802" y="0"/>
                  </a:lnTo>
                  <a:close/>
                  <a:moveTo>
                    <a:pt x="30265" y="0"/>
                  </a:moveTo>
                  <a:lnTo>
                    <a:pt x="30265" y="7341"/>
                  </a:lnTo>
                  <a:lnTo>
                    <a:pt x="31815" y="7341"/>
                  </a:lnTo>
                  <a:lnTo>
                    <a:pt x="31815" y="0"/>
                  </a:lnTo>
                  <a:close/>
                  <a:moveTo>
                    <a:pt x="33300" y="0"/>
                  </a:moveTo>
                  <a:lnTo>
                    <a:pt x="33300" y="7341"/>
                  </a:lnTo>
                  <a:lnTo>
                    <a:pt x="34850" y="7341"/>
                  </a:lnTo>
                  <a:lnTo>
                    <a:pt x="34850" y="0"/>
                  </a:lnTo>
                  <a:close/>
                  <a:moveTo>
                    <a:pt x="36314" y="0"/>
                  </a:moveTo>
                  <a:lnTo>
                    <a:pt x="36314" y="7341"/>
                  </a:lnTo>
                  <a:lnTo>
                    <a:pt x="37885" y="7341"/>
                  </a:lnTo>
                  <a:lnTo>
                    <a:pt x="37885" y="0"/>
                  </a:lnTo>
                  <a:close/>
                  <a:moveTo>
                    <a:pt x="39349" y="0"/>
                  </a:moveTo>
                  <a:lnTo>
                    <a:pt x="39349" y="7341"/>
                  </a:lnTo>
                  <a:lnTo>
                    <a:pt x="40899" y="7341"/>
                  </a:lnTo>
                  <a:lnTo>
                    <a:pt x="40899" y="0"/>
                  </a:lnTo>
                  <a:close/>
                  <a:moveTo>
                    <a:pt x="42363" y="0"/>
                  </a:moveTo>
                  <a:lnTo>
                    <a:pt x="42363" y="7341"/>
                  </a:lnTo>
                  <a:lnTo>
                    <a:pt x="43934" y="7341"/>
                  </a:lnTo>
                  <a:lnTo>
                    <a:pt x="43934" y="0"/>
                  </a:lnTo>
                  <a:close/>
                  <a:moveTo>
                    <a:pt x="45398" y="0"/>
                  </a:moveTo>
                  <a:lnTo>
                    <a:pt x="45398" y="7341"/>
                  </a:lnTo>
                  <a:lnTo>
                    <a:pt x="46948" y="7341"/>
                  </a:lnTo>
                  <a:lnTo>
                    <a:pt x="46948" y="0"/>
                  </a:lnTo>
                  <a:close/>
                  <a:moveTo>
                    <a:pt x="48411" y="0"/>
                  </a:moveTo>
                  <a:lnTo>
                    <a:pt x="48411" y="7341"/>
                  </a:lnTo>
                  <a:lnTo>
                    <a:pt x="49983" y="7341"/>
                  </a:lnTo>
                  <a:lnTo>
                    <a:pt x="49983" y="0"/>
                  </a:lnTo>
                  <a:close/>
                  <a:moveTo>
                    <a:pt x="51446" y="0"/>
                  </a:moveTo>
                  <a:lnTo>
                    <a:pt x="51446" y="7341"/>
                  </a:lnTo>
                  <a:lnTo>
                    <a:pt x="52996" y="7341"/>
                  </a:lnTo>
                  <a:lnTo>
                    <a:pt x="52996" y="0"/>
                  </a:lnTo>
                  <a:close/>
                  <a:moveTo>
                    <a:pt x="54482" y="0"/>
                  </a:moveTo>
                  <a:lnTo>
                    <a:pt x="54482" y="7341"/>
                  </a:lnTo>
                  <a:lnTo>
                    <a:pt x="56031" y="7341"/>
                  </a:lnTo>
                  <a:lnTo>
                    <a:pt x="56031" y="0"/>
                  </a:lnTo>
                  <a:close/>
                  <a:moveTo>
                    <a:pt x="57495" y="0"/>
                  </a:moveTo>
                  <a:lnTo>
                    <a:pt x="57495" y="7341"/>
                  </a:lnTo>
                  <a:lnTo>
                    <a:pt x="59045" y="7341"/>
                  </a:lnTo>
                  <a:lnTo>
                    <a:pt x="59045" y="0"/>
                  </a:lnTo>
                  <a:close/>
                  <a:moveTo>
                    <a:pt x="60530" y="0"/>
                  </a:moveTo>
                  <a:lnTo>
                    <a:pt x="60530" y="7341"/>
                  </a:lnTo>
                  <a:lnTo>
                    <a:pt x="62080" y="7341"/>
                  </a:lnTo>
                  <a:lnTo>
                    <a:pt x="62080" y="0"/>
                  </a:lnTo>
                  <a:close/>
                  <a:moveTo>
                    <a:pt x="63544" y="0"/>
                  </a:moveTo>
                  <a:lnTo>
                    <a:pt x="63544" y="7341"/>
                  </a:lnTo>
                  <a:lnTo>
                    <a:pt x="65115" y="7341"/>
                  </a:lnTo>
                  <a:lnTo>
                    <a:pt x="65115" y="0"/>
                  </a:lnTo>
                  <a:close/>
                  <a:moveTo>
                    <a:pt x="66579" y="0"/>
                  </a:moveTo>
                  <a:lnTo>
                    <a:pt x="66579" y="7341"/>
                  </a:lnTo>
                  <a:lnTo>
                    <a:pt x="68129" y="7341"/>
                  </a:lnTo>
                  <a:lnTo>
                    <a:pt x="68129" y="0"/>
                  </a:lnTo>
                  <a:close/>
                  <a:moveTo>
                    <a:pt x="69592" y="0"/>
                  </a:moveTo>
                  <a:lnTo>
                    <a:pt x="69592" y="7341"/>
                  </a:lnTo>
                  <a:lnTo>
                    <a:pt x="71164" y="7341"/>
                  </a:lnTo>
                  <a:lnTo>
                    <a:pt x="71164" y="0"/>
                  </a:lnTo>
                  <a:close/>
                  <a:moveTo>
                    <a:pt x="72627" y="0"/>
                  </a:moveTo>
                  <a:lnTo>
                    <a:pt x="72627" y="7341"/>
                  </a:lnTo>
                  <a:lnTo>
                    <a:pt x="74177" y="7341"/>
                  </a:lnTo>
                  <a:lnTo>
                    <a:pt x="74177" y="0"/>
                  </a:lnTo>
                  <a:close/>
                  <a:moveTo>
                    <a:pt x="75641" y="0"/>
                  </a:moveTo>
                  <a:lnTo>
                    <a:pt x="75641" y="7341"/>
                  </a:lnTo>
                  <a:lnTo>
                    <a:pt x="77191" y="7341"/>
                  </a:lnTo>
                  <a:lnTo>
                    <a:pt x="77212" y="0"/>
                  </a:lnTo>
                  <a:close/>
                  <a:moveTo>
                    <a:pt x="78676" y="0"/>
                  </a:moveTo>
                  <a:lnTo>
                    <a:pt x="78676" y="7341"/>
                  </a:lnTo>
                  <a:lnTo>
                    <a:pt x="80226" y="7341"/>
                  </a:lnTo>
                  <a:lnTo>
                    <a:pt x="80226" y="0"/>
                  </a:lnTo>
                  <a:close/>
                  <a:moveTo>
                    <a:pt x="81711" y="0"/>
                  </a:moveTo>
                  <a:lnTo>
                    <a:pt x="81711" y="7341"/>
                  </a:lnTo>
                  <a:lnTo>
                    <a:pt x="83261" y="7341"/>
                  </a:lnTo>
                  <a:lnTo>
                    <a:pt x="83261" y="0"/>
                  </a:lnTo>
                  <a:close/>
                  <a:moveTo>
                    <a:pt x="84725" y="0"/>
                  </a:moveTo>
                  <a:lnTo>
                    <a:pt x="84725" y="7341"/>
                  </a:lnTo>
                  <a:lnTo>
                    <a:pt x="86296" y="7341"/>
                  </a:lnTo>
                  <a:lnTo>
                    <a:pt x="86296" y="0"/>
                  </a:lnTo>
                  <a:close/>
                  <a:moveTo>
                    <a:pt x="87760" y="0"/>
                  </a:moveTo>
                  <a:lnTo>
                    <a:pt x="87760" y="7341"/>
                  </a:lnTo>
                  <a:lnTo>
                    <a:pt x="89310" y="7341"/>
                  </a:lnTo>
                  <a:lnTo>
                    <a:pt x="89310" y="0"/>
                  </a:lnTo>
                  <a:close/>
                  <a:moveTo>
                    <a:pt x="90773" y="0"/>
                  </a:moveTo>
                  <a:lnTo>
                    <a:pt x="90773" y="7341"/>
                  </a:lnTo>
                  <a:lnTo>
                    <a:pt x="92345" y="7341"/>
                  </a:lnTo>
                  <a:lnTo>
                    <a:pt x="92345" y="0"/>
                  </a:lnTo>
                  <a:close/>
                  <a:moveTo>
                    <a:pt x="93808" y="0"/>
                  </a:moveTo>
                  <a:lnTo>
                    <a:pt x="93808" y="7341"/>
                  </a:lnTo>
                  <a:lnTo>
                    <a:pt x="95358" y="7341"/>
                  </a:lnTo>
                  <a:lnTo>
                    <a:pt x="95358" y="0"/>
                  </a:lnTo>
                  <a:close/>
                  <a:moveTo>
                    <a:pt x="96822" y="0"/>
                  </a:moveTo>
                  <a:lnTo>
                    <a:pt x="96822" y="7341"/>
                  </a:lnTo>
                  <a:lnTo>
                    <a:pt x="98393" y="7341"/>
                  </a:lnTo>
                  <a:lnTo>
                    <a:pt x="98393" y="0"/>
                  </a:lnTo>
                  <a:close/>
                  <a:moveTo>
                    <a:pt x="99857" y="0"/>
                  </a:moveTo>
                  <a:lnTo>
                    <a:pt x="99857" y="7341"/>
                  </a:lnTo>
                  <a:lnTo>
                    <a:pt x="101407" y="7341"/>
                  </a:lnTo>
                  <a:lnTo>
                    <a:pt x="101407" y="0"/>
                  </a:lnTo>
                  <a:close/>
                  <a:moveTo>
                    <a:pt x="102871" y="0"/>
                  </a:moveTo>
                  <a:lnTo>
                    <a:pt x="102871" y="7341"/>
                  </a:lnTo>
                  <a:lnTo>
                    <a:pt x="104442" y="7341"/>
                  </a:lnTo>
                  <a:lnTo>
                    <a:pt x="104442" y="0"/>
                  </a:lnTo>
                  <a:close/>
                  <a:moveTo>
                    <a:pt x="105906" y="0"/>
                  </a:moveTo>
                  <a:lnTo>
                    <a:pt x="105906" y="7341"/>
                  </a:lnTo>
                  <a:lnTo>
                    <a:pt x="107456" y="7341"/>
                  </a:lnTo>
                  <a:lnTo>
                    <a:pt x="107456" y="0"/>
                  </a:lnTo>
                  <a:close/>
                  <a:moveTo>
                    <a:pt x="108919" y="0"/>
                  </a:moveTo>
                  <a:lnTo>
                    <a:pt x="108919" y="7341"/>
                  </a:lnTo>
                  <a:lnTo>
                    <a:pt x="110491" y="7341"/>
                  </a:lnTo>
                  <a:lnTo>
                    <a:pt x="110491" y="0"/>
                  </a:lnTo>
                  <a:close/>
                  <a:moveTo>
                    <a:pt x="111976" y="0"/>
                  </a:moveTo>
                  <a:lnTo>
                    <a:pt x="111976" y="7341"/>
                  </a:lnTo>
                  <a:lnTo>
                    <a:pt x="113526" y="7341"/>
                  </a:lnTo>
                  <a:lnTo>
                    <a:pt x="113504" y="0"/>
                  </a:lnTo>
                  <a:close/>
                  <a:moveTo>
                    <a:pt x="114989" y="0"/>
                  </a:moveTo>
                  <a:lnTo>
                    <a:pt x="114989" y="7341"/>
                  </a:lnTo>
                  <a:lnTo>
                    <a:pt x="116539" y="7341"/>
                  </a:lnTo>
                  <a:lnTo>
                    <a:pt x="116539" y="0"/>
                  </a:lnTo>
                  <a:close/>
                  <a:moveTo>
                    <a:pt x="118003" y="0"/>
                  </a:moveTo>
                  <a:lnTo>
                    <a:pt x="118003" y="7341"/>
                  </a:lnTo>
                  <a:lnTo>
                    <a:pt x="119574" y="7341"/>
                  </a:lnTo>
                  <a:lnTo>
                    <a:pt x="119574" y="0"/>
                  </a:lnTo>
                  <a:close/>
                  <a:moveTo>
                    <a:pt x="121038" y="0"/>
                  </a:moveTo>
                  <a:lnTo>
                    <a:pt x="121038" y="7341"/>
                  </a:lnTo>
                  <a:lnTo>
                    <a:pt x="122588" y="7341"/>
                  </a:lnTo>
                  <a:lnTo>
                    <a:pt x="122588" y="0"/>
                  </a:lnTo>
                  <a:close/>
                </a:path>
              </a:pathLst>
            </a:custGeom>
            <a:solidFill>
              <a:srgbClr val="35439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50" name="Google Shape;560;p27"/>
            <p:cNvSpPr/>
            <p:nvPr/>
          </p:nvSpPr>
          <p:spPr>
            <a:xfrm>
              <a:off x="3877525" y="3848175"/>
              <a:ext cx="1971750" cy="31775"/>
            </a:xfrm>
            <a:custGeom>
              <a:avLst/>
              <a:gdLst/>
              <a:ahLst/>
              <a:cxnLst/>
              <a:rect l="l" t="t" r="r" b="b"/>
              <a:pathLst>
                <a:path w="78870" h="1271" extrusionOk="0">
                  <a:moveTo>
                    <a:pt x="0" y="1"/>
                  </a:moveTo>
                  <a:lnTo>
                    <a:pt x="0" y="1271"/>
                  </a:lnTo>
                  <a:lnTo>
                    <a:pt x="78870" y="1271"/>
                  </a:lnTo>
                  <a:lnTo>
                    <a:pt x="78870" y="1"/>
                  </a:lnTo>
                  <a:close/>
                </a:path>
              </a:pathLst>
            </a:custGeom>
            <a:solidFill>
              <a:srgbClr val="0068E8">
                <a:alpha val="40000"/>
              </a:srgbClr>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51" name="Google Shape;561;p27"/>
            <p:cNvSpPr/>
            <p:nvPr/>
          </p:nvSpPr>
          <p:spPr>
            <a:xfrm>
              <a:off x="858050" y="2044375"/>
              <a:ext cx="1478825" cy="1479350"/>
            </a:xfrm>
            <a:custGeom>
              <a:avLst/>
              <a:gdLst/>
              <a:ahLst/>
              <a:cxnLst/>
              <a:rect l="l" t="t" r="r" b="b"/>
              <a:pathLst>
                <a:path w="59153" h="59174" extrusionOk="0">
                  <a:moveTo>
                    <a:pt x="29576" y="0"/>
                  </a:moveTo>
                  <a:lnTo>
                    <a:pt x="29576" y="1270"/>
                  </a:lnTo>
                  <a:lnTo>
                    <a:pt x="30071" y="1270"/>
                  </a:lnTo>
                  <a:lnTo>
                    <a:pt x="30093" y="0"/>
                  </a:lnTo>
                  <a:close/>
                  <a:moveTo>
                    <a:pt x="28285" y="22"/>
                  </a:moveTo>
                  <a:lnTo>
                    <a:pt x="27790" y="43"/>
                  </a:lnTo>
                  <a:lnTo>
                    <a:pt x="27854" y="1313"/>
                  </a:lnTo>
                  <a:lnTo>
                    <a:pt x="28349" y="1292"/>
                  </a:lnTo>
                  <a:lnTo>
                    <a:pt x="28285" y="22"/>
                  </a:lnTo>
                  <a:close/>
                  <a:moveTo>
                    <a:pt x="31384" y="65"/>
                  </a:moveTo>
                  <a:lnTo>
                    <a:pt x="31298" y="1313"/>
                  </a:lnTo>
                  <a:lnTo>
                    <a:pt x="31793" y="1356"/>
                  </a:lnTo>
                  <a:lnTo>
                    <a:pt x="31901" y="86"/>
                  </a:lnTo>
                  <a:lnTo>
                    <a:pt x="31384" y="65"/>
                  </a:lnTo>
                  <a:close/>
                  <a:moveTo>
                    <a:pt x="26520" y="151"/>
                  </a:moveTo>
                  <a:lnTo>
                    <a:pt x="26003" y="216"/>
                  </a:lnTo>
                  <a:lnTo>
                    <a:pt x="26154" y="1464"/>
                  </a:lnTo>
                  <a:lnTo>
                    <a:pt x="26649" y="1421"/>
                  </a:lnTo>
                  <a:lnTo>
                    <a:pt x="26520" y="151"/>
                  </a:lnTo>
                  <a:close/>
                  <a:moveTo>
                    <a:pt x="33192" y="216"/>
                  </a:moveTo>
                  <a:lnTo>
                    <a:pt x="33042" y="1464"/>
                  </a:lnTo>
                  <a:lnTo>
                    <a:pt x="33537" y="1529"/>
                  </a:lnTo>
                  <a:lnTo>
                    <a:pt x="33709" y="280"/>
                  </a:lnTo>
                  <a:lnTo>
                    <a:pt x="33192" y="216"/>
                  </a:lnTo>
                  <a:close/>
                  <a:moveTo>
                    <a:pt x="24711" y="388"/>
                  </a:moveTo>
                  <a:lnTo>
                    <a:pt x="24216" y="495"/>
                  </a:lnTo>
                  <a:lnTo>
                    <a:pt x="24453" y="1722"/>
                  </a:lnTo>
                  <a:lnTo>
                    <a:pt x="24927" y="1636"/>
                  </a:lnTo>
                  <a:lnTo>
                    <a:pt x="24711" y="388"/>
                  </a:lnTo>
                  <a:close/>
                  <a:moveTo>
                    <a:pt x="34979" y="474"/>
                  </a:moveTo>
                  <a:lnTo>
                    <a:pt x="34742" y="1722"/>
                  </a:lnTo>
                  <a:lnTo>
                    <a:pt x="35237" y="1809"/>
                  </a:lnTo>
                  <a:lnTo>
                    <a:pt x="35474" y="603"/>
                  </a:lnTo>
                  <a:lnTo>
                    <a:pt x="34979" y="474"/>
                  </a:lnTo>
                  <a:close/>
                  <a:moveTo>
                    <a:pt x="22968" y="732"/>
                  </a:moveTo>
                  <a:lnTo>
                    <a:pt x="22451" y="861"/>
                  </a:lnTo>
                  <a:lnTo>
                    <a:pt x="22753" y="2088"/>
                  </a:lnTo>
                  <a:lnTo>
                    <a:pt x="23226" y="1959"/>
                  </a:lnTo>
                  <a:lnTo>
                    <a:pt x="22968" y="732"/>
                  </a:lnTo>
                  <a:close/>
                  <a:moveTo>
                    <a:pt x="36744" y="861"/>
                  </a:moveTo>
                  <a:lnTo>
                    <a:pt x="36443" y="2088"/>
                  </a:lnTo>
                  <a:lnTo>
                    <a:pt x="36916" y="2217"/>
                  </a:lnTo>
                  <a:lnTo>
                    <a:pt x="37239" y="991"/>
                  </a:lnTo>
                  <a:lnTo>
                    <a:pt x="36744" y="861"/>
                  </a:lnTo>
                  <a:close/>
                  <a:moveTo>
                    <a:pt x="21203" y="1206"/>
                  </a:moveTo>
                  <a:lnTo>
                    <a:pt x="20708" y="1356"/>
                  </a:lnTo>
                  <a:lnTo>
                    <a:pt x="21074" y="2562"/>
                  </a:lnTo>
                  <a:lnTo>
                    <a:pt x="21569" y="2411"/>
                  </a:lnTo>
                  <a:lnTo>
                    <a:pt x="21203" y="1206"/>
                  </a:lnTo>
                  <a:close/>
                  <a:moveTo>
                    <a:pt x="38488" y="1378"/>
                  </a:moveTo>
                  <a:lnTo>
                    <a:pt x="38100" y="2583"/>
                  </a:lnTo>
                  <a:lnTo>
                    <a:pt x="38574" y="2734"/>
                  </a:lnTo>
                  <a:lnTo>
                    <a:pt x="38961" y="1529"/>
                  </a:lnTo>
                  <a:lnTo>
                    <a:pt x="38488" y="1378"/>
                  </a:lnTo>
                  <a:close/>
                  <a:moveTo>
                    <a:pt x="19481" y="1765"/>
                  </a:moveTo>
                  <a:lnTo>
                    <a:pt x="19007" y="1938"/>
                  </a:lnTo>
                  <a:lnTo>
                    <a:pt x="19459" y="3143"/>
                  </a:lnTo>
                  <a:lnTo>
                    <a:pt x="19933" y="2949"/>
                  </a:lnTo>
                  <a:lnTo>
                    <a:pt x="19481" y="1765"/>
                  </a:lnTo>
                  <a:close/>
                  <a:moveTo>
                    <a:pt x="40188" y="1959"/>
                  </a:moveTo>
                  <a:lnTo>
                    <a:pt x="39736" y="3143"/>
                  </a:lnTo>
                  <a:lnTo>
                    <a:pt x="40210" y="3337"/>
                  </a:lnTo>
                  <a:lnTo>
                    <a:pt x="40683" y="2153"/>
                  </a:lnTo>
                  <a:lnTo>
                    <a:pt x="40188" y="1959"/>
                  </a:lnTo>
                  <a:close/>
                  <a:moveTo>
                    <a:pt x="17823" y="2433"/>
                  </a:moveTo>
                  <a:lnTo>
                    <a:pt x="17350" y="2648"/>
                  </a:lnTo>
                  <a:lnTo>
                    <a:pt x="17866" y="3810"/>
                  </a:lnTo>
                  <a:lnTo>
                    <a:pt x="18318" y="3595"/>
                  </a:lnTo>
                  <a:lnTo>
                    <a:pt x="17823" y="2433"/>
                  </a:lnTo>
                  <a:close/>
                  <a:moveTo>
                    <a:pt x="41867" y="2670"/>
                  </a:moveTo>
                  <a:lnTo>
                    <a:pt x="41329" y="3810"/>
                  </a:lnTo>
                  <a:lnTo>
                    <a:pt x="41781" y="4026"/>
                  </a:lnTo>
                  <a:lnTo>
                    <a:pt x="42341" y="2885"/>
                  </a:lnTo>
                  <a:lnTo>
                    <a:pt x="41867" y="2670"/>
                  </a:lnTo>
                  <a:close/>
                  <a:moveTo>
                    <a:pt x="16187" y="3208"/>
                  </a:moveTo>
                  <a:lnTo>
                    <a:pt x="15735" y="3444"/>
                  </a:lnTo>
                  <a:lnTo>
                    <a:pt x="16317" y="4564"/>
                  </a:lnTo>
                  <a:lnTo>
                    <a:pt x="16769" y="4327"/>
                  </a:lnTo>
                  <a:lnTo>
                    <a:pt x="16187" y="3208"/>
                  </a:lnTo>
                  <a:close/>
                  <a:moveTo>
                    <a:pt x="43460" y="3466"/>
                  </a:moveTo>
                  <a:lnTo>
                    <a:pt x="42879" y="4564"/>
                  </a:lnTo>
                  <a:lnTo>
                    <a:pt x="43309" y="4801"/>
                  </a:lnTo>
                  <a:lnTo>
                    <a:pt x="43912" y="3703"/>
                  </a:lnTo>
                  <a:lnTo>
                    <a:pt x="43460" y="3466"/>
                  </a:lnTo>
                  <a:close/>
                  <a:moveTo>
                    <a:pt x="14595" y="4069"/>
                  </a:moveTo>
                  <a:lnTo>
                    <a:pt x="14164" y="4348"/>
                  </a:lnTo>
                  <a:lnTo>
                    <a:pt x="14831" y="5425"/>
                  </a:lnTo>
                  <a:lnTo>
                    <a:pt x="15240" y="5166"/>
                  </a:lnTo>
                  <a:lnTo>
                    <a:pt x="14595" y="4069"/>
                  </a:lnTo>
                  <a:close/>
                  <a:moveTo>
                    <a:pt x="45031" y="4348"/>
                  </a:moveTo>
                  <a:lnTo>
                    <a:pt x="44364" y="5425"/>
                  </a:lnTo>
                  <a:lnTo>
                    <a:pt x="44795" y="5683"/>
                  </a:lnTo>
                  <a:lnTo>
                    <a:pt x="45462" y="4607"/>
                  </a:lnTo>
                  <a:lnTo>
                    <a:pt x="45031" y="4348"/>
                  </a:lnTo>
                  <a:close/>
                  <a:moveTo>
                    <a:pt x="13066" y="5037"/>
                  </a:moveTo>
                  <a:lnTo>
                    <a:pt x="12657" y="5339"/>
                  </a:lnTo>
                  <a:lnTo>
                    <a:pt x="13368" y="6350"/>
                  </a:lnTo>
                  <a:lnTo>
                    <a:pt x="13777" y="6092"/>
                  </a:lnTo>
                  <a:lnTo>
                    <a:pt x="13066" y="5037"/>
                  </a:lnTo>
                  <a:close/>
                  <a:moveTo>
                    <a:pt x="46517" y="5339"/>
                  </a:moveTo>
                  <a:lnTo>
                    <a:pt x="45806" y="6372"/>
                  </a:lnTo>
                  <a:lnTo>
                    <a:pt x="46194" y="6652"/>
                  </a:lnTo>
                  <a:lnTo>
                    <a:pt x="46947" y="5640"/>
                  </a:lnTo>
                  <a:lnTo>
                    <a:pt x="46517" y="5339"/>
                  </a:lnTo>
                  <a:close/>
                  <a:moveTo>
                    <a:pt x="11602" y="6092"/>
                  </a:moveTo>
                  <a:lnTo>
                    <a:pt x="11194" y="6415"/>
                  </a:lnTo>
                  <a:lnTo>
                    <a:pt x="11968" y="7405"/>
                  </a:lnTo>
                  <a:lnTo>
                    <a:pt x="12356" y="7082"/>
                  </a:lnTo>
                  <a:lnTo>
                    <a:pt x="11602" y="6092"/>
                  </a:lnTo>
                  <a:close/>
                  <a:moveTo>
                    <a:pt x="47959" y="6415"/>
                  </a:moveTo>
                  <a:lnTo>
                    <a:pt x="47184" y="7405"/>
                  </a:lnTo>
                  <a:lnTo>
                    <a:pt x="47571" y="7706"/>
                  </a:lnTo>
                  <a:lnTo>
                    <a:pt x="48368" y="6738"/>
                  </a:lnTo>
                  <a:lnTo>
                    <a:pt x="47959" y="6415"/>
                  </a:lnTo>
                  <a:close/>
                  <a:moveTo>
                    <a:pt x="10203" y="7233"/>
                  </a:moveTo>
                  <a:cubicBezTo>
                    <a:pt x="10074" y="7340"/>
                    <a:pt x="9945" y="7470"/>
                    <a:pt x="9816" y="7577"/>
                  </a:cubicBezTo>
                  <a:lnTo>
                    <a:pt x="10655" y="8524"/>
                  </a:lnTo>
                  <a:lnTo>
                    <a:pt x="10655" y="8503"/>
                  </a:lnTo>
                  <a:cubicBezTo>
                    <a:pt x="10785" y="8395"/>
                    <a:pt x="10892" y="8288"/>
                    <a:pt x="11021" y="8201"/>
                  </a:cubicBezTo>
                  <a:lnTo>
                    <a:pt x="10203" y="7233"/>
                  </a:lnTo>
                  <a:close/>
                  <a:moveTo>
                    <a:pt x="49337" y="7577"/>
                  </a:moveTo>
                  <a:lnTo>
                    <a:pt x="48497" y="8524"/>
                  </a:lnTo>
                  <a:lnTo>
                    <a:pt x="48863" y="8847"/>
                  </a:lnTo>
                  <a:lnTo>
                    <a:pt x="49724" y="7922"/>
                  </a:lnTo>
                  <a:lnTo>
                    <a:pt x="49337" y="7577"/>
                  </a:lnTo>
                  <a:close/>
                  <a:moveTo>
                    <a:pt x="8869" y="8460"/>
                  </a:moveTo>
                  <a:cubicBezTo>
                    <a:pt x="8761" y="8589"/>
                    <a:pt x="8632" y="8697"/>
                    <a:pt x="8503" y="8826"/>
                  </a:cubicBezTo>
                  <a:lnTo>
                    <a:pt x="9407" y="9708"/>
                  </a:lnTo>
                  <a:cubicBezTo>
                    <a:pt x="9515" y="9579"/>
                    <a:pt x="9644" y="9471"/>
                    <a:pt x="9751" y="9364"/>
                  </a:cubicBezTo>
                  <a:lnTo>
                    <a:pt x="8869" y="8460"/>
                  </a:lnTo>
                  <a:close/>
                  <a:moveTo>
                    <a:pt x="50650" y="8826"/>
                  </a:moveTo>
                  <a:lnTo>
                    <a:pt x="49746" y="9708"/>
                  </a:lnTo>
                  <a:lnTo>
                    <a:pt x="50090" y="10074"/>
                  </a:lnTo>
                  <a:lnTo>
                    <a:pt x="51016" y="9192"/>
                  </a:lnTo>
                  <a:lnTo>
                    <a:pt x="50650" y="8826"/>
                  </a:lnTo>
                  <a:close/>
                  <a:moveTo>
                    <a:pt x="7620" y="9751"/>
                  </a:moveTo>
                  <a:lnTo>
                    <a:pt x="7276" y="10139"/>
                  </a:lnTo>
                  <a:lnTo>
                    <a:pt x="8223" y="10978"/>
                  </a:lnTo>
                  <a:lnTo>
                    <a:pt x="8567" y="10612"/>
                  </a:lnTo>
                  <a:lnTo>
                    <a:pt x="7620" y="9751"/>
                  </a:lnTo>
                  <a:close/>
                  <a:moveTo>
                    <a:pt x="51877" y="10160"/>
                  </a:moveTo>
                  <a:lnTo>
                    <a:pt x="50929" y="10978"/>
                  </a:lnTo>
                  <a:lnTo>
                    <a:pt x="51252" y="11366"/>
                  </a:lnTo>
                  <a:lnTo>
                    <a:pt x="52199" y="10548"/>
                  </a:lnTo>
                  <a:lnTo>
                    <a:pt x="51877" y="10160"/>
                  </a:lnTo>
                  <a:close/>
                  <a:moveTo>
                    <a:pt x="6458" y="11129"/>
                  </a:moveTo>
                  <a:lnTo>
                    <a:pt x="6157" y="11538"/>
                  </a:lnTo>
                  <a:lnTo>
                    <a:pt x="7147" y="12313"/>
                  </a:lnTo>
                  <a:lnTo>
                    <a:pt x="7448" y="11904"/>
                  </a:lnTo>
                  <a:lnTo>
                    <a:pt x="6458" y="11129"/>
                  </a:lnTo>
                  <a:close/>
                  <a:moveTo>
                    <a:pt x="53017" y="11538"/>
                  </a:moveTo>
                  <a:lnTo>
                    <a:pt x="52027" y="12313"/>
                  </a:lnTo>
                  <a:lnTo>
                    <a:pt x="52329" y="12700"/>
                  </a:lnTo>
                  <a:lnTo>
                    <a:pt x="53340" y="11947"/>
                  </a:lnTo>
                  <a:lnTo>
                    <a:pt x="53017" y="11538"/>
                  </a:lnTo>
                  <a:close/>
                  <a:moveTo>
                    <a:pt x="5360" y="12571"/>
                  </a:moveTo>
                  <a:lnTo>
                    <a:pt x="5080" y="12980"/>
                  </a:lnTo>
                  <a:lnTo>
                    <a:pt x="6135" y="13690"/>
                  </a:lnTo>
                  <a:lnTo>
                    <a:pt x="6393" y="13303"/>
                  </a:lnTo>
                  <a:lnTo>
                    <a:pt x="5360" y="12571"/>
                  </a:lnTo>
                  <a:close/>
                  <a:moveTo>
                    <a:pt x="54072" y="12980"/>
                  </a:moveTo>
                  <a:lnTo>
                    <a:pt x="53039" y="13690"/>
                  </a:lnTo>
                  <a:lnTo>
                    <a:pt x="53297" y="14099"/>
                  </a:lnTo>
                  <a:lnTo>
                    <a:pt x="54374" y="13411"/>
                  </a:lnTo>
                  <a:lnTo>
                    <a:pt x="54072" y="12980"/>
                  </a:lnTo>
                  <a:close/>
                  <a:moveTo>
                    <a:pt x="4391" y="14056"/>
                  </a:moveTo>
                  <a:lnTo>
                    <a:pt x="4133" y="14508"/>
                  </a:lnTo>
                  <a:lnTo>
                    <a:pt x="5209" y="15133"/>
                  </a:lnTo>
                  <a:lnTo>
                    <a:pt x="5468" y="14724"/>
                  </a:lnTo>
                  <a:lnTo>
                    <a:pt x="4391" y="14056"/>
                  </a:lnTo>
                  <a:close/>
                  <a:moveTo>
                    <a:pt x="55041" y="14508"/>
                  </a:moveTo>
                  <a:lnTo>
                    <a:pt x="53965" y="15154"/>
                  </a:lnTo>
                  <a:lnTo>
                    <a:pt x="54201" y="15585"/>
                  </a:lnTo>
                  <a:lnTo>
                    <a:pt x="55299" y="14960"/>
                  </a:lnTo>
                  <a:lnTo>
                    <a:pt x="55041" y="14508"/>
                  </a:lnTo>
                  <a:close/>
                  <a:moveTo>
                    <a:pt x="3487" y="15628"/>
                  </a:moveTo>
                  <a:lnTo>
                    <a:pt x="3251" y="16080"/>
                  </a:lnTo>
                  <a:lnTo>
                    <a:pt x="4370" y="16661"/>
                  </a:lnTo>
                  <a:lnTo>
                    <a:pt x="4607" y="16230"/>
                  </a:lnTo>
                  <a:lnTo>
                    <a:pt x="3487" y="15628"/>
                  </a:lnTo>
                  <a:close/>
                  <a:moveTo>
                    <a:pt x="55902" y="16101"/>
                  </a:moveTo>
                  <a:lnTo>
                    <a:pt x="54782" y="16682"/>
                  </a:lnTo>
                  <a:lnTo>
                    <a:pt x="54998" y="17134"/>
                  </a:lnTo>
                  <a:lnTo>
                    <a:pt x="56139" y="16575"/>
                  </a:lnTo>
                  <a:lnTo>
                    <a:pt x="55902" y="16101"/>
                  </a:lnTo>
                  <a:close/>
                  <a:moveTo>
                    <a:pt x="2669" y="17242"/>
                  </a:moveTo>
                  <a:lnTo>
                    <a:pt x="2454" y="17716"/>
                  </a:lnTo>
                  <a:lnTo>
                    <a:pt x="3617" y="18211"/>
                  </a:lnTo>
                  <a:lnTo>
                    <a:pt x="3810" y="17780"/>
                  </a:lnTo>
                  <a:lnTo>
                    <a:pt x="2669" y="17242"/>
                  </a:lnTo>
                  <a:close/>
                  <a:moveTo>
                    <a:pt x="56677" y="17737"/>
                  </a:moveTo>
                  <a:lnTo>
                    <a:pt x="55536" y="18254"/>
                  </a:lnTo>
                  <a:lnTo>
                    <a:pt x="55730" y="18706"/>
                  </a:lnTo>
                  <a:lnTo>
                    <a:pt x="56892" y="18211"/>
                  </a:lnTo>
                  <a:lnTo>
                    <a:pt x="56677" y="17737"/>
                  </a:lnTo>
                  <a:close/>
                  <a:moveTo>
                    <a:pt x="1981" y="18900"/>
                  </a:moveTo>
                  <a:lnTo>
                    <a:pt x="1808" y="19373"/>
                  </a:lnTo>
                  <a:lnTo>
                    <a:pt x="2992" y="19825"/>
                  </a:lnTo>
                  <a:lnTo>
                    <a:pt x="3165" y="19352"/>
                  </a:lnTo>
                  <a:lnTo>
                    <a:pt x="1981" y="18900"/>
                  </a:lnTo>
                  <a:close/>
                  <a:moveTo>
                    <a:pt x="57366" y="19416"/>
                  </a:moveTo>
                  <a:lnTo>
                    <a:pt x="56182" y="19847"/>
                  </a:lnTo>
                  <a:lnTo>
                    <a:pt x="56354" y="20320"/>
                  </a:lnTo>
                  <a:lnTo>
                    <a:pt x="57538" y="19911"/>
                  </a:lnTo>
                  <a:lnTo>
                    <a:pt x="57366" y="19416"/>
                  </a:lnTo>
                  <a:close/>
                  <a:moveTo>
                    <a:pt x="1378" y="20600"/>
                  </a:moveTo>
                  <a:lnTo>
                    <a:pt x="1227" y="21095"/>
                  </a:lnTo>
                  <a:lnTo>
                    <a:pt x="2433" y="21461"/>
                  </a:lnTo>
                  <a:lnTo>
                    <a:pt x="2583" y="20987"/>
                  </a:lnTo>
                  <a:lnTo>
                    <a:pt x="1378" y="20600"/>
                  </a:lnTo>
                  <a:close/>
                  <a:moveTo>
                    <a:pt x="57925" y="21138"/>
                  </a:moveTo>
                  <a:lnTo>
                    <a:pt x="56720" y="21483"/>
                  </a:lnTo>
                  <a:lnTo>
                    <a:pt x="56849" y="21956"/>
                  </a:lnTo>
                  <a:lnTo>
                    <a:pt x="58076" y="21633"/>
                  </a:lnTo>
                  <a:lnTo>
                    <a:pt x="57925" y="21138"/>
                  </a:lnTo>
                  <a:close/>
                  <a:moveTo>
                    <a:pt x="883" y="22322"/>
                  </a:moveTo>
                  <a:lnTo>
                    <a:pt x="775" y="22839"/>
                  </a:lnTo>
                  <a:lnTo>
                    <a:pt x="1981" y="23118"/>
                  </a:lnTo>
                  <a:lnTo>
                    <a:pt x="2110" y="22645"/>
                  </a:lnTo>
                  <a:lnTo>
                    <a:pt x="883" y="22322"/>
                  </a:lnTo>
                  <a:close/>
                  <a:moveTo>
                    <a:pt x="58399" y="22882"/>
                  </a:moveTo>
                  <a:lnTo>
                    <a:pt x="57172" y="23162"/>
                  </a:lnTo>
                  <a:lnTo>
                    <a:pt x="57279" y="23635"/>
                  </a:lnTo>
                  <a:lnTo>
                    <a:pt x="58506" y="23377"/>
                  </a:lnTo>
                  <a:lnTo>
                    <a:pt x="58399" y="22882"/>
                  </a:lnTo>
                  <a:close/>
                  <a:moveTo>
                    <a:pt x="495" y="24087"/>
                  </a:moveTo>
                  <a:lnTo>
                    <a:pt x="409" y="24604"/>
                  </a:lnTo>
                  <a:lnTo>
                    <a:pt x="1658" y="24819"/>
                  </a:lnTo>
                  <a:lnTo>
                    <a:pt x="1744" y="24324"/>
                  </a:lnTo>
                  <a:lnTo>
                    <a:pt x="495" y="24087"/>
                  </a:lnTo>
                  <a:close/>
                  <a:moveTo>
                    <a:pt x="58743" y="24647"/>
                  </a:moveTo>
                  <a:lnTo>
                    <a:pt x="57516" y="24862"/>
                  </a:lnTo>
                  <a:lnTo>
                    <a:pt x="57581" y="25357"/>
                  </a:lnTo>
                  <a:lnTo>
                    <a:pt x="58829" y="25163"/>
                  </a:lnTo>
                  <a:lnTo>
                    <a:pt x="58743" y="24647"/>
                  </a:lnTo>
                  <a:close/>
                  <a:moveTo>
                    <a:pt x="237" y="25895"/>
                  </a:moveTo>
                  <a:lnTo>
                    <a:pt x="172" y="26390"/>
                  </a:lnTo>
                  <a:lnTo>
                    <a:pt x="1421" y="26519"/>
                  </a:lnTo>
                  <a:lnTo>
                    <a:pt x="1486" y="26046"/>
                  </a:lnTo>
                  <a:lnTo>
                    <a:pt x="237" y="25895"/>
                  </a:lnTo>
                  <a:close/>
                  <a:moveTo>
                    <a:pt x="59001" y="26433"/>
                  </a:moveTo>
                  <a:lnTo>
                    <a:pt x="57753" y="26563"/>
                  </a:lnTo>
                  <a:lnTo>
                    <a:pt x="57796" y="27058"/>
                  </a:lnTo>
                  <a:lnTo>
                    <a:pt x="59045" y="26950"/>
                  </a:lnTo>
                  <a:lnTo>
                    <a:pt x="59001" y="26433"/>
                  </a:lnTo>
                  <a:close/>
                  <a:moveTo>
                    <a:pt x="65" y="27660"/>
                  </a:moveTo>
                  <a:lnTo>
                    <a:pt x="22" y="28177"/>
                  </a:lnTo>
                  <a:lnTo>
                    <a:pt x="1292" y="28241"/>
                  </a:lnTo>
                  <a:lnTo>
                    <a:pt x="1313" y="27746"/>
                  </a:lnTo>
                  <a:lnTo>
                    <a:pt x="65" y="27660"/>
                  </a:lnTo>
                  <a:close/>
                  <a:moveTo>
                    <a:pt x="59131" y="28220"/>
                  </a:moveTo>
                  <a:lnTo>
                    <a:pt x="57882" y="28285"/>
                  </a:lnTo>
                  <a:lnTo>
                    <a:pt x="57882" y="28780"/>
                  </a:lnTo>
                  <a:lnTo>
                    <a:pt x="59152" y="28737"/>
                  </a:lnTo>
                  <a:lnTo>
                    <a:pt x="59131" y="28220"/>
                  </a:lnTo>
                  <a:close/>
                  <a:moveTo>
                    <a:pt x="1270" y="29468"/>
                  </a:moveTo>
                  <a:lnTo>
                    <a:pt x="0" y="29598"/>
                  </a:lnTo>
                  <a:lnTo>
                    <a:pt x="0" y="30093"/>
                  </a:lnTo>
                  <a:lnTo>
                    <a:pt x="1270" y="30071"/>
                  </a:lnTo>
                  <a:lnTo>
                    <a:pt x="1270" y="29468"/>
                  </a:lnTo>
                  <a:close/>
                  <a:moveTo>
                    <a:pt x="57882" y="30007"/>
                  </a:moveTo>
                  <a:lnTo>
                    <a:pt x="57882" y="30502"/>
                  </a:lnTo>
                  <a:lnTo>
                    <a:pt x="59152" y="30545"/>
                  </a:lnTo>
                  <a:lnTo>
                    <a:pt x="59152" y="30028"/>
                  </a:lnTo>
                  <a:lnTo>
                    <a:pt x="57882" y="30007"/>
                  </a:lnTo>
                  <a:close/>
                  <a:moveTo>
                    <a:pt x="1292" y="31320"/>
                  </a:moveTo>
                  <a:lnTo>
                    <a:pt x="43" y="31384"/>
                  </a:lnTo>
                  <a:lnTo>
                    <a:pt x="86" y="31901"/>
                  </a:lnTo>
                  <a:lnTo>
                    <a:pt x="1335" y="31815"/>
                  </a:lnTo>
                  <a:lnTo>
                    <a:pt x="1292" y="31320"/>
                  </a:lnTo>
                  <a:close/>
                  <a:moveTo>
                    <a:pt x="57818" y="31750"/>
                  </a:moveTo>
                  <a:lnTo>
                    <a:pt x="57775" y="32224"/>
                  </a:lnTo>
                  <a:lnTo>
                    <a:pt x="59045" y="32353"/>
                  </a:lnTo>
                  <a:lnTo>
                    <a:pt x="59088" y="31836"/>
                  </a:lnTo>
                  <a:lnTo>
                    <a:pt x="57818" y="31750"/>
                  </a:lnTo>
                  <a:close/>
                  <a:moveTo>
                    <a:pt x="1464" y="33020"/>
                  </a:moveTo>
                  <a:lnTo>
                    <a:pt x="194" y="33192"/>
                  </a:lnTo>
                  <a:lnTo>
                    <a:pt x="280" y="33687"/>
                  </a:lnTo>
                  <a:lnTo>
                    <a:pt x="1529" y="33515"/>
                  </a:lnTo>
                  <a:lnTo>
                    <a:pt x="1464" y="33020"/>
                  </a:lnTo>
                  <a:close/>
                  <a:moveTo>
                    <a:pt x="57645" y="33429"/>
                  </a:moveTo>
                  <a:lnTo>
                    <a:pt x="57559" y="33924"/>
                  </a:lnTo>
                  <a:lnTo>
                    <a:pt x="58808" y="34118"/>
                  </a:lnTo>
                  <a:lnTo>
                    <a:pt x="58894" y="33601"/>
                  </a:lnTo>
                  <a:lnTo>
                    <a:pt x="57645" y="33429"/>
                  </a:lnTo>
                  <a:close/>
                  <a:moveTo>
                    <a:pt x="1722" y="34742"/>
                  </a:moveTo>
                  <a:lnTo>
                    <a:pt x="474" y="34957"/>
                  </a:lnTo>
                  <a:lnTo>
                    <a:pt x="581" y="35474"/>
                  </a:lnTo>
                  <a:lnTo>
                    <a:pt x="1808" y="35216"/>
                  </a:lnTo>
                  <a:lnTo>
                    <a:pt x="1722" y="34742"/>
                  </a:lnTo>
                  <a:close/>
                  <a:moveTo>
                    <a:pt x="57344" y="35151"/>
                  </a:moveTo>
                  <a:lnTo>
                    <a:pt x="57258" y="35625"/>
                  </a:lnTo>
                  <a:lnTo>
                    <a:pt x="58485" y="35904"/>
                  </a:lnTo>
                  <a:lnTo>
                    <a:pt x="58592" y="35388"/>
                  </a:lnTo>
                  <a:lnTo>
                    <a:pt x="57344" y="35151"/>
                  </a:lnTo>
                  <a:close/>
                  <a:moveTo>
                    <a:pt x="2088" y="36421"/>
                  </a:moveTo>
                  <a:lnTo>
                    <a:pt x="861" y="36722"/>
                  </a:lnTo>
                  <a:lnTo>
                    <a:pt x="990" y="37218"/>
                  </a:lnTo>
                  <a:lnTo>
                    <a:pt x="2217" y="36895"/>
                  </a:lnTo>
                  <a:lnTo>
                    <a:pt x="2088" y="36421"/>
                  </a:lnTo>
                  <a:close/>
                  <a:moveTo>
                    <a:pt x="56957" y="36830"/>
                  </a:moveTo>
                  <a:lnTo>
                    <a:pt x="56827" y="37304"/>
                  </a:lnTo>
                  <a:lnTo>
                    <a:pt x="58054" y="37648"/>
                  </a:lnTo>
                  <a:lnTo>
                    <a:pt x="58184" y="37153"/>
                  </a:lnTo>
                  <a:lnTo>
                    <a:pt x="56957" y="36830"/>
                  </a:lnTo>
                  <a:close/>
                  <a:moveTo>
                    <a:pt x="2562" y="38079"/>
                  </a:moveTo>
                  <a:lnTo>
                    <a:pt x="1356" y="38466"/>
                  </a:lnTo>
                  <a:lnTo>
                    <a:pt x="1507" y="38961"/>
                  </a:lnTo>
                  <a:lnTo>
                    <a:pt x="2712" y="38552"/>
                  </a:lnTo>
                  <a:lnTo>
                    <a:pt x="2562" y="38079"/>
                  </a:lnTo>
                  <a:close/>
                  <a:moveTo>
                    <a:pt x="56483" y="38487"/>
                  </a:moveTo>
                  <a:lnTo>
                    <a:pt x="56311" y="38961"/>
                  </a:lnTo>
                  <a:lnTo>
                    <a:pt x="57516" y="39370"/>
                  </a:lnTo>
                  <a:lnTo>
                    <a:pt x="57667" y="38875"/>
                  </a:lnTo>
                  <a:lnTo>
                    <a:pt x="56483" y="38487"/>
                  </a:lnTo>
                  <a:close/>
                  <a:moveTo>
                    <a:pt x="3121" y="39714"/>
                  </a:moveTo>
                  <a:lnTo>
                    <a:pt x="1938" y="40166"/>
                  </a:lnTo>
                  <a:lnTo>
                    <a:pt x="2131" y="40662"/>
                  </a:lnTo>
                  <a:lnTo>
                    <a:pt x="3294" y="40166"/>
                  </a:lnTo>
                  <a:lnTo>
                    <a:pt x="3121" y="39714"/>
                  </a:lnTo>
                  <a:close/>
                  <a:moveTo>
                    <a:pt x="55880" y="40102"/>
                  </a:moveTo>
                  <a:lnTo>
                    <a:pt x="55687" y="40554"/>
                  </a:lnTo>
                  <a:lnTo>
                    <a:pt x="56849" y="41049"/>
                  </a:lnTo>
                  <a:lnTo>
                    <a:pt x="57043" y="40575"/>
                  </a:lnTo>
                  <a:lnTo>
                    <a:pt x="55880" y="40102"/>
                  </a:lnTo>
                  <a:close/>
                  <a:moveTo>
                    <a:pt x="3789" y="41307"/>
                  </a:moveTo>
                  <a:lnTo>
                    <a:pt x="2648" y="41845"/>
                  </a:lnTo>
                  <a:lnTo>
                    <a:pt x="2863" y="42297"/>
                  </a:lnTo>
                  <a:lnTo>
                    <a:pt x="4004" y="41759"/>
                  </a:lnTo>
                  <a:lnTo>
                    <a:pt x="3789" y="41307"/>
                  </a:lnTo>
                  <a:close/>
                  <a:moveTo>
                    <a:pt x="55191" y="41695"/>
                  </a:moveTo>
                  <a:lnTo>
                    <a:pt x="54976" y="42125"/>
                  </a:lnTo>
                  <a:lnTo>
                    <a:pt x="56117" y="42685"/>
                  </a:lnTo>
                  <a:lnTo>
                    <a:pt x="56332" y="42233"/>
                  </a:lnTo>
                  <a:lnTo>
                    <a:pt x="55191" y="41695"/>
                  </a:lnTo>
                  <a:close/>
                  <a:moveTo>
                    <a:pt x="4564" y="42879"/>
                  </a:moveTo>
                  <a:lnTo>
                    <a:pt x="3444" y="43460"/>
                  </a:lnTo>
                  <a:lnTo>
                    <a:pt x="3681" y="43912"/>
                  </a:lnTo>
                  <a:lnTo>
                    <a:pt x="4800" y="43309"/>
                  </a:lnTo>
                  <a:lnTo>
                    <a:pt x="4564" y="42879"/>
                  </a:lnTo>
                  <a:close/>
                  <a:moveTo>
                    <a:pt x="54417" y="43223"/>
                  </a:moveTo>
                  <a:lnTo>
                    <a:pt x="54158" y="43654"/>
                  </a:lnTo>
                  <a:lnTo>
                    <a:pt x="55256" y="44278"/>
                  </a:lnTo>
                  <a:lnTo>
                    <a:pt x="55514" y="43826"/>
                  </a:lnTo>
                  <a:lnTo>
                    <a:pt x="54417" y="43223"/>
                  </a:lnTo>
                  <a:close/>
                  <a:moveTo>
                    <a:pt x="5425" y="44364"/>
                  </a:moveTo>
                  <a:lnTo>
                    <a:pt x="4348" y="45031"/>
                  </a:lnTo>
                  <a:lnTo>
                    <a:pt x="4607" y="45462"/>
                  </a:lnTo>
                  <a:lnTo>
                    <a:pt x="5683" y="44794"/>
                  </a:lnTo>
                  <a:lnTo>
                    <a:pt x="5425" y="44364"/>
                  </a:lnTo>
                  <a:close/>
                  <a:moveTo>
                    <a:pt x="53534" y="44708"/>
                  </a:moveTo>
                  <a:lnTo>
                    <a:pt x="53276" y="45117"/>
                  </a:lnTo>
                  <a:lnTo>
                    <a:pt x="54309" y="45828"/>
                  </a:lnTo>
                  <a:lnTo>
                    <a:pt x="54610" y="45376"/>
                  </a:lnTo>
                  <a:lnTo>
                    <a:pt x="53534" y="44708"/>
                  </a:lnTo>
                  <a:close/>
                  <a:moveTo>
                    <a:pt x="6372" y="45828"/>
                  </a:moveTo>
                  <a:lnTo>
                    <a:pt x="5339" y="46538"/>
                  </a:lnTo>
                  <a:lnTo>
                    <a:pt x="5618" y="46968"/>
                  </a:lnTo>
                  <a:lnTo>
                    <a:pt x="6673" y="46215"/>
                  </a:lnTo>
                  <a:lnTo>
                    <a:pt x="6372" y="45828"/>
                  </a:lnTo>
                  <a:close/>
                  <a:moveTo>
                    <a:pt x="52565" y="46150"/>
                  </a:moveTo>
                  <a:lnTo>
                    <a:pt x="52264" y="46538"/>
                  </a:lnTo>
                  <a:lnTo>
                    <a:pt x="53276" y="47291"/>
                  </a:lnTo>
                  <a:lnTo>
                    <a:pt x="53577" y="46882"/>
                  </a:lnTo>
                  <a:lnTo>
                    <a:pt x="52565" y="46150"/>
                  </a:lnTo>
                  <a:close/>
                  <a:moveTo>
                    <a:pt x="7384" y="47205"/>
                  </a:moveTo>
                  <a:lnTo>
                    <a:pt x="6393" y="47980"/>
                  </a:lnTo>
                  <a:lnTo>
                    <a:pt x="6716" y="48389"/>
                  </a:lnTo>
                  <a:lnTo>
                    <a:pt x="7706" y="47593"/>
                  </a:lnTo>
                  <a:lnTo>
                    <a:pt x="7384" y="47205"/>
                  </a:lnTo>
                  <a:close/>
                  <a:moveTo>
                    <a:pt x="51511" y="47507"/>
                  </a:moveTo>
                  <a:lnTo>
                    <a:pt x="51188" y="47894"/>
                  </a:lnTo>
                  <a:lnTo>
                    <a:pt x="52156" y="48712"/>
                  </a:lnTo>
                  <a:lnTo>
                    <a:pt x="52479" y="48325"/>
                  </a:lnTo>
                  <a:lnTo>
                    <a:pt x="51511" y="47507"/>
                  </a:lnTo>
                  <a:close/>
                  <a:moveTo>
                    <a:pt x="8503" y="48540"/>
                  </a:moveTo>
                  <a:lnTo>
                    <a:pt x="7577" y="49379"/>
                  </a:lnTo>
                  <a:lnTo>
                    <a:pt x="7922" y="49745"/>
                  </a:lnTo>
                  <a:lnTo>
                    <a:pt x="8847" y="48884"/>
                  </a:lnTo>
                  <a:lnTo>
                    <a:pt x="8503" y="48540"/>
                  </a:lnTo>
                  <a:close/>
                  <a:moveTo>
                    <a:pt x="50370" y="48820"/>
                  </a:moveTo>
                  <a:lnTo>
                    <a:pt x="50047" y="49186"/>
                  </a:lnTo>
                  <a:lnTo>
                    <a:pt x="50951" y="50047"/>
                  </a:lnTo>
                  <a:lnTo>
                    <a:pt x="51317" y="49681"/>
                  </a:lnTo>
                  <a:lnTo>
                    <a:pt x="50370" y="48820"/>
                  </a:lnTo>
                  <a:close/>
                  <a:moveTo>
                    <a:pt x="9708" y="49788"/>
                  </a:moveTo>
                  <a:lnTo>
                    <a:pt x="8826" y="50671"/>
                  </a:lnTo>
                  <a:cubicBezTo>
                    <a:pt x="8933" y="50800"/>
                    <a:pt x="9062" y="50929"/>
                    <a:pt x="9192" y="51037"/>
                  </a:cubicBezTo>
                  <a:lnTo>
                    <a:pt x="10053" y="50111"/>
                  </a:lnTo>
                  <a:lnTo>
                    <a:pt x="9708" y="49788"/>
                  </a:lnTo>
                  <a:close/>
                  <a:moveTo>
                    <a:pt x="49164" y="50047"/>
                  </a:moveTo>
                  <a:lnTo>
                    <a:pt x="48798" y="50369"/>
                  </a:lnTo>
                  <a:lnTo>
                    <a:pt x="49659" y="51317"/>
                  </a:lnTo>
                  <a:lnTo>
                    <a:pt x="50047" y="50951"/>
                  </a:lnTo>
                  <a:lnTo>
                    <a:pt x="49164" y="50047"/>
                  </a:lnTo>
                  <a:close/>
                  <a:moveTo>
                    <a:pt x="10978" y="50951"/>
                  </a:moveTo>
                  <a:lnTo>
                    <a:pt x="10139" y="51898"/>
                  </a:lnTo>
                  <a:cubicBezTo>
                    <a:pt x="10268" y="52005"/>
                    <a:pt x="10397" y="52134"/>
                    <a:pt x="10526" y="52242"/>
                  </a:cubicBezTo>
                  <a:lnTo>
                    <a:pt x="11344" y="51273"/>
                  </a:lnTo>
                  <a:cubicBezTo>
                    <a:pt x="11215" y="51166"/>
                    <a:pt x="11086" y="51058"/>
                    <a:pt x="10978" y="50951"/>
                  </a:cubicBezTo>
                  <a:close/>
                  <a:moveTo>
                    <a:pt x="47873" y="51209"/>
                  </a:moveTo>
                  <a:cubicBezTo>
                    <a:pt x="47744" y="51317"/>
                    <a:pt x="47615" y="51424"/>
                    <a:pt x="47507" y="51532"/>
                  </a:cubicBezTo>
                  <a:lnTo>
                    <a:pt x="48303" y="52500"/>
                  </a:lnTo>
                  <a:lnTo>
                    <a:pt x="48691" y="52178"/>
                  </a:lnTo>
                  <a:lnTo>
                    <a:pt x="47873" y="51209"/>
                  </a:lnTo>
                  <a:close/>
                  <a:moveTo>
                    <a:pt x="12291" y="52027"/>
                  </a:moveTo>
                  <a:lnTo>
                    <a:pt x="11538" y="53039"/>
                  </a:lnTo>
                  <a:lnTo>
                    <a:pt x="11947" y="53361"/>
                  </a:lnTo>
                  <a:lnTo>
                    <a:pt x="12700" y="52328"/>
                  </a:lnTo>
                  <a:lnTo>
                    <a:pt x="12291" y="52027"/>
                  </a:lnTo>
                  <a:close/>
                  <a:moveTo>
                    <a:pt x="46538" y="52285"/>
                  </a:moveTo>
                  <a:lnTo>
                    <a:pt x="46129" y="52587"/>
                  </a:lnTo>
                  <a:lnTo>
                    <a:pt x="46883" y="53598"/>
                  </a:lnTo>
                  <a:lnTo>
                    <a:pt x="47292" y="53297"/>
                  </a:lnTo>
                  <a:lnTo>
                    <a:pt x="46538" y="52285"/>
                  </a:lnTo>
                  <a:close/>
                  <a:moveTo>
                    <a:pt x="13690" y="53060"/>
                  </a:moveTo>
                  <a:lnTo>
                    <a:pt x="12980" y="54115"/>
                  </a:lnTo>
                  <a:lnTo>
                    <a:pt x="13411" y="54373"/>
                  </a:lnTo>
                  <a:lnTo>
                    <a:pt x="14099" y="53340"/>
                  </a:lnTo>
                  <a:lnTo>
                    <a:pt x="13690" y="53060"/>
                  </a:lnTo>
                  <a:close/>
                  <a:moveTo>
                    <a:pt x="45118" y="53254"/>
                  </a:moveTo>
                  <a:lnTo>
                    <a:pt x="44687" y="53534"/>
                  </a:lnTo>
                  <a:lnTo>
                    <a:pt x="45376" y="54610"/>
                  </a:lnTo>
                  <a:lnTo>
                    <a:pt x="45806" y="54309"/>
                  </a:lnTo>
                  <a:lnTo>
                    <a:pt x="45118" y="53254"/>
                  </a:lnTo>
                  <a:close/>
                  <a:moveTo>
                    <a:pt x="15154" y="53964"/>
                  </a:moveTo>
                  <a:lnTo>
                    <a:pt x="14508" y="55040"/>
                  </a:lnTo>
                  <a:lnTo>
                    <a:pt x="14939" y="55320"/>
                  </a:lnTo>
                  <a:lnTo>
                    <a:pt x="15585" y="54222"/>
                  </a:lnTo>
                  <a:lnTo>
                    <a:pt x="15154" y="53964"/>
                  </a:lnTo>
                  <a:close/>
                  <a:moveTo>
                    <a:pt x="43654" y="54179"/>
                  </a:moveTo>
                  <a:lnTo>
                    <a:pt x="43223" y="54416"/>
                  </a:lnTo>
                  <a:lnTo>
                    <a:pt x="43826" y="55514"/>
                  </a:lnTo>
                  <a:lnTo>
                    <a:pt x="44278" y="55256"/>
                  </a:lnTo>
                  <a:lnTo>
                    <a:pt x="43654" y="54179"/>
                  </a:lnTo>
                  <a:close/>
                  <a:moveTo>
                    <a:pt x="16661" y="54804"/>
                  </a:moveTo>
                  <a:lnTo>
                    <a:pt x="16080" y="55923"/>
                  </a:lnTo>
                  <a:lnTo>
                    <a:pt x="16553" y="56160"/>
                  </a:lnTo>
                  <a:lnTo>
                    <a:pt x="17113" y="55019"/>
                  </a:lnTo>
                  <a:lnTo>
                    <a:pt x="16661" y="54804"/>
                  </a:lnTo>
                  <a:close/>
                  <a:moveTo>
                    <a:pt x="42126" y="54997"/>
                  </a:moveTo>
                  <a:lnTo>
                    <a:pt x="41674" y="55213"/>
                  </a:lnTo>
                  <a:lnTo>
                    <a:pt x="42212" y="56353"/>
                  </a:lnTo>
                  <a:lnTo>
                    <a:pt x="42685" y="56117"/>
                  </a:lnTo>
                  <a:lnTo>
                    <a:pt x="42126" y="54997"/>
                  </a:lnTo>
                  <a:close/>
                  <a:moveTo>
                    <a:pt x="18211" y="55535"/>
                  </a:moveTo>
                  <a:lnTo>
                    <a:pt x="17716" y="56698"/>
                  </a:lnTo>
                  <a:lnTo>
                    <a:pt x="18189" y="56913"/>
                  </a:lnTo>
                  <a:lnTo>
                    <a:pt x="18684" y="55751"/>
                  </a:lnTo>
                  <a:lnTo>
                    <a:pt x="18211" y="55535"/>
                  </a:lnTo>
                  <a:close/>
                  <a:moveTo>
                    <a:pt x="40554" y="55708"/>
                  </a:moveTo>
                  <a:lnTo>
                    <a:pt x="40081" y="55901"/>
                  </a:lnTo>
                  <a:lnTo>
                    <a:pt x="40554" y="57064"/>
                  </a:lnTo>
                  <a:lnTo>
                    <a:pt x="41028" y="56870"/>
                  </a:lnTo>
                  <a:lnTo>
                    <a:pt x="40554" y="55708"/>
                  </a:lnTo>
                  <a:close/>
                  <a:moveTo>
                    <a:pt x="19825" y="56181"/>
                  </a:moveTo>
                  <a:lnTo>
                    <a:pt x="19395" y="57365"/>
                  </a:lnTo>
                  <a:lnTo>
                    <a:pt x="19868" y="57537"/>
                  </a:lnTo>
                  <a:lnTo>
                    <a:pt x="20277" y="56353"/>
                  </a:lnTo>
                  <a:lnTo>
                    <a:pt x="19825" y="56181"/>
                  </a:lnTo>
                  <a:close/>
                  <a:moveTo>
                    <a:pt x="38940" y="56332"/>
                  </a:moveTo>
                  <a:lnTo>
                    <a:pt x="38466" y="56483"/>
                  </a:lnTo>
                  <a:lnTo>
                    <a:pt x="38854" y="57688"/>
                  </a:lnTo>
                  <a:lnTo>
                    <a:pt x="39349" y="57516"/>
                  </a:lnTo>
                  <a:lnTo>
                    <a:pt x="38940" y="56332"/>
                  </a:lnTo>
                  <a:close/>
                  <a:moveTo>
                    <a:pt x="21461" y="56741"/>
                  </a:moveTo>
                  <a:lnTo>
                    <a:pt x="21095" y="57946"/>
                  </a:lnTo>
                  <a:lnTo>
                    <a:pt x="21590" y="58075"/>
                  </a:lnTo>
                  <a:lnTo>
                    <a:pt x="21935" y="56870"/>
                  </a:lnTo>
                  <a:lnTo>
                    <a:pt x="21461" y="56741"/>
                  </a:lnTo>
                  <a:close/>
                  <a:moveTo>
                    <a:pt x="37282" y="56849"/>
                  </a:moveTo>
                  <a:lnTo>
                    <a:pt x="36809" y="56978"/>
                  </a:lnTo>
                  <a:lnTo>
                    <a:pt x="37132" y="58205"/>
                  </a:lnTo>
                  <a:lnTo>
                    <a:pt x="37627" y="58075"/>
                  </a:lnTo>
                  <a:lnTo>
                    <a:pt x="37282" y="56849"/>
                  </a:lnTo>
                  <a:close/>
                  <a:moveTo>
                    <a:pt x="23119" y="57171"/>
                  </a:moveTo>
                  <a:lnTo>
                    <a:pt x="22839" y="58398"/>
                  </a:lnTo>
                  <a:lnTo>
                    <a:pt x="23334" y="58527"/>
                  </a:lnTo>
                  <a:lnTo>
                    <a:pt x="23614" y="57279"/>
                  </a:lnTo>
                  <a:lnTo>
                    <a:pt x="23119" y="57171"/>
                  </a:lnTo>
                  <a:close/>
                  <a:moveTo>
                    <a:pt x="35603" y="57257"/>
                  </a:moveTo>
                  <a:lnTo>
                    <a:pt x="35130" y="57365"/>
                  </a:lnTo>
                  <a:lnTo>
                    <a:pt x="35367" y="58614"/>
                  </a:lnTo>
                  <a:lnTo>
                    <a:pt x="35883" y="58506"/>
                  </a:lnTo>
                  <a:lnTo>
                    <a:pt x="35603" y="57257"/>
                  </a:lnTo>
                  <a:close/>
                  <a:moveTo>
                    <a:pt x="24819" y="57516"/>
                  </a:moveTo>
                  <a:lnTo>
                    <a:pt x="24604" y="58764"/>
                  </a:lnTo>
                  <a:lnTo>
                    <a:pt x="25120" y="58850"/>
                  </a:lnTo>
                  <a:lnTo>
                    <a:pt x="25314" y="57602"/>
                  </a:lnTo>
                  <a:lnTo>
                    <a:pt x="24819" y="57516"/>
                  </a:lnTo>
                  <a:close/>
                  <a:moveTo>
                    <a:pt x="33924" y="57580"/>
                  </a:moveTo>
                  <a:lnTo>
                    <a:pt x="33429" y="57645"/>
                  </a:lnTo>
                  <a:lnTo>
                    <a:pt x="33601" y="58915"/>
                  </a:lnTo>
                  <a:lnTo>
                    <a:pt x="34097" y="58829"/>
                  </a:lnTo>
                  <a:lnTo>
                    <a:pt x="33924" y="57580"/>
                  </a:lnTo>
                  <a:close/>
                  <a:moveTo>
                    <a:pt x="26520" y="57753"/>
                  </a:moveTo>
                  <a:lnTo>
                    <a:pt x="26390" y="59023"/>
                  </a:lnTo>
                  <a:lnTo>
                    <a:pt x="26907" y="59066"/>
                  </a:lnTo>
                  <a:lnTo>
                    <a:pt x="27036" y="57817"/>
                  </a:lnTo>
                  <a:lnTo>
                    <a:pt x="26520" y="57753"/>
                  </a:lnTo>
                  <a:close/>
                  <a:moveTo>
                    <a:pt x="32202" y="57796"/>
                  </a:moveTo>
                  <a:lnTo>
                    <a:pt x="31707" y="57839"/>
                  </a:lnTo>
                  <a:lnTo>
                    <a:pt x="31793" y="59109"/>
                  </a:lnTo>
                  <a:lnTo>
                    <a:pt x="32310" y="59066"/>
                  </a:lnTo>
                  <a:lnTo>
                    <a:pt x="32202" y="57796"/>
                  </a:lnTo>
                  <a:close/>
                  <a:moveTo>
                    <a:pt x="28263" y="57882"/>
                  </a:moveTo>
                  <a:lnTo>
                    <a:pt x="28199" y="59152"/>
                  </a:lnTo>
                  <a:lnTo>
                    <a:pt x="28715" y="59173"/>
                  </a:lnTo>
                  <a:lnTo>
                    <a:pt x="28758" y="57903"/>
                  </a:lnTo>
                  <a:lnTo>
                    <a:pt x="28263" y="57882"/>
                  </a:lnTo>
                  <a:close/>
                  <a:moveTo>
                    <a:pt x="29985" y="57903"/>
                  </a:moveTo>
                  <a:lnTo>
                    <a:pt x="30007" y="59173"/>
                  </a:lnTo>
                  <a:lnTo>
                    <a:pt x="30502" y="59173"/>
                  </a:lnTo>
                  <a:lnTo>
                    <a:pt x="30480" y="57903"/>
                  </a:lnTo>
                  <a:close/>
                </a:path>
              </a:pathLst>
            </a:custGeom>
            <a:solidFill>
              <a:srgbClr val="4D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grpSp>
      <p:sp>
        <p:nvSpPr>
          <p:cNvPr id="52" name="Rectangle 51"/>
          <p:cNvSpPr/>
          <p:nvPr/>
        </p:nvSpPr>
        <p:spPr>
          <a:xfrm>
            <a:off x="1365478" y="4566828"/>
            <a:ext cx="1676708" cy="954107"/>
          </a:xfrm>
          <a:prstGeom prst="rect">
            <a:avLst/>
          </a:prstGeom>
        </p:spPr>
        <p:txBody>
          <a:bodyPr wrap="square">
            <a:spAutoFit/>
          </a:bodyPr>
          <a:lstStyle/>
          <a:p>
            <a:pPr algn="ctr"/>
            <a:r>
              <a:rPr lang="ar-SA" sz="2800" b="1" dirty="0">
                <a:solidFill>
                  <a:schemeClr val="bg1"/>
                </a:solidFill>
                <a:latin typeface="Arial" panose="020B0604020202020204" pitchFamily="34" charset="0"/>
              </a:rPr>
              <a:t>الواقع </a:t>
            </a:r>
            <a:r>
              <a:rPr lang="ar-SA" sz="2800" b="1" dirty="0" smtClean="0">
                <a:solidFill>
                  <a:schemeClr val="bg1"/>
                </a:solidFill>
                <a:latin typeface="Arial" panose="020B0604020202020204" pitchFamily="34" charset="0"/>
              </a:rPr>
              <a:t>المعزز </a:t>
            </a:r>
            <a:endParaRPr lang="en-US" sz="2800" dirty="0"/>
          </a:p>
        </p:txBody>
      </p:sp>
      <p:sp>
        <p:nvSpPr>
          <p:cNvPr id="7" name="Rectangle 6"/>
          <p:cNvSpPr/>
          <p:nvPr/>
        </p:nvSpPr>
        <p:spPr>
          <a:xfrm>
            <a:off x="3429000" y="4783553"/>
            <a:ext cx="4469222" cy="677108"/>
          </a:xfrm>
          <a:prstGeom prst="rect">
            <a:avLst/>
          </a:prstGeom>
        </p:spPr>
        <p:txBody>
          <a:bodyPr wrap="square">
            <a:spAutoFit/>
          </a:bodyPr>
          <a:lstStyle/>
          <a:p>
            <a:pPr rtl="1">
              <a:spcBef>
                <a:spcPts val="1000"/>
              </a:spcBef>
            </a:pPr>
            <a:r>
              <a:rPr lang="ar-SA" sz="1900" dirty="0" smtClean="0">
                <a:solidFill>
                  <a:schemeClr val="bg1"/>
                </a:solidFill>
                <a:latin typeface="Arial" panose="020B0604020202020204" pitchFamily="34" charset="0"/>
              </a:rPr>
              <a:t>تقنية </a:t>
            </a:r>
            <a:r>
              <a:rPr lang="ar-SA" sz="1900" dirty="0">
                <a:solidFill>
                  <a:schemeClr val="bg1"/>
                </a:solidFill>
                <a:latin typeface="Arial" panose="020B0604020202020204" pitchFamily="34" charset="0"/>
              </a:rPr>
              <a:t>تقوم بتركيب العناصر والمحتوى الرقمي على واقعك باستخدام الكاميرا في الهواتف الذكية</a:t>
            </a:r>
            <a:r>
              <a:rPr lang="ar-SA" sz="1900" dirty="0" smtClean="0">
                <a:solidFill>
                  <a:schemeClr val="bg1"/>
                </a:solidFill>
                <a:latin typeface="Arial" panose="020B0604020202020204" pitchFamily="34" charset="0"/>
              </a:rPr>
              <a:t>.</a:t>
            </a:r>
            <a:endParaRPr lang="ar-SA" sz="1900" dirty="0">
              <a:solidFill>
                <a:schemeClr val="bg1"/>
              </a:solidFill>
              <a:latin typeface="Arial" panose="020B0604020202020204" pitchFamily="34" charset="0"/>
            </a:endParaRPr>
          </a:p>
        </p:txBody>
      </p:sp>
    </p:spTree>
    <p:extLst>
      <p:ext uri="{BB962C8B-B14F-4D97-AF65-F5344CB8AC3E}">
        <p14:creationId xmlns:p14="http://schemas.microsoft.com/office/powerpoint/2010/main" val="320867124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2965034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6"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a:off x="8512402" y="648752"/>
            <a:ext cx="2763898" cy="646331"/>
          </a:xfrm>
          <a:prstGeom prst="rect">
            <a:avLst/>
          </a:prstGeom>
        </p:spPr>
        <p:txBody>
          <a:bodyPr wrap="none">
            <a:spAutoFit/>
          </a:bodyPr>
          <a:lstStyle/>
          <a:p>
            <a:pPr algn="r" rtl="1">
              <a:spcBef>
                <a:spcPts val="0"/>
              </a:spcBef>
              <a:spcAft>
                <a:spcPts val="0"/>
              </a:spcAft>
            </a:pPr>
            <a:r>
              <a:rPr lang="ar-SA" sz="3600" b="1" dirty="0" smtClean="0">
                <a:solidFill>
                  <a:schemeClr val="bg1"/>
                </a:solidFill>
                <a:latin typeface="Arial" panose="020B0604020202020204" pitchFamily="34" charset="0"/>
                <a:cs typeface="+mj-cs"/>
              </a:rPr>
              <a:t>مجالات الاستخدام</a:t>
            </a:r>
            <a:endParaRPr lang="ar-SA" sz="3600" b="1" dirty="0" smtClean="0">
              <a:solidFill>
                <a:schemeClr val="bg1"/>
              </a:solidFill>
              <a:effectLst/>
              <a:cs typeface="+mj-cs"/>
            </a:endParaRPr>
          </a:p>
        </p:txBody>
      </p:sp>
      <p:sp>
        <p:nvSpPr>
          <p:cNvPr id="3" name="Rectangle 2"/>
          <p:cNvSpPr/>
          <p:nvPr/>
        </p:nvSpPr>
        <p:spPr>
          <a:xfrm>
            <a:off x="5267245" y="2285034"/>
            <a:ext cx="5691930" cy="3344505"/>
          </a:xfrm>
          <a:prstGeom prst="rect">
            <a:avLst/>
          </a:prstGeom>
        </p:spPr>
        <p:txBody>
          <a:bodyPr wrap="square">
            <a:spAutoFit/>
          </a:bodyPr>
          <a:lstStyle/>
          <a:p>
            <a:pPr marL="457200" algn="r" rtl="1">
              <a:spcBef>
                <a:spcPts val="0"/>
              </a:spcBef>
              <a:spcAft>
                <a:spcPts val="1600"/>
              </a:spcAft>
            </a:pPr>
            <a:r>
              <a:rPr lang="ar-SA" dirty="0" smtClean="0">
                <a:solidFill>
                  <a:schemeClr val="bg1"/>
                </a:solidFill>
                <a:latin typeface="Arial" panose="020B0604020202020204" pitchFamily="34" charset="0"/>
              </a:rPr>
              <a:t>كانت </a:t>
            </a:r>
            <a:r>
              <a:rPr lang="ar-SA" dirty="0">
                <a:solidFill>
                  <a:schemeClr val="bg1"/>
                </a:solidFill>
                <a:latin typeface="Arial" panose="020B0604020202020204" pitchFamily="34" charset="0"/>
              </a:rPr>
              <a:t>ولا زالت الألعاب من المجالات التي تتطور فيها التقنية بشكل متسارع من أجل أخذ تجربة المستخدمين لمرحلة أعلى، حيث يفضل الكثير من اللاعبين استخدام جهاز العرض المحمول أو النظارة البصرية من أجل زيادة متعة تجربة اللعب، حيث وصل الطلب على أجهزة العرض إلى 1.3 مليون وحدة بنهاية الربع الثالث من 2019، مما يشكل سوقًا لصانعي الألعاب في إصدار نسخ للألعاب تدعم هذه التقنية لاستغلال الإقبال على أجهزة العرض وجذب اهتمام عملاء أكثر. </a:t>
            </a:r>
            <a:endParaRPr lang="ar-SA" dirty="0" smtClean="0">
              <a:solidFill>
                <a:schemeClr val="bg1"/>
              </a:solidFill>
              <a:latin typeface="Arial" panose="020B0604020202020204" pitchFamily="34" charset="0"/>
            </a:endParaRPr>
          </a:p>
          <a:p>
            <a:pPr marL="457200" algn="r" rtl="1">
              <a:spcBef>
                <a:spcPts val="0"/>
              </a:spcBef>
              <a:spcAft>
                <a:spcPts val="1600"/>
              </a:spcAft>
            </a:pPr>
            <a:r>
              <a:rPr lang="ar-SA" dirty="0" smtClean="0">
                <a:solidFill>
                  <a:schemeClr val="bg1"/>
                </a:solidFill>
                <a:latin typeface="Arial" panose="020B0604020202020204" pitchFamily="34" charset="0"/>
              </a:rPr>
              <a:t>كما </a:t>
            </a:r>
            <a:r>
              <a:rPr lang="ar-SA" dirty="0">
                <a:solidFill>
                  <a:schemeClr val="bg1"/>
                </a:solidFill>
                <a:latin typeface="Arial" panose="020B0604020202020204" pitchFamily="34" charset="0"/>
              </a:rPr>
              <a:t>أن ألعاب الواقع المعزز أخذت حيزها في الشهرة أيضًا، فلعبة بوكيمون قو هي أشهرها، ولا يخفى علينا سرعة انتشارها في مختلف دول العالم</a:t>
            </a:r>
            <a:r>
              <a:rPr lang="ar-SA" dirty="0" smtClean="0">
                <a:solidFill>
                  <a:schemeClr val="bg1"/>
                </a:solidFill>
                <a:latin typeface="Arial" panose="020B0604020202020204" pitchFamily="34" charset="0"/>
              </a:rPr>
              <a:t>.</a:t>
            </a:r>
            <a:endParaRPr lang="ar-SA" b="0" dirty="0" smtClean="0">
              <a:solidFill>
                <a:schemeClr val="bg1"/>
              </a:solidFill>
              <a:effectLst/>
            </a:endParaRPr>
          </a:p>
        </p:txBody>
      </p:sp>
      <p:sp>
        <p:nvSpPr>
          <p:cNvPr id="14" name="Google Shape;121;p28"/>
          <p:cNvSpPr/>
          <p:nvPr/>
        </p:nvSpPr>
        <p:spPr>
          <a:xfrm>
            <a:off x="-50275" y="2567312"/>
            <a:ext cx="5089696" cy="4066756"/>
          </a:xfrm>
          <a:custGeom>
            <a:avLst/>
            <a:gdLst/>
            <a:ahLst/>
            <a:cxnLst/>
            <a:rect l="l" t="t" r="r" b="b"/>
            <a:pathLst>
              <a:path w="196069" h="152570" extrusionOk="0">
                <a:moveTo>
                  <a:pt x="142998" y="1"/>
                </a:moveTo>
                <a:cubicBezTo>
                  <a:pt x="142338" y="1"/>
                  <a:pt x="141677" y="15"/>
                  <a:pt x="141017" y="44"/>
                </a:cubicBezTo>
                <a:cubicBezTo>
                  <a:pt x="130024" y="539"/>
                  <a:pt x="119675" y="5013"/>
                  <a:pt x="109307" y="8691"/>
                </a:cubicBezTo>
                <a:cubicBezTo>
                  <a:pt x="101690" y="11396"/>
                  <a:pt x="93613" y="13712"/>
                  <a:pt x="85626" y="13712"/>
                </a:cubicBezTo>
                <a:cubicBezTo>
                  <a:pt x="82740" y="13712"/>
                  <a:pt x="79866" y="13409"/>
                  <a:pt x="77029" y="12714"/>
                </a:cubicBezTo>
                <a:cubicBezTo>
                  <a:pt x="69292" y="10820"/>
                  <a:pt x="62490" y="6139"/>
                  <a:pt x="54821" y="4006"/>
                </a:cubicBezTo>
                <a:cubicBezTo>
                  <a:pt x="51664" y="3128"/>
                  <a:pt x="48550" y="2718"/>
                  <a:pt x="45521" y="2718"/>
                </a:cubicBezTo>
                <a:cubicBezTo>
                  <a:pt x="19649" y="2718"/>
                  <a:pt x="0" y="32673"/>
                  <a:pt x="13205" y="56998"/>
                </a:cubicBezTo>
                <a:cubicBezTo>
                  <a:pt x="16824" y="63664"/>
                  <a:pt x="22408" y="69008"/>
                  <a:pt x="27089" y="74980"/>
                </a:cubicBezTo>
                <a:cubicBezTo>
                  <a:pt x="31774" y="80952"/>
                  <a:pt x="35717" y="88153"/>
                  <a:pt x="35086" y="95715"/>
                </a:cubicBezTo>
                <a:cubicBezTo>
                  <a:pt x="34562" y="101970"/>
                  <a:pt x="30995" y="107545"/>
                  <a:pt x="29517" y="113648"/>
                </a:cubicBezTo>
                <a:cubicBezTo>
                  <a:pt x="26693" y="125340"/>
                  <a:pt x="32293" y="138200"/>
                  <a:pt x="41988" y="145323"/>
                </a:cubicBezTo>
                <a:cubicBezTo>
                  <a:pt x="48682" y="150246"/>
                  <a:pt x="56989" y="152570"/>
                  <a:pt x="65333" y="152570"/>
                </a:cubicBezTo>
                <a:cubicBezTo>
                  <a:pt x="69066" y="152570"/>
                  <a:pt x="72807" y="152105"/>
                  <a:pt x="76414" y="151198"/>
                </a:cubicBezTo>
                <a:cubicBezTo>
                  <a:pt x="88077" y="148271"/>
                  <a:pt x="98378" y="141093"/>
                  <a:pt x="106479" y="132205"/>
                </a:cubicBezTo>
                <a:cubicBezTo>
                  <a:pt x="110816" y="127449"/>
                  <a:pt x="115046" y="121885"/>
                  <a:pt x="121277" y="120267"/>
                </a:cubicBezTo>
                <a:cubicBezTo>
                  <a:pt x="122614" y="119920"/>
                  <a:pt x="123961" y="119777"/>
                  <a:pt x="125314" y="119777"/>
                </a:cubicBezTo>
                <a:cubicBezTo>
                  <a:pt x="130007" y="119777"/>
                  <a:pt x="134776" y="121497"/>
                  <a:pt x="139483" y="122396"/>
                </a:cubicBezTo>
                <a:cubicBezTo>
                  <a:pt x="141980" y="122872"/>
                  <a:pt x="144519" y="123106"/>
                  <a:pt x="147059" y="123106"/>
                </a:cubicBezTo>
                <a:cubicBezTo>
                  <a:pt x="155882" y="123106"/>
                  <a:pt x="164714" y="120286"/>
                  <a:pt x="171820" y="115038"/>
                </a:cubicBezTo>
                <a:cubicBezTo>
                  <a:pt x="186483" y="104210"/>
                  <a:pt x="194491" y="84179"/>
                  <a:pt x="195238" y="63924"/>
                </a:cubicBezTo>
                <a:cubicBezTo>
                  <a:pt x="196069" y="41516"/>
                  <a:pt x="188013" y="18833"/>
                  <a:pt x="170266" y="8036"/>
                </a:cubicBezTo>
                <a:cubicBezTo>
                  <a:pt x="162072" y="3052"/>
                  <a:pt x="152576" y="1"/>
                  <a:pt x="142998" y="1"/>
                </a:cubicBezTo>
                <a:close/>
              </a:path>
            </a:pathLst>
          </a:custGeom>
          <a:solidFill>
            <a:schemeClr val="lt1">
              <a:alpha val="71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4" name="Google Shape;794;p34"/>
          <p:cNvPicPr preferRelativeResize="0"/>
          <p:nvPr/>
        </p:nvPicPr>
        <p:blipFill rotWithShape="1">
          <a:blip r:embed="rId6">
            <a:alphaModFix/>
          </a:blip>
          <a:srcRect/>
          <a:stretch/>
        </p:blipFill>
        <p:spPr>
          <a:xfrm>
            <a:off x="-278099" y="2629026"/>
            <a:ext cx="5913223" cy="3507049"/>
          </a:xfrm>
          <a:prstGeom prst="rect">
            <a:avLst/>
          </a:prstGeom>
          <a:noFill/>
          <a:ln>
            <a:noFill/>
          </a:ln>
        </p:spPr>
      </p:pic>
      <p:grpSp>
        <p:nvGrpSpPr>
          <p:cNvPr id="7" name="Group 6"/>
          <p:cNvGrpSpPr/>
          <p:nvPr/>
        </p:nvGrpSpPr>
        <p:grpSpPr>
          <a:xfrm flipH="1">
            <a:off x="5117430" y="2236908"/>
            <a:ext cx="742282" cy="402343"/>
            <a:chOff x="7635797" y="1300969"/>
            <a:chExt cx="742282" cy="402343"/>
          </a:xfrm>
        </p:grpSpPr>
        <p:sp>
          <p:nvSpPr>
            <p:cNvPr id="5" name="Google Shape;1043;p35"/>
            <p:cNvSpPr/>
            <p:nvPr/>
          </p:nvSpPr>
          <p:spPr>
            <a:xfrm>
              <a:off x="7635797" y="1300969"/>
              <a:ext cx="680260" cy="402343"/>
            </a:xfrm>
            <a:custGeom>
              <a:avLst/>
              <a:gdLst/>
              <a:ahLst/>
              <a:cxnLst/>
              <a:rect l="l" t="t" r="r" b="b"/>
              <a:pathLst>
                <a:path w="18419" h="10894" extrusionOk="0">
                  <a:moveTo>
                    <a:pt x="1" y="1"/>
                  </a:moveTo>
                  <a:lnTo>
                    <a:pt x="1" y="291"/>
                  </a:lnTo>
                  <a:lnTo>
                    <a:pt x="13574" y="291"/>
                  </a:lnTo>
                  <a:lnTo>
                    <a:pt x="18128" y="4845"/>
                  </a:lnTo>
                  <a:lnTo>
                    <a:pt x="18128" y="10893"/>
                  </a:lnTo>
                  <a:lnTo>
                    <a:pt x="18418" y="10893"/>
                  </a:lnTo>
                  <a:lnTo>
                    <a:pt x="18418" y="4722"/>
                  </a:lnTo>
                  <a:lnTo>
                    <a:pt x="13697"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044;p35"/>
            <p:cNvSpPr/>
            <p:nvPr/>
          </p:nvSpPr>
          <p:spPr>
            <a:xfrm>
              <a:off x="8199141" y="1302298"/>
              <a:ext cx="178938" cy="179233"/>
            </a:xfrm>
            <a:custGeom>
              <a:avLst/>
              <a:gdLst/>
              <a:ahLst/>
              <a:cxnLst/>
              <a:rect l="l" t="t" r="r" b="b"/>
              <a:pathLst>
                <a:path w="4845" h="4853" extrusionOk="0">
                  <a:moveTo>
                    <a:pt x="211" y="0"/>
                  </a:moveTo>
                  <a:lnTo>
                    <a:pt x="0" y="211"/>
                  </a:lnTo>
                  <a:lnTo>
                    <a:pt x="4642" y="4853"/>
                  </a:lnTo>
                  <a:lnTo>
                    <a:pt x="4844" y="4642"/>
                  </a:lnTo>
                  <a:lnTo>
                    <a:pt x="211" y="0"/>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roup 11"/>
          <p:cNvGrpSpPr/>
          <p:nvPr/>
        </p:nvGrpSpPr>
        <p:grpSpPr>
          <a:xfrm>
            <a:off x="9158279" y="1746134"/>
            <a:ext cx="2078853" cy="559042"/>
            <a:chOff x="6343936" y="1331183"/>
            <a:chExt cx="2078853" cy="559042"/>
          </a:xfrm>
        </p:grpSpPr>
        <p:grpSp>
          <p:nvGrpSpPr>
            <p:cNvPr id="8" name="Google Shape;440;p27"/>
            <p:cNvGrpSpPr/>
            <p:nvPr/>
          </p:nvGrpSpPr>
          <p:grpSpPr>
            <a:xfrm flipH="1">
              <a:off x="6343936" y="1347225"/>
              <a:ext cx="2065939" cy="543000"/>
              <a:chOff x="738800" y="2578425"/>
              <a:chExt cx="2065939" cy="543000"/>
            </a:xfrm>
            <a:solidFill>
              <a:schemeClr val="bg1"/>
            </a:solidFill>
          </p:grpSpPr>
          <p:sp>
            <p:nvSpPr>
              <p:cNvPr id="9" name="Google Shape;441;p27"/>
              <p:cNvSpPr/>
              <p:nvPr/>
            </p:nvSpPr>
            <p:spPr>
              <a:xfrm>
                <a:off x="738800" y="2578425"/>
                <a:ext cx="543000" cy="543000"/>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 name="Google Shape;442;p27"/>
              <p:cNvCxnSpPr/>
              <p:nvPr/>
            </p:nvCxnSpPr>
            <p:spPr>
              <a:xfrm>
                <a:off x="1067379" y="2849925"/>
                <a:ext cx="1737360" cy="0"/>
              </a:xfrm>
              <a:prstGeom prst="straightConnector1">
                <a:avLst/>
              </a:prstGeom>
              <a:grpFill/>
              <a:ln w="19050" cap="flat" cmpd="sng">
                <a:solidFill>
                  <a:schemeClr val="bg1"/>
                </a:solidFill>
                <a:prstDash val="solid"/>
                <a:round/>
                <a:headEnd type="none" w="med" len="med"/>
                <a:tailEnd type="diamond" w="med" len="med"/>
              </a:ln>
            </p:spPr>
          </p:cxnSp>
        </p:grpSp>
        <p:sp>
          <p:nvSpPr>
            <p:cNvPr id="11" name="Google Shape;447;p27"/>
            <p:cNvSpPr txBox="1">
              <a:spLocks/>
            </p:cNvSpPr>
            <p:nvPr/>
          </p:nvSpPr>
          <p:spPr>
            <a:xfrm>
              <a:off x="7866875" y="1331183"/>
              <a:ext cx="555914" cy="545423"/>
            </a:xfrm>
            <a:prstGeom prst="rect">
              <a:avLst/>
            </a:prstGeom>
          </p:spPr>
          <p:txBody>
            <a:bodyPr spcFirstLastPara="1" wrap="square" lIns="91425" tIns="91425" rIns="91425" bIns="91425"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ar-SA" sz="2400" dirty="0" smtClean="0">
                  <a:solidFill>
                    <a:srgbClr val="0C0288"/>
                  </a:solidFill>
                  <a:latin typeface="Tahoma" panose="020B0604030504040204" pitchFamily="34" charset="0"/>
                  <a:ea typeface="Tahoma" panose="020B0604030504040204" pitchFamily="34" charset="0"/>
                  <a:cs typeface="Tahoma" panose="020B0604030504040204" pitchFamily="34" charset="0"/>
                  <a:sym typeface="Teko"/>
                </a:rPr>
                <a:t>01</a:t>
              </a:r>
              <a:endParaRPr lang="en" sz="2400" dirty="0">
                <a:solidFill>
                  <a:srgbClr val="0C0288"/>
                </a:solidFill>
                <a:latin typeface="Tahoma" panose="020B0604030504040204" pitchFamily="34" charset="0"/>
                <a:ea typeface="Tahoma" panose="020B0604030504040204" pitchFamily="34" charset="0"/>
                <a:cs typeface="Tahoma" panose="020B0604030504040204" pitchFamily="34" charset="0"/>
                <a:sym typeface="Teko"/>
              </a:endParaRPr>
            </a:p>
          </p:txBody>
        </p:sp>
      </p:grpSp>
      <p:sp>
        <p:nvSpPr>
          <p:cNvPr id="13" name="Rectangle 12"/>
          <p:cNvSpPr/>
          <p:nvPr/>
        </p:nvSpPr>
        <p:spPr>
          <a:xfrm>
            <a:off x="9155277" y="1686525"/>
            <a:ext cx="1430199" cy="369332"/>
          </a:xfrm>
          <a:prstGeom prst="rect">
            <a:avLst/>
          </a:prstGeom>
        </p:spPr>
        <p:txBody>
          <a:bodyPr wrap="none">
            <a:spAutoFit/>
          </a:bodyPr>
          <a:lstStyle/>
          <a:p>
            <a:pPr algn="r" rtl="1" fontAlgn="base">
              <a:spcBef>
                <a:spcPts val="0"/>
              </a:spcBef>
              <a:spcAft>
                <a:spcPts val="1600"/>
              </a:spcAft>
            </a:pPr>
            <a:r>
              <a:rPr lang="ar-SA" b="1" dirty="0" smtClean="0">
                <a:solidFill>
                  <a:schemeClr val="bg1"/>
                </a:solidFill>
                <a:latin typeface="Arial" panose="020B0604020202020204" pitchFamily="34" charset="0"/>
              </a:rPr>
              <a:t>الألعاب والترفيه:</a:t>
            </a:r>
            <a:endParaRPr lang="ar-SA" b="1" dirty="0">
              <a:solidFill>
                <a:schemeClr val="bg1"/>
              </a:solidFill>
              <a:latin typeface="Arial" panose="020B0604020202020204" pitchFamily="34" charset="0"/>
            </a:endParaRPr>
          </a:p>
        </p:txBody>
      </p:sp>
      <p:cxnSp>
        <p:nvCxnSpPr>
          <p:cNvPr id="16" name="Google Shape;94;p13"/>
          <p:cNvCxnSpPr/>
          <p:nvPr/>
        </p:nvCxnSpPr>
        <p:spPr>
          <a:xfrm rot="10800000">
            <a:off x="-14117" y="648753"/>
            <a:ext cx="2330230" cy="1841983"/>
          </a:xfrm>
          <a:prstGeom prst="bentConnector3">
            <a:avLst>
              <a:gd name="adj1" fmla="val 1121"/>
            </a:avLst>
          </a:prstGeom>
          <a:noFill/>
          <a:ln w="28575" cap="flat" cmpd="sng">
            <a:solidFill>
              <a:srgbClr val="FFFFFF">
                <a:alpha val="69000"/>
              </a:srgbClr>
            </a:solidFill>
            <a:prstDash val="solid"/>
            <a:round/>
            <a:headEnd type="none" w="med" len="med"/>
            <a:tailEnd type="none" w="med" len="med"/>
          </a:ln>
        </p:spPr>
      </p:cxnSp>
      <p:sp>
        <p:nvSpPr>
          <p:cNvPr id="17" name="Oval 16"/>
          <p:cNvSpPr/>
          <p:nvPr/>
        </p:nvSpPr>
        <p:spPr>
          <a:xfrm>
            <a:off x="2203249" y="2456371"/>
            <a:ext cx="182880" cy="18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305070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3272567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0" name="think-cell Slide" r:id="rId4" imgW="421" imgH="420" progId="TCLayout.ActiveDocument.1">
                  <p:embed/>
                </p:oleObj>
              </mc:Choice>
              <mc:Fallback>
                <p:oleObj name="think-cell Slide" r:id="rId4" imgW="421" imgH="420" progId="TCLayout.ActiveDocument.1">
                  <p:embed/>
                  <p:pic>
                    <p:nvPicPr>
                      <p:cNvPr id="15" name="Object 1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a:off x="8512402" y="648752"/>
            <a:ext cx="2763898" cy="646331"/>
          </a:xfrm>
          <a:prstGeom prst="rect">
            <a:avLst/>
          </a:prstGeom>
        </p:spPr>
        <p:txBody>
          <a:bodyPr wrap="none">
            <a:spAutoFit/>
          </a:bodyPr>
          <a:lstStyle/>
          <a:p>
            <a:pPr algn="r" rtl="1">
              <a:spcBef>
                <a:spcPts val="0"/>
              </a:spcBef>
              <a:spcAft>
                <a:spcPts val="0"/>
              </a:spcAft>
            </a:pPr>
            <a:r>
              <a:rPr lang="ar-SA" sz="3600" b="1" dirty="0" smtClean="0">
                <a:solidFill>
                  <a:schemeClr val="bg1"/>
                </a:solidFill>
                <a:latin typeface="Arial" panose="020B0604020202020204" pitchFamily="34" charset="0"/>
                <a:cs typeface="+mj-cs"/>
              </a:rPr>
              <a:t>مجالات الاستخدام</a:t>
            </a:r>
            <a:endParaRPr lang="ar-SA" sz="3600" b="1" dirty="0" smtClean="0">
              <a:solidFill>
                <a:schemeClr val="bg1"/>
              </a:solidFill>
              <a:effectLst/>
              <a:cs typeface="+mj-cs"/>
            </a:endParaRPr>
          </a:p>
        </p:txBody>
      </p:sp>
      <p:sp>
        <p:nvSpPr>
          <p:cNvPr id="3" name="Rectangle 2"/>
          <p:cNvSpPr/>
          <p:nvPr/>
        </p:nvSpPr>
        <p:spPr>
          <a:xfrm>
            <a:off x="5267245" y="2285034"/>
            <a:ext cx="5691930" cy="3621504"/>
          </a:xfrm>
          <a:prstGeom prst="rect">
            <a:avLst/>
          </a:prstGeom>
        </p:spPr>
        <p:txBody>
          <a:bodyPr wrap="square">
            <a:spAutoFit/>
          </a:bodyPr>
          <a:lstStyle/>
          <a:p>
            <a:pPr marL="457200" algn="r" rtl="1">
              <a:spcBef>
                <a:spcPts val="0"/>
              </a:spcBef>
              <a:spcAft>
                <a:spcPts val="1600"/>
              </a:spcAft>
            </a:pPr>
            <a:r>
              <a:rPr lang="ar-SA" dirty="0" smtClean="0">
                <a:solidFill>
                  <a:schemeClr val="bg1"/>
                </a:solidFill>
                <a:latin typeface="Arial" panose="020B0604020202020204" pitchFamily="34" charset="0"/>
              </a:rPr>
              <a:t>تطبيقات الواقع المعزز تمنح المشترين تجربة التفاعل مع المنتجات لخلق تجربة تسوق فريدة. يمكنك تخيل زيارة محل، وبواسطة شاشة هاتفك يمكنك رؤية جميع التفاصيل التي قد تود معرفتها عن المنتجات (كالسعر، الخصومات، المميزات، وأي تفاصيل إضافية)بمجرد تمرير الكاميرا على المنتج المرغوب.</a:t>
            </a:r>
          </a:p>
          <a:p>
            <a:pPr marL="457200" algn="r" rtl="1">
              <a:spcBef>
                <a:spcPts val="0"/>
              </a:spcBef>
              <a:spcAft>
                <a:spcPts val="1600"/>
              </a:spcAft>
            </a:pPr>
            <a:r>
              <a:rPr lang="ar-SA" dirty="0" smtClean="0">
                <a:solidFill>
                  <a:schemeClr val="bg1"/>
                </a:solidFill>
                <a:latin typeface="Arial" panose="020B0604020202020204" pitchFamily="34" charset="0"/>
              </a:rPr>
              <a:t>على سبيل المثال، بعد أن أخذت مبيعات شركة ايكيا عبر الموقع الإلكتروني بالتراجع بسبب أن العملاء يفضلون رؤية كيف يبدو المنتج على أرض الواقع قبل المغامرة بشرائه، فقد قامت بتدشين خاصية الواقع المعزز لتقليل الفجوة بين تطلعات واحتياجات العملاء، والذي كان يستهدف زيادة أرباح الشركة إلى 5.9 مليار دولار من مبيعات الموقع الإلكتروني في 2020. وقد كانت تجارب العملاء إيجابية على العموم.</a:t>
            </a:r>
          </a:p>
        </p:txBody>
      </p:sp>
      <p:grpSp>
        <p:nvGrpSpPr>
          <p:cNvPr id="7" name="Group 6"/>
          <p:cNvGrpSpPr/>
          <p:nvPr/>
        </p:nvGrpSpPr>
        <p:grpSpPr>
          <a:xfrm flipH="1">
            <a:off x="5117430" y="2236908"/>
            <a:ext cx="742282" cy="402343"/>
            <a:chOff x="7635797" y="1300969"/>
            <a:chExt cx="742282" cy="402343"/>
          </a:xfrm>
        </p:grpSpPr>
        <p:sp>
          <p:nvSpPr>
            <p:cNvPr id="5" name="Google Shape;1043;p35"/>
            <p:cNvSpPr/>
            <p:nvPr/>
          </p:nvSpPr>
          <p:spPr>
            <a:xfrm>
              <a:off x="7635797" y="1300969"/>
              <a:ext cx="680260" cy="402343"/>
            </a:xfrm>
            <a:custGeom>
              <a:avLst/>
              <a:gdLst/>
              <a:ahLst/>
              <a:cxnLst/>
              <a:rect l="l" t="t" r="r" b="b"/>
              <a:pathLst>
                <a:path w="18419" h="10894" extrusionOk="0">
                  <a:moveTo>
                    <a:pt x="1" y="1"/>
                  </a:moveTo>
                  <a:lnTo>
                    <a:pt x="1" y="291"/>
                  </a:lnTo>
                  <a:lnTo>
                    <a:pt x="13574" y="291"/>
                  </a:lnTo>
                  <a:lnTo>
                    <a:pt x="18128" y="4845"/>
                  </a:lnTo>
                  <a:lnTo>
                    <a:pt x="18128" y="10893"/>
                  </a:lnTo>
                  <a:lnTo>
                    <a:pt x="18418" y="10893"/>
                  </a:lnTo>
                  <a:lnTo>
                    <a:pt x="18418" y="4722"/>
                  </a:lnTo>
                  <a:lnTo>
                    <a:pt x="13697"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044;p35"/>
            <p:cNvSpPr/>
            <p:nvPr/>
          </p:nvSpPr>
          <p:spPr>
            <a:xfrm>
              <a:off x="8199141" y="1302298"/>
              <a:ext cx="178938" cy="179233"/>
            </a:xfrm>
            <a:custGeom>
              <a:avLst/>
              <a:gdLst/>
              <a:ahLst/>
              <a:cxnLst/>
              <a:rect l="l" t="t" r="r" b="b"/>
              <a:pathLst>
                <a:path w="4845" h="4853" extrusionOk="0">
                  <a:moveTo>
                    <a:pt x="211" y="0"/>
                  </a:moveTo>
                  <a:lnTo>
                    <a:pt x="0" y="211"/>
                  </a:lnTo>
                  <a:lnTo>
                    <a:pt x="4642" y="4853"/>
                  </a:lnTo>
                  <a:lnTo>
                    <a:pt x="4844" y="4642"/>
                  </a:lnTo>
                  <a:lnTo>
                    <a:pt x="211" y="0"/>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roup 11"/>
          <p:cNvGrpSpPr/>
          <p:nvPr/>
        </p:nvGrpSpPr>
        <p:grpSpPr>
          <a:xfrm>
            <a:off x="7810751" y="1746134"/>
            <a:ext cx="3426381" cy="559042"/>
            <a:chOff x="4996408" y="1331183"/>
            <a:chExt cx="3426381" cy="559042"/>
          </a:xfrm>
        </p:grpSpPr>
        <p:grpSp>
          <p:nvGrpSpPr>
            <p:cNvPr id="8" name="Google Shape;440;p27"/>
            <p:cNvGrpSpPr/>
            <p:nvPr/>
          </p:nvGrpSpPr>
          <p:grpSpPr>
            <a:xfrm flipH="1">
              <a:off x="4996408" y="1347225"/>
              <a:ext cx="3413467" cy="543000"/>
              <a:chOff x="738800" y="2578425"/>
              <a:chExt cx="3413467" cy="543000"/>
            </a:xfrm>
            <a:solidFill>
              <a:schemeClr val="bg1"/>
            </a:solidFill>
          </p:grpSpPr>
          <p:sp>
            <p:nvSpPr>
              <p:cNvPr id="9" name="Google Shape;441;p27"/>
              <p:cNvSpPr/>
              <p:nvPr/>
            </p:nvSpPr>
            <p:spPr>
              <a:xfrm>
                <a:off x="738800" y="2578425"/>
                <a:ext cx="543000" cy="543000"/>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 name="Google Shape;442;p27"/>
              <p:cNvCxnSpPr/>
              <p:nvPr/>
            </p:nvCxnSpPr>
            <p:spPr>
              <a:xfrm>
                <a:off x="1134747" y="2849925"/>
                <a:ext cx="3017520" cy="0"/>
              </a:xfrm>
              <a:prstGeom prst="straightConnector1">
                <a:avLst/>
              </a:prstGeom>
              <a:grpFill/>
              <a:ln w="19050" cap="flat" cmpd="sng">
                <a:solidFill>
                  <a:schemeClr val="bg1"/>
                </a:solidFill>
                <a:prstDash val="solid"/>
                <a:round/>
                <a:headEnd type="none" w="med" len="med"/>
                <a:tailEnd type="diamond" w="med" len="med"/>
              </a:ln>
            </p:spPr>
          </p:cxnSp>
        </p:grpSp>
        <p:sp>
          <p:nvSpPr>
            <p:cNvPr id="11" name="Google Shape;447;p27"/>
            <p:cNvSpPr txBox="1">
              <a:spLocks/>
            </p:cNvSpPr>
            <p:nvPr/>
          </p:nvSpPr>
          <p:spPr>
            <a:xfrm>
              <a:off x="7866875" y="1331183"/>
              <a:ext cx="555914" cy="545423"/>
            </a:xfrm>
            <a:prstGeom prst="rect">
              <a:avLst/>
            </a:prstGeom>
          </p:spPr>
          <p:txBody>
            <a:bodyPr spcFirstLastPara="1" wrap="square" lIns="91425" tIns="91425" rIns="91425" bIns="91425"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ar-SA" sz="2400" dirty="0" smtClean="0">
                  <a:solidFill>
                    <a:srgbClr val="0C0288"/>
                  </a:solidFill>
                  <a:latin typeface="Tahoma" panose="020B0604030504040204" pitchFamily="34" charset="0"/>
                  <a:ea typeface="Tahoma" panose="020B0604030504040204" pitchFamily="34" charset="0"/>
                  <a:cs typeface="Tahoma" panose="020B0604030504040204" pitchFamily="34" charset="0"/>
                  <a:sym typeface="Teko"/>
                </a:rPr>
                <a:t>02</a:t>
              </a:r>
              <a:endParaRPr lang="en" sz="2400" dirty="0">
                <a:solidFill>
                  <a:srgbClr val="0C0288"/>
                </a:solidFill>
                <a:latin typeface="Tahoma" panose="020B0604030504040204" pitchFamily="34" charset="0"/>
                <a:ea typeface="Tahoma" panose="020B0604030504040204" pitchFamily="34" charset="0"/>
                <a:cs typeface="Tahoma" panose="020B0604030504040204" pitchFamily="34" charset="0"/>
                <a:sym typeface="Teko"/>
              </a:endParaRPr>
            </a:p>
          </p:txBody>
        </p:sp>
      </p:grpSp>
      <p:sp>
        <p:nvSpPr>
          <p:cNvPr id="13" name="Rectangle 12"/>
          <p:cNvSpPr/>
          <p:nvPr/>
        </p:nvSpPr>
        <p:spPr>
          <a:xfrm>
            <a:off x="7805548" y="1686525"/>
            <a:ext cx="2779928" cy="369332"/>
          </a:xfrm>
          <a:prstGeom prst="rect">
            <a:avLst/>
          </a:prstGeom>
        </p:spPr>
        <p:txBody>
          <a:bodyPr wrap="none">
            <a:spAutoFit/>
          </a:bodyPr>
          <a:lstStyle/>
          <a:p>
            <a:pPr algn="r" rtl="1" fontAlgn="base">
              <a:spcBef>
                <a:spcPts val="0"/>
              </a:spcBef>
              <a:spcAft>
                <a:spcPts val="1600"/>
              </a:spcAft>
            </a:pPr>
            <a:r>
              <a:rPr lang="ar-SA" b="1" dirty="0" smtClean="0">
                <a:solidFill>
                  <a:schemeClr val="bg1"/>
                </a:solidFill>
                <a:latin typeface="Arial" panose="020B0604020202020204" pitchFamily="34" charset="0"/>
              </a:rPr>
              <a:t>التجارة الإلكترونية وقطاع التجزئة:</a:t>
            </a:r>
            <a:endParaRPr lang="ar-SA" b="1" dirty="0">
              <a:solidFill>
                <a:schemeClr val="bg1"/>
              </a:solidFill>
              <a:latin typeface="Arial" panose="020B0604020202020204" pitchFamily="34" charset="0"/>
            </a:endParaRPr>
          </a:p>
        </p:txBody>
      </p:sp>
      <p:sp>
        <p:nvSpPr>
          <p:cNvPr id="24" name="Google Shape;915;p37"/>
          <p:cNvSpPr/>
          <p:nvPr/>
        </p:nvSpPr>
        <p:spPr>
          <a:xfrm rot="2220259" flipH="1">
            <a:off x="-176245" y="1281213"/>
            <a:ext cx="5046182" cy="5065639"/>
          </a:xfrm>
          <a:custGeom>
            <a:avLst/>
            <a:gdLst/>
            <a:ahLst/>
            <a:cxnLst/>
            <a:rect l="l" t="t" r="r" b="b"/>
            <a:pathLst>
              <a:path w="27076" h="25544" extrusionOk="0">
                <a:moveTo>
                  <a:pt x="8431" y="435"/>
                </a:moveTo>
                <a:cubicBezTo>
                  <a:pt x="3664" y="435"/>
                  <a:pt x="491" y="3040"/>
                  <a:pt x="275" y="6741"/>
                </a:cubicBezTo>
                <a:cubicBezTo>
                  <a:pt x="0" y="11316"/>
                  <a:pt x="6005" y="11921"/>
                  <a:pt x="5587" y="18057"/>
                </a:cubicBezTo>
                <a:cubicBezTo>
                  <a:pt x="5241" y="22899"/>
                  <a:pt x="6633" y="25544"/>
                  <a:pt x="10534" y="25544"/>
                </a:cubicBezTo>
                <a:cubicBezTo>
                  <a:pt x="10726" y="25544"/>
                  <a:pt x="10925" y="25537"/>
                  <a:pt x="11129" y="25524"/>
                </a:cubicBezTo>
                <a:cubicBezTo>
                  <a:pt x="18783" y="25019"/>
                  <a:pt x="27075" y="17695"/>
                  <a:pt x="26987" y="10359"/>
                </a:cubicBezTo>
                <a:cubicBezTo>
                  <a:pt x="26844" y="0"/>
                  <a:pt x="19751" y="3024"/>
                  <a:pt x="12691" y="1056"/>
                </a:cubicBezTo>
                <a:cubicBezTo>
                  <a:pt x="11170" y="632"/>
                  <a:pt x="9740" y="435"/>
                  <a:pt x="8431" y="435"/>
                </a:cubicBezTo>
                <a:close/>
              </a:path>
            </a:pathLst>
          </a:custGeom>
          <a:solidFill>
            <a:schemeClr val="bg1">
              <a:alpha val="76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6146" name="Picture 2" descr="Myty - App"/>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1917" t="1" r="13585" b="-1"/>
          <a:stretch/>
        </p:blipFill>
        <p:spPr bwMode="auto">
          <a:xfrm>
            <a:off x="449178" y="1776343"/>
            <a:ext cx="4411580" cy="4503039"/>
          </a:xfrm>
          <a:prstGeom prst="ellipse">
            <a:avLst/>
          </a:prstGeom>
          <a:noFill/>
          <a:extLst>
            <a:ext uri="{909E8E84-426E-40DD-AFC4-6F175D3DCCD1}">
              <a14:hiddenFill xmlns:a14="http://schemas.microsoft.com/office/drawing/2010/main">
                <a:solidFill>
                  <a:srgbClr val="FFFFFF"/>
                </a:solidFill>
              </a14:hiddenFill>
            </a:ext>
          </a:extLst>
        </p:spPr>
      </p:pic>
      <p:sp>
        <p:nvSpPr>
          <p:cNvPr id="31" name="Freeform 30"/>
          <p:cNvSpPr/>
          <p:nvPr/>
        </p:nvSpPr>
        <p:spPr>
          <a:xfrm>
            <a:off x="449177" y="1792385"/>
            <a:ext cx="4411580" cy="4503039"/>
          </a:xfrm>
          <a:custGeom>
            <a:avLst/>
            <a:gdLst>
              <a:gd name="connsiteX0" fmla="*/ 2205790 w 4411580"/>
              <a:gd name="connsiteY0" fmla="*/ 0 h 4503040"/>
              <a:gd name="connsiteX1" fmla="*/ 4411580 w 4411580"/>
              <a:gd name="connsiteY1" fmla="*/ 2251520 h 4503040"/>
              <a:gd name="connsiteX2" fmla="*/ 2205790 w 4411580"/>
              <a:gd name="connsiteY2" fmla="*/ 4503040 h 4503040"/>
              <a:gd name="connsiteX3" fmla="*/ 0 w 4411580"/>
              <a:gd name="connsiteY3" fmla="*/ 2251520 h 4503040"/>
              <a:gd name="connsiteX4" fmla="*/ 2205790 w 4411580"/>
              <a:gd name="connsiteY4" fmla="*/ 0 h 4503040"/>
              <a:gd name="connsiteX5" fmla="*/ 1660966 w 4411580"/>
              <a:gd name="connsiteY5" fmla="*/ 391442 h 4503040"/>
              <a:gd name="connsiteX6" fmla="*/ 1411705 w 4411580"/>
              <a:gd name="connsiteY6" fmla="*/ 640703 h 4503040"/>
              <a:gd name="connsiteX7" fmla="*/ 1411705 w 4411580"/>
              <a:gd name="connsiteY7" fmla="*/ 3781635 h 4503040"/>
              <a:gd name="connsiteX8" fmla="*/ 1660966 w 4411580"/>
              <a:gd name="connsiteY8" fmla="*/ 4030896 h 4503040"/>
              <a:gd name="connsiteX9" fmla="*/ 2846865 w 4411580"/>
              <a:gd name="connsiteY9" fmla="*/ 4030896 h 4503040"/>
              <a:gd name="connsiteX10" fmla="*/ 3096126 w 4411580"/>
              <a:gd name="connsiteY10" fmla="*/ 3781635 h 4503040"/>
              <a:gd name="connsiteX11" fmla="*/ 3096126 w 4411580"/>
              <a:gd name="connsiteY11" fmla="*/ 640703 h 4503040"/>
              <a:gd name="connsiteX12" fmla="*/ 2846865 w 4411580"/>
              <a:gd name="connsiteY12" fmla="*/ 391442 h 4503040"/>
              <a:gd name="connsiteX13" fmla="*/ 1660966 w 4411580"/>
              <a:gd name="connsiteY13" fmla="*/ 391442 h 450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11580" h="4503040">
                <a:moveTo>
                  <a:pt x="2205790" y="0"/>
                </a:moveTo>
                <a:cubicBezTo>
                  <a:pt x="3424014" y="0"/>
                  <a:pt x="4411580" y="1008040"/>
                  <a:pt x="4411580" y="2251520"/>
                </a:cubicBezTo>
                <a:cubicBezTo>
                  <a:pt x="4411580" y="3495000"/>
                  <a:pt x="3424014" y="4503040"/>
                  <a:pt x="2205790" y="4503040"/>
                </a:cubicBezTo>
                <a:cubicBezTo>
                  <a:pt x="987566" y="4503040"/>
                  <a:pt x="0" y="3495000"/>
                  <a:pt x="0" y="2251520"/>
                </a:cubicBezTo>
                <a:cubicBezTo>
                  <a:pt x="0" y="1008040"/>
                  <a:pt x="987566" y="0"/>
                  <a:pt x="2205790" y="0"/>
                </a:cubicBezTo>
                <a:close/>
                <a:moveTo>
                  <a:pt x="1660966" y="391442"/>
                </a:moveTo>
                <a:cubicBezTo>
                  <a:pt x="1523303" y="391442"/>
                  <a:pt x="1411705" y="503040"/>
                  <a:pt x="1411705" y="640703"/>
                </a:cubicBezTo>
                <a:lnTo>
                  <a:pt x="1411705" y="3781635"/>
                </a:lnTo>
                <a:cubicBezTo>
                  <a:pt x="1411705" y="3919298"/>
                  <a:pt x="1523303" y="4030896"/>
                  <a:pt x="1660966" y="4030896"/>
                </a:cubicBezTo>
                <a:lnTo>
                  <a:pt x="2846865" y="4030896"/>
                </a:lnTo>
                <a:cubicBezTo>
                  <a:pt x="2984528" y="4030896"/>
                  <a:pt x="3096126" y="3919298"/>
                  <a:pt x="3096126" y="3781635"/>
                </a:cubicBezTo>
                <a:lnTo>
                  <a:pt x="3096126" y="640703"/>
                </a:lnTo>
                <a:cubicBezTo>
                  <a:pt x="3096126" y="503040"/>
                  <a:pt x="2984528" y="391442"/>
                  <a:pt x="2846865" y="391442"/>
                </a:cubicBezTo>
                <a:lnTo>
                  <a:pt x="1660966" y="391442"/>
                </a:lnTo>
                <a:close/>
              </a:path>
            </a:pathLst>
          </a:custGeom>
          <a:solidFill>
            <a:srgbClr val="4F008C">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910140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2474927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6" name="think-cell Slide" r:id="rId4" imgW="421" imgH="420" progId="TCLayout.ActiveDocument.1">
                  <p:embed/>
                </p:oleObj>
              </mc:Choice>
              <mc:Fallback>
                <p:oleObj name="think-cell Slide" r:id="rId4" imgW="421" imgH="420" progId="TCLayout.ActiveDocument.1">
                  <p:embed/>
                  <p:pic>
                    <p:nvPicPr>
                      <p:cNvPr id="15" name="Object 1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a:off x="8512402" y="648752"/>
            <a:ext cx="2763898" cy="646331"/>
          </a:xfrm>
          <a:prstGeom prst="rect">
            <a:avLst/>
          </a:prstGeom>
        </p:spPr>
        <p:txBody>
          <a:bodyPr wrap="none">
            <a:spAutoFit/>
          </a:bodyPr>
          <a:lstStyle/>
          <a:p>
            <a:pPr algn="r" rtl="1">
              <a:spcBef>
                <a:spcPts val="0"/>
              </a:spcBef>
              <a:spcAft>
                <a:spcPts val="0"/>
              </a:spcAft>
            </a:pPr>
            <a:r>
              <a:rPr lang="ar-SA" sz="3600" b="1" dirty="0" smtClean="0">
                <a:solidFill>
                  <a:schemeClr val="bg1"/>
                </a:solidFill>
                <a:latin typeface="Arial" panose="020B0604020202020204" pitchFamily="34" charset="0"/>
                <a:cs typeface="+mj-cs"/>
              </a:rPr>
              <a:t>مجالات الاستخدام</a:t>
            </a:r>
            <a:endParaRPr lang="ar-SA" sz="3600" b="1" dirty="0" smtClean="0">
              <a:solidFill>
                <a:schemeClr val="bg1"/>
              </a:solidFill>
              <a:effectLst/>
              <a:cs typeface="+mj-cs"/>
            </a:endParaRPr>
          </a:p>
        </p:txBody>
      </p:sp>
      <p:sp>
        <p:nvSpPr>
          <p:cNvPr id="3" name="Rectangle 2"/>
          <p:cNvSpPr/>
          <p:nvPr/>
        </p:nvSpPr>
        <p:spPr>
          <a:xfrm>
            <a:off x="5267245" y="2285034"/>
            <a:ext cx="5691930" cy="1754326"/>
          </a:xfrm>
          <a:prstGeom prst="rect">
            <a:avLst/>
          </a:prstGeom>
        </p:spPr>
        <p:txBody>
          <a:bodyPr wrap="square">
            <a:spAutoFit/>
          </a:bodyPr>
          <a:lstStyle/>
          <a:p>
            <a:pPr marL="457200" algn="r" rtl="1">
              <a:spcBef>
                <a:spcPts val="0"/>
              </a:spcBef>
              <a:spcAft>
                <a:spcPts val="1600"/>
              </a:spcAft>
            </a:pPr>
            <a:r>
              <a:rPr lang="ar-SA" dirty="0" smtClean="0">
                <a:solidFill>
                  <a:schemeClr val="bg1"/>
                </a:solidFill>
                <a:latin typeface="Arial" panose="020B0604020202020204" pitchFamily="34" charset="0"/>
              </a:rPr>
              <a:t>من أكثر التحديات التي تواجه الأفراد في التأثيث هي عدم الخبرة الكافية في تصور كيفية الترتيب والتنسيق، وهذا ما تقوم بحله تقنية الواقع المعزز، عبر إمكانية تجربة الأثاث في المكان قبل شراءه. كما أن تقنية الواقع الافتراضي تساعد في التخطيط المسبق لأي منشأ عمراني عبر تخيل شكل وتصميم البناء ومساحته قبل الشروع في بناءه فعلًا.</a:t>
            </a:r>
          </a:p>
        </p:txBody>
      </p:sp>
      <p:grpSp>
        <p:nvGrpSpPr>
          <p:cNvPr id="7" name="Group 6"/>
          <p:cNvGrpSpPr/>
          <p:nvPr/>
        </p:nvGrpSpPr>
        <p:grpSpPr>
          <a:xfrm flipH="1">
            <a:off x="5117430" y="2236908"/>
            <a:ext cx="742282" cy="402343"/>
            <a:chOff x="7635797" y="1300969"/>
            <a:chExt cx="742282" cy="402343"/>
          </a:xfrm>
        </p:grpSpPr>
        <p:sp>
          <p:nvSpPr>
            <p:cNvPr id="5" name="Google Shape;1043;p35"/>
            <p:cNvSpPr/>
            <p:nvPr/>
          </p:nvSpPr>
          <p:spPr>
            <a:xfrm>
              <a:off x="7635797" y="1300969"/>
              <a:ext cx="680260" cy="402343"/>
            </a:xfrm>
            <a:custGeom>
              <a:avLst/>
              <a:gdLst/>
              <a:ahLst/>
              <a:cxnLst/>
              <a:rect l="l" t="t" r="r" b="b"/>
              <a:pathLst>
                <a:path w="18419" h="10894" extrusionOk="0">
                  <a:moveTo>
                    <a:pt x="1" y="1"/>
                  </a:moveTo>
                  <a:lnTo>
                    <a:pt x="1" y="291"/>
                  </a:lnTo>
                  <a:lnTo>
                    <a:pt x="13574" y="291"/>
                  </a:lnTo>
                  <a:lnTo>
                    <a:pt x="18128" y="4845"/>
                  </a:lnTo>
                  <a:lnTo>
                    <a:pt x="18128" y="10893"/>
                  </a:lnTo>
                  <a:lnTo>
                    <a:pt x="18418" y="10893"/>
                  </a:lnTo>
                  <a:lnTo>
                    <a:pt x="18418" y="4722"/>
                  </a:lnTo>
                  <a:lnTo>
                    <a:pt x="13697"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044;p35"/>
            <p:cNvSpPr/>
            <p:nvPr/>
          </p:nvSpPr>
          <p:spPr>
            <a:xfrm>
              <a:off x="8199141" y="1302298"/>
              <a:ext cx="178938" cy="179233"/>
            </a:xfrm>
            <a:custGeom>
              <a:avLst/>
              <a:gdLst/>
              <a:ahLst/>
              <a:cxnLst/>
              <a:rect l="l" t="t" r="r" b="b"/>
              <a:pathLst>
                <a:path w="4845" h="4853" extrusionOk="0">
                  <a:moveTo>
                    <a:pt x="211" y="0"/>
                  </a:moveTo>
                  <a:lnTo>
                    <a:pt x="0" y="211"/>
                  </a:lnTo>
                  <a:lnTo>
                    <a:pt x="4642" y="4853"/>
                  </a:lnTo>
                  <a:lnTo>
                    <a:pt x="4844" y="4642"/>
                  </a:lnTo>
                  <a:lnTo>
                    <a:pt x="211" y="0"/>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roup 11"/>
          <p:cNvGrpSpPr/>
          <p:nvPr/>
        </p:nvGrpSpPr>
        <p:grpSpPr>
          <a:xfrm>
            <a:off x="7040735" y="1746134"/>
            <a:ext cx="4196397" cy="559042"/>
            <a:chOff x="4226392" y="1331183"/>
            <a:chExt cx="4196397" cy="559042"/>
          </a:xfrm>
        </p:grpSpPr>
        <p:grpSp>
          <p:nvGrpSpPr>
            <p:cNvPr id="8" name="Google Shape;440;p27"/>
            <p:cNvGrpSpPr/>
            <p:nvPr/>
          </p:nvGrpSpPr>
          <p:grpSpPr>
            <a:xfrm flipH="1">
              <a:off x="4226392" y="1347225"/>
              <a:ext cx="4183483" cy="543000"/>
              <a:chOff x="738800" y="2578425"/>
              <a:chExt cx="4183483" cy="543000"/>
            </a:xfrm>
            <a:solidFill>
              <a:schemeClr val="bg1"/>
            </a:solidFill>
          </p:grpSpPr>
          <p:sp>
            <p:nvSpPr>
              <p:cNvPr id="9" name="Google Shape;441;p27"/>
              <p:cNvSpPr/>
              <p:nvPr/>
            </p:nvSpPr>
            <p:spPr>
              <a:xfrm>
                <a:off x="738800" y="2578425"/>
                <a:ext cx="543000" cy="543000"/>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 name="Google Shape;442;p27"/>
              <p:cNvCxnSpPr/>
              <p:nvPr/>
            </p:nvCxnSpPr>
            <p:spPr>
              <a:xfrm>
                <a:off x="1173243" y="2849925"/>
                <a:ext cx="3749040" cy="0"/>
              </a:xfrm>
              <a:prstGeom prst="straightConnector1">
                <a:avLst/>
              </a:prstGeom>
              <a:grpFill/>
              <a:ln w="19050" cap="flat" cmpd="sng">
                <a:solidFill>
                  <a:schemeClr val="bg1"/>
                </a:solidFill>
                <a:prstDash val="solid"/>
                <a:round/>
                <a:headEnd type="none" w="med" len="med"/>
                <a:tailEnd type="diamond" w="med" len="med"/>
              </a:ln>
            </p:spPr>
          </p:cxnSp>
        </p:grpSp>
        <p:sp>
          <p:nvSpPr>
            <p:cNvPr id="11" name="Google Shape;447;p27"/>
            <p:cNvSpPr txBox="1">
              <a:spLocks/>
            </p:cNvSpPr>
            <p:nvPr/>
          </p:nvSpPr>
          <p:spPr>
            <a:xfrm>
              <a:off x="7866875" y="1331183"/>
              <a:ext cx="555914" cy="545423"/>
            </a:xfrm>
            <a:prstGeom prst="rect">
              <a:avLst/>
            </a:prstGeom>
          </p:spPr>
          <p:txBody>
            <a:bodyPr spcFirstLastPara="1" wrap="square" lIns="91425" tIns="91425" rIns="91425" bIns="91425"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US" sz="2400" dirty="0" smtClean="0">
                  <a:solidFill>
                    <a:srgbClr val="0C0288"/>
                  </a:solidFill>
                  <a:latin typeface="Tahoma" panose="020B0604030504040204" pitchFamily="34" charset="0"/>
                  <a:ea typeface="Tahoma" panose="020B0604030504040204" pitchFamily="34" charset="0"/>
                  <a:cs typeface="Tahoma" panose="020B0604030504040204" pitchFamily="34" charset="0"/>
                  <a:sym typeface="Teko"/>
                </a:rPr>
                <a:t>03</a:t>
              </a:r>
              <a:endParaRPr lang="en" sz="2400" dirty="0">
                <a:solidFill>
                  <a:srgbClr val="0C0288"/>
                </a:solidFill>
                <a:latin typeface="Tahoma" panose="020B0604030504040204" pitchFamily="34" charset="0"/>
                <a:ea typeface="Tahoma" panose="020B0604030504040204" pitchFamily="34" charset="0"/>
                <a:cs typeface="Tahoma" panose="020B0604030504040204" pitchFamily="34" charset="0"/>
                <a:sym typeface="Teko"/>
              </a:endParaRPr>
            </a:p>
          </p:txBody>
        </p:sp>
      </p:grpSp>
      <p:sp>
        <p:nvSpPr>
          <p:cNvPr id="13" name="Rectangle 12"/>
          <p:cNvSpPr/>
          <p:nvPr/>
        </p:nvSpPr>
        <p:spPr>
          <a:xfrm>
            <a:off x="7018473" y="1686525"/>
            <a:ext cx="3567003" cy="369332"/>
          </a:xfrm>
          <a:prstGeom prst="rect">
            <a:avLst/>
          </a:prstGeom>
        </p:spPr>
        <p:txBody>
          <a:bodyPr wrap="none">
            <a:spAutoFit/>
          </a:bodyPr>
          <a:lstStyle/>
          <a:p>
            <a:pPr algn="r" rtl="1" fontAlgn="base">
              <a:spcBef>
                <a:spcPts val="0"/>
              </a:spcBef>
              <a:spcAft>
                <a:spcPts val="1600"/>
              </a:spcAft>
            </a:pPr>
            <a:r>
              <a:rPr lang="ar-SA" b="1" dirty="0" smtClean="0">
                <a:solidFill>
                  <a:schemeClr val="bg1"/>
                </a:solidFill>
                <a:latin typeface="Arial" panose="020B0604020202020204" pitchFamily="34" charset="0"/>
              </a:rPr>
              <a:t>التصميم الداخلي، الحدائق، التخطيط العمراني:</a:t>
            </a:r>
            <a:endParaRPr lang="ar-SA" b="1" dirty="0">
              <a:solidFill>
                <a:schemeClr val="bg1"/>
              </a:solidFill>
              <a:latin typeface="Arial" panose="020B0604020202020204" pitchFamily="34" charset="0"/>
            </a:endParaRPr>
          </a:p>
        </p:txBody>
      </p:sp>
      <p:sp>
        <p:nvSpPr>
          <p:cNvPr id="17" name="Rectangle 16"/>
          <p:cNvSpPr/>
          <p:nvPr/>
        </p:nvSpPr>
        <p:spPr>
          <a:xfrm>
            <a:off x="5267245" y="4761343"/>
            <a:ext cx="5691930" cy="1754326"/>
          </a:xfrm>
          <a:prstGeom prst="rect">
            <a:avLst/>
          </a:prstGeom>
        </p:spPr>
        <p:txBody>
          <a:bodyPr wrap="square">
            <a:spAutoFit/>
          </a:bodyPr>
          <a:lstStyle/>
          <a:p>
            <a:pPr marL="457200" algn="r" rtl="1">
              <a:spcBef>
                <a:spcPts val="0"/>
              </a:spcBef>
              <a:spcAft>
                <a:spcPts val="1600"/>
              </a:spcAft>
            </a:pPr>
            <a:r>
              <a:rPr lang="ar-SA" dirty="0" smtClean="0">
                <a:solidFill>
                  <a:schemeClr val="bg1"/>
                </a:solidFill>
                <a:latin typeface="Arial" panose="020B0604020202020204" pitchFamily="34" charset="0"/>
              </a:rPr>
              <a:t>قطاع العقار يعتمد على تسويق فكرة المنزل المثالي للعميل، مما قد يكون متعبًا للطرفين البائع والمشتري من حيث صعوبة تسويق فكرة ليست موجودة بعد، لذلك تعتبر تقنية الواقع المعزز والواقع الافتراضي معًا تساهمان في تقديم عرض جيد لأفكار المصمم، كما تختصر وقت المشتري في معرفة المنزل المناسب له حسب التفاصيل المدعمة بتقنية الواقع المعزز والواقع الافتراضي.</a:t>
            </a:r>
          </a:p>
        </p:txBody>
      </p:sp>
      <p:grpSp>
        <p:nvGrpSpPr>
          <p:cNvPr id="18" name="Group 17"/>
          <p:cNvGrpSpPr/>
          <p:nvPr/>
        </p:nvGrpSpPr>
        <p:grpSpPr>
          <a:xfrm flipH="1">
            <a:off x="5117430" y="4713217"/>
            <a:ext cx="742282" cy="402343"/>
            <a:chOff x="7635797" y="1300969"/>
            <a:chExt cx="742282" cy="402343"/>
          </a:xfrm>
        </p:grpSpPr>
        <p:sp>
          <p:nvSpPr>
            <p:cNvPr id="19" name="Google Shape;1043;p35"/>
            <p:cNvSpPr/>
            <p:nvPr/>
          </p:nvSpPr>
          <p:spPr>
            <a:xfrm>
              <a:off x="7635797" y="1300969"/>
              <a:ext cx="680260" cy="402343"/>
            </a:xfrm>
            <a:custGeom>
              <a:avLst/>
              <a:gdLst/>
              <a:ahLst/>
              <a:cxnLst/>
              <a:rect l="l" t="t" r="r" b="b"/>
              <a:pathLst>
                <a:path w="18419" h="10894" extrusionOk="0">
                  <a:moveTo>
                    <a:pt x="1" y="1"/>
                  </a:moveTo>
                  <a:lnTo>
                    <a:pt x="1" y="291"/>
                  </a:lnTo>
                  <a:lnTo>
                    <a:pt x="13574" y="291"/>
                  </a:lnTo>
                  <a:lnTo>
                    <a:pt x="18128" y="4845"/>
                  </a:lnTo>
                  <a:lnTo>
                    <a:pt x="18128" y="10893"/>
                  </a:lnTo>
                  <a:lnTo>
                    <a:pt x="18418" y="10893"/>
                  </a:lnTo>
                  <a:lnTo>
                    <a:pt x="18418" y="4722"/>
                  </a:lnTo>
                  <a:lnTo>
                    <a:pt x="13697"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044;p35"/>
            <p:cNvSpPr/>
            <p:nvPr/>
          </p:nvSpPr>
          <p:spPr>
            <a:xfrm>
              <a:off x="8199141" y="1302298"/>
              <a:ext cx="178938" cy="179233"/>
            </a:xfrm>
            <a:custGeom>
              <a:avLst/>
              <a:gdLst/>
              <a:ahLst/>
              <a:cxnLst/>
              <a:rect l="l" t="t" r="r" b="b"/>
              <a:pathLst>
                <a:path w="4845" h="4853" extrusionOk="0">
                  <a:moveTo>
                    <a:pt x="211" y="0"/>
                  </a:moveTo>
                  <a:lnTo>
                    <a:pt x="0" y="211"/>
                  </a:lnTo>
                  <a:lnTo>
                    <a:pt x="4642" y="4853"/>
                  </a:lnTo>
                  <a:lnTo>
                    <a:pt x="4844" y="4642"/>
                  </a:lnTo>
                  <a:lnTo>
                    <a:pt x="211" y="0"/>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 name="Group 21"/>
          <p:cNvGrpSpPr/>
          <p:nvPr/>
        </p:nvGrpSpPr>
        <p:grpSpPr>
          <a:xfrm>
            <a:off x="9703726" y="4222443"/>
            <a:ext cx="1533406" cy="559042"/>
            <a:chOff x="6889383" y="1331183"/>
            <a:chExt cx="1533406" cy="559042"/>
          </a:xfrm>
        </p:grpSpPr>
        <p:grpSp>
          <p:nvGrpSpPr>
            <p:cNvPr id="23" name="Google Shape;440;p27"/>
            <p:cNvGrpSpPr/>
            <p:nvPr/>
          </p:nvGrpSpPr>
          <p:grpSpPr>
            <a:xfrm flipH="1">
              <a:off x="6889383" y="1347225"/>
              <a:ext cx="1520492" cy="543000"/>
              <a:chOff x="738800" y="2578425"/>
              <a:chExt cx="1520492" cy="543000"/>
            </a:xfrm>
            <a:solidFill>
              <a:schemeClr val="bg1"/>
            </a:solidFill>
          </p:grpSpPr>
          <p:sp>
            <p:nvSpPr>
              <p:cNvPr id="26" name="Google Shape;441;p27"/>
              <p:cNvSpPr/>
              <p:nvPr/>
            </p:nvSpPr>
            <p:spPr>
              <a:xfrm>
                <a:off x="738800" y="2578425"/>
                <a:ext cx="543000" cy="543000"/>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27" name="Google Shape;442;p27"/>
              <p:cNvCxnSpPr/>
              <p:nvPr/>
            </p:nvCxnSpPr>
            <p:spPr>
              <a:xfrm>
                <a:off x="979132" y="2849925"/>
                <a:ext cx="1280160" cy="0"/>
              </a:xfrm>
              <a:prstGeom prst="straightConnector1">
                <a:avLst/>
              </a:prstGeom>
              <a:grpFill/>
              <a:ln w="19050" cap="flat" cmpd="sng">
                <a:solidFill>
                  <a:schemeClr val="bg1"/>
                </a:solidFill>
                <a:prstDash val="solid"/>
                <a:round/>
                <a:headEnd type="none" w="med" len="med"/>
                <a:tailEnd type="diamond" w="med" len="med"/>
              </a:ln>
            </p:spPr>
          </p:cxnSp>
        </p:grpSp>
        <p:sp>
          <p:nvSpPr>
            <p:cNvPr id="25" name="Google Shape;447;p27"/>
            <p:cNvSpPr txBox="1">
              <a:spLocks/>
            </p:cNvSpPr>
            <p:nvPr/>
          </p:nvSpPr>
          <p:spPr>
            <a:xfrm>
              <a:off x="7866875" y="1331183"/>
              <a:ext cx="555914" cy="545423"/>
            </a:xfrm>
            <a:prstGeom prst="rect">
              <a:avLst/>
            </a:prstGeom>
          </p:spPr>
          <p:txBody>
            <a:bodyPr spcFirstLastPara="1" wrap="square" lIns="91425" tIns="91425" rIns="91425" bIns="91425"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US" sz="2400" dirty="0" smtClean="0">
                  <a:solidFill>
                    <a:srgbClr val="0C0288"/>
                  </a:solidFill>
                  <a:latin typeface="Tahoma" panose="020B0604030504040204" pitchFamily="34" charset="0"/>
                  <a:ea typeface="Tahoma" panose="020B0604030504040204" pitchFamily="34" charset="0"/>
                  <a:cs typeface="Tahoma" panose="020B0604030504040204" pitchFamily="34" charset="0"/>
                  <a:sym typeface="Teko"/>
                </a:rPr>
                <a:t>04</a:t>
              </a:r>
              <a:endParaRPr lang="en" sz="2400" dirty="0">
                <a:solidFill>
                  <a:srgbClr val="0C0288"/>
                </a:solidFill>
                <a:latin typeface="Tahoma" panose="020B0604030504040204" pitchFamily="34" charset="0"/>
                <a:ea typeface="Tahoma" panose="020B0604030504040204" pitchFamily="34" charset="0"/>
                <a:cs typeface="Tahoma" panose="020B0604030504040204" pitchFamily="34" charset="0"/>
                <a:sym typeface="Teko"/>
              </a:endParaRPr>
            </a:p>
          </p:txBody>
        </p:sp>
      </p:grpSp>
      <p:sp>
        <p:nvSpPr>
          <p:cNvPr id="28" name="Rectangle 27"/>
          <p:cNvSpPr/>
          <p:nvPr/>
        </p:nvSpPr>
        <p:spPr>
          <a:xfrm>
            <a:off x="9706709" y="4162834"/>
            <a:ext cx="878767" cy="369332"/>
          </a:xfrm>
          <a:prstGeom prst="rect">
            <a:avLst/>
          </a:prstGeom>
        </p:spPr>
        <p:txBody>
          <a:bodyPr wrap="none">
            <a:spAutoFit/>
          </a:bodyPr>
          <a:lstStyle/>
          <a:p>
            <a:pPr algn="r" rtl="1" fontAlgn="base">
              <a:spcBef>
                <a:spcPts val="0"/>
              </a:spcBef>
              <a:spcAft>
                <a:spcPts val="1600"/>
              </a:spcAft>
            </a:pPr>
            <a:r>
              <a:rPr lang="ar-SA" b="1" dirty="0" smtClean="0">
                <a:solidFill>
                  <a:schemeClr val="bg1"/>
                </a:solidFill>
                <a:latin typeface="Arial" panose="020B0604020202020204" pitchFamily="34" charset="0"/>
              </a:rPr>
              <a:t>العقارات:</a:t>
            </a:r>
            <a:endParaRPr lang="ar-SA" b="1" dirty="0">
              <a:solidFill>
                <a:schemeClr val="bg1"/>
              </a:solidFill>
              <a:latin typeface="Arial" panose="020B0604020202020204" pitchFamily="34" charset="0"/>
            </a:endParaRPr>
          </a:p>
        </p:txBody>
      </p:sp>
      <p:sp>
        <p:nvSpPr>
          <p:cNvPr id="44" name="Google Shape;1206;p39"/>
          <p:cNvSpPr/>
          <p:nvPr/>
        </p:nvSpPr>
        <p:spPr>
          <a:xfrm>
            <a:off x="192308" y="1420171"/>
            <a:ext cx="4913991" cy="4436449"/>
          </a:xfrm>
          <a:custGeom>
            <a:avLst/>
            <a:gdLst/>
            <a:ahLst/>
            <a:cxnLst/>
            <a:rect l="l" t="t" r="r" b="b"/>
            <a:pathLst>
              <a:path w="74820" h="67549" extrusionOk="0">
                <a:moveTo>
                  <a:pt x="24661" y="10161"/>
                </a:moveTo>
                <a:cubicBezTo>
                  <a:pt x="24709" y="10161"/>
                  <a:pt x="24760" y="10162"/>
                  <a:pt x="24811" y="10164"/>
                </a:cubicBezTo>
                <a:cubicBezTo>
                  <a:pt x="27114" y="10265"/>
                  <a:pt x="27914" y="12565"/>
                  <a:pt x="27914" y="12565"/>
                </a:cubicBezTo>
                <a:cubicBezTo>
                  <a:pt x="28376" y="12812"/>
                  <a:pt x="28686" y="12879"/>
                  <a:pt x="28936" y="12879"/>
                </a:cubicBezTo>
                <a:cubicBezTo>
                  <a:pt x="29226" y="12879"/>
                  <a:pt x="29434" y="12789"/>
                  <a:pt x="29701" y="12789"/>
                </a:cubicBezTo>
                <a:cubicBezTo>
                  <a:pt x="29949" y="12789"/>
                  <a:pt x="30249" y="12867"/>
                  <a:pt x="30715" y="13167"/>
                </a:cubicBezTo>
                <a:cubicBezTo>
                  <a:pt x="32117" y="14068"/>
                  <a:pt x="31418" y="16270"/>
                  <a:pt x="31418" y="16270"/>
                </a:cubicBezTo>
                <a:lnTo>
                  <a:pt x="6489" y="16270"/>
                </a:lnTo>
                <a:cubicBezTo>
                  <a:pt x="6489" y="16270"/>
                  <a:pt x="10094" y="15668"/>
                  <a:pt x="10494" y="15571"/>
                </a:cubicBezTo>
                <a:cubicBezTo>
                  <a:pt x="10894" y="15470"/>
                  <a:pt x="11294" y="15171"/>
                  <a:pt x="13097" y="14269"/>
                </a:cubicBezTo>
                <a:cubicBezTo>
                  <a:pt x="13652" y="13992"/>
                  <a:pt x="14027" y="13904"/>
                  <a:pt x="14315" y="13904"/>
                </a:cubicBezTo>
                <a:cubicBezTo>
                  <a:pt x="14806" y="13904"/>
                  <a:pt x="15044" y="14159"/>
                  <a:pt x="15497" y="14159"/>
                </a:cubicBezTo>
                <a:cubicBezTo>
                  <a:pt x="15640" y="14159"/>
                  <a:pt x="15803" y="14134"/>
                  <a:pt x="16002" y="14068"/>
                </a:cubicBezTo>
                <a:cubicBezTo>
                  <a:pt x="17202" y="13668"/>
                  <a:pt x="16301" y="12565"/>
                  <a:pt x="17703" y="12165"/>
                </a:cubicBezTo>
                <a:cubicBezTo>
                  <a:pt x="17853" y="12122"/>
                  <a:pt x="17995" y="12103"/>
                  <a:pt x="18129" y="12103"/>
                </a:cubicBezTo>
                <a:cubicBezTo>
                  <a:pt x="19054" y="12103"/>
                  <a:pt x="19646" y="12996"/>
                  <a:pt x="20638" y="12996"/>
                </a:cubicBezTo>
                <a:cubicBezTo>
                  <a:pt x="20842" y="12996"/>
                  <a:pt x="21063" y="12959"/>
                  <a:pt x="21307" y="12867"/>
                </a:cubicBezTo>
                <a:cubicBezTo>
                  <a:pt x="22872" y="12279"/>
                  <a:pt x="22524" y="10161"/>
                  <a:pt x="24661" y="10161"/>
                </a:cubicBezTo>
                <a:close/>
                <a:moveTo>
                  <a:pt x="14382" y="18665"/>
                </a:moveTo>
                <a:cubicBezTo>
                  <a:pt x="14411" y="18665"/>
                  <a:pt x="14440" y="18666"/>
                  <a:pt x="14470" y="18667"/>
                </a:cubicBezTo>
                <a:cubicBezTo>
                  <a:pt x="15821" y="18727"/>
                  <a:pt x="16291" y="20077"/>
                  <a:pt x="16291" y="20077"/>
                </a:cubicBezTo>
                <a:cubicBezTo>
                  <a:pt x="16561" y="20221"/>
                  <a:pt x="16742" y="20260"/>
                  <a:pt x="16888" y="20260"/>
                </a:cubicBezTo>
                <a:cubicBezTo>
                  <a:pt x="17059" y="20260"/>
                  <a:pt x="17181" y="20206"/>
                  <a:pt x="17339" y="20206"/>
                </a:cubicBezTo>
                <a:cubicBezTo>
                  <a:pt x="17485" y="20206"/>
                  <a:pt x="17661" y="20252"/>
                  <a:pt x="17936" y="20427"/>
                </a:cubicBezTo>
                <a:cubicBezTo>
                  <a:pt x="18757" y="20957"/>
                  <a:pt x="18346" y="22251"/>
                  <a:pt x="18346" y="22251"/>
                </a:cubicBezTo>
                <a:lnTo>
                  <a:pt x="3720" y="22251"/>
                </a:lnTo>
                <a:cubicBezTo>
                  <a:pt x="3720" y="22251"/>
                  <a:pt x="5836" y="21896"/>
                  <a:pt x="6069" y="21840"/>
                </a:cubicBezTo>
                <a:cubicBezTo>
                  <a:pt x="6305" y="21781"/>
                  <a:pt x="6538" y="21604"/>
                  <a:pt x="7596" y="21075"/>
                </a:cubicBezTo>
                <a:cubicBezTo>
                  <a:pt x="7921" y="20912"/>
                  <a:pt x="8141" y="20861"/>
                  <a:pt x="8310" y="20861"/>
                </a:cubicBezTo>
                <a:cubicBezTo>
                  <a:pt x="8599" y="20861"/>
                  <a:pt x="8739" y="21011"/>
                  <a:pt x="9004" y="21011"/>
                </a:cubicBezTo>
                <a:cubicBezTo>
                  <a:pt x="9088" y="21011"/>
                  <a:pt x="9184" y="20996"/>
                  <a:pt x="9301" y="20957"/>
                </a:cubicBezTo>
                <a:cubicBezTo>
                  <a:pt x="10003" y="20724"/>
                  <a:pt x="9475" y="20077"/>
                  <a:pt x="10300" y="19840"/>
                </a:cubicBezTo>
                <a:cubicBezTo>
                  <a:pt x="10387" y="19815"/>
                  <a:pt x="10469" y="19804"/>
                  <a:pt x="10547" y="19804"/>
                </a:cubicBezTo>
                <a:cubicBezTo>
                  <a:pt x="11091" y="19804"/>
                  <a:pt x="11440" y="20330"/>
                  <a:pt x="12022" y="20330"/>
                </a:cubicBezTo>
                <a:cubicBezTo>
                  <a:pt x="12142" y="20330"/>
                  <a:pt x="12271" y="20307"/>
                  <a:pt x="12415" y="20254"/>
                </a:cubicBezTo>
                <a:cubicBezTo>
                  <a:pt x="13333" y="19907"/>
                  <a:pt x="13128" y="18665"/>
                  <a:pt x="14382" y="18665"/>
                </a:cubicBezTo>
                <a:close/>
                <a:moveTo>
                  <a:pt x="56549" y="33508"/>
                </a:moveTo>
                <a:cubicBezTo>
                  <a:pt x="56573" y="33508"/>
                  <a:pt x="56597" y="33508"/>
                  <a:pt x="56621" y="33509"/>
                </a:cubicBezTo>
                <a:cubicBezTo>
                  <a:pt x="57713" y="33558"/>
                  <a:pt x="58092" y="34647"/>
                  <a:pt x="58092" y="34647"/>
                </a:cubicBezTo>
                <a:cubicBezTo>
                  <a:pt x="58311" y="34764"/>
                  <a:pt x="58457" y="34795"/>
                  <a:pt x="58576" y="34795"/>
                </a:cubicBezTo>
                <a:cubicBezTo>
                  <a:pt x="58713" y="34795"/>
                  <a:pt x="58812" y="34753"/>
                  <a:pt x="58939" y="34753"/>
                </a:cubicBezTo>
                <a:cubicBezTo>
                  <a:pt x="59057" y="34753"/>
                  <a:pt x="59200" y="34790"/>
                  <a:pt x="59422" y="34932"/>
                </a:cubicBezTo>
                <a:cubicBezTo>
                  <a:pt x="60082" y="35361"/>
                  <a:pt x="59752" y="36404"/>
                  <a:pt x="59752" y="36404"/>
                </a:cubicBezTo>
                <a:lnTo>
                  <a:pt x="47941" y="36404"/>
                </a:lnTo>
                <a:cubicBezTo>
                  <a:pt x="47941" y="36404"/>
                  <a:pt x="49649" y="36119"/>
                  <a:pt x="49840" y="36070"/>
                </a:cubicBezTo>
                <a:cubicBezTo>
                  <a:pt x="50028" y="36025"/>
                  <a:pt x="50219" y="35882"/>
                  <a:pt x="51072" y="35454"/>
                </a:cubicBezTo>
                <a:cubicBezTo>
                  <a:pt x="51334" y="35322"/>
                  <a:pt x="51512" y="35281"/>
                  <a:pt x="51648" y="35281"/>
                </a:cubicBezTo>
                <a:cubicBezTo>
                  <a:pt x="51882" y="35281"/>
                  <a:pt x="51995" y="35403"/>
                  <a:pt x="52210" y="35403"/>
                </a:cubicBezTo>
                <a:cubicBezTo>
                  <a:pt x="52277" y="35403"/>
                  <a:pt x="52353" y="35391"/>
                  <a:pt x="52446" y="35361"/>
                </a:cubicBezTo>
                <a:cubicBezTo>
                  <a:pt x="53016" y="35169"/>
                  <a:pt x="52588" y="34647"/>
                  <a:pt x="53253" y="34460"/>
                </a:cubicBezTo>
                <a:cubicBezTo>
                  <a:pt x="53325" y="34439"/>
                  <a:pt x="53392" y="34430"/>
                  <a:pt x="53457" y="34430"/>
                </a:cubicBezTo>
                <a:cubicBezTo>
                  <a:pt x="53894" y="34430"/>
                  <a:pt x="54175" y="34851"/>
                  <a:pt x="54643" y="34851"/>
                </a:cubicBezTo>
                <a:cubicBezTo>
                  <a:pt x="54740" y="34851"/>
                  <a:pt x="54845" y="34833"/>
                  <a:pt x="54961" y="34789"/>
                </a:cubicBezTo>
                <a:cubicBezTo>
                  <a:pt x="55702" y="34511"/>
                  <a:pt x="55539" y="33508"/>
                  <a:pt x="56549" y="33508"/>
                </a:cubicBezTo>
                <a:close/>
                <a:moveTo>
                  <a:pt x="55230" y="1"/>
                </a:moveTo>
                <a:cubicBezTo>
                  <a:pt x="46630" y="1"/>
                  <a:pt x="37377" y="5159"/>
                  <a:pt x="29654" y="7276"/>
                </a:cubicBezTo>
                <a:cubicBezTo>
                  <a:pt x="23722" y="8901"/>
                  <a:pt x="17087" y="9145"/>
                  <a:pt x="11371" y="11351"/>
                </a:cubicBezTo>
                <a:cubicBezTo>
                  <a:pt x="6284" y="13317"/>
                  <a:pt x="3132" y="17919"/>
                  <a:pt x="1667" y="22703"/>
                </a:cubicBezTo>
                <a:cubicBezTo>
                  <a:pt x="331" y="27073"/>
                  <a:pt x="1" y="31944"/>
                  <a:pt x="589" y="36453"/>
                </a:cubicBezTo>
                <a:cubicBezTo>
                  <a:pt x="1831" y="45972"/>
                  <a:pt x="6823" y="55623"/>
                  <a:pt x="15644" y="60967"/>
                </a:cubicBezTo>
                <a:cubicBezTo>
                  <a:pt x="22717" y="65255"/>
                  <a:pt x="31548" y="67549"/>
                  <a:pt x="40069" y="67549"/>
                </a:cubicBezTo>
                <a:cubicBezTo>
                  <a:pt x="48978" y="67549"/>
                  <a:pt x="57549" y="65041"/>
                  <a:pt x="63419" y="59683"/>
                </a:cubicBezTo>
                <a:cubicBezTo>
                  <a:pt x="71518" y="52294"/>
                  <a:pt x="74605" y="41334"/>
                  <a:pt x="74799" y="31049"/>
                </a:cubicBezTo>
                <a:cubicBezTo>
                  <a:pt x="74817" y="30103"/>
                  <a:pt x="74820" y="29122"/>
                  <a:pt x="74807" y="28117"/>
                </a:cubicBezTo>
                <a:cubicBezTo>
                  <a:pt x="74772" y="26005"/>
                  <a:pt x="74650" y="23754"/>
                  <a:pt x="74372" y="21479"/>
                </a:cubicBezTo>
                <a:lnTo>
                  <a:pt x="59846" y="21479"/>
                </a:lnTo>
                <a:cubicBezTo>
                  <a:pt x="59846" y="21479"/>
                  <a:pt x="61961" y="21124"/>
                  <a:pt x="62198" y="21065"/>
                </a:cubicBezTo>
                <a:cubicBezTo>
                  <a:pt x="62431" y="21005"/>
                  <a:pt x="62667" y="20832"/>
                  <a:pt x="63725" y="20302"/>
                </a:cubicBezTo>
                <a:cubicBezTo>
                  <a:pt x="64051" y="20140"/>
                  <a:pt x="64271" y="20088"/>
                  <a:pt x="64439" y="20088"/>
                </a:cubicBezTo>
                <a:cubicBezTo>
                  <a:pt x="64728" y="20088"/>
                  <a:pt x="64867" y="20239"/>
                  <a:pt x="65131" y="20239"/>
                </a:cubicBezTo>
                <a:cubicBezTo>
                  <a:pt x="65214" y="20239"/>
                  <a:pt x="65310" y="20224"/>
                  <a:pt x="65426" y="20184"/>
                </a:cubicBezTo>
                <a:cubicBezTo>
                  <a:pt x="66133" y="19951"/>
                  <a:pt x="65604" y="19304"/>
                  <a:pt x="66425" y="19067"/>
                </a:cubicBezTo>
                <a:cubicBezTo>
                  <a:pt x="66513" y="19042"/>
                  <a:pt x="66595" y="19032"/>
                  <a:pt x="66674" y="19032"/>
                </a:cubicBezTo>
                <a:cubicBezTo>
                  <a:pt x="67218" y="19032"/>
                  <a:pt x="67566" y="19555"/>
                  <a:pt x="68146" y="19555"/>
                </a:cubicBezTo>
                <a:cubicBezTo>
                  <a:pt x="68266" y="19555"/>
                  <a:pt x="68396" y="19533"/>
                  <a:pt x="68541" y="19478"/>
                </a:cubicBezTo>
                <a:cubicBezTo>
                  <a:pt x="69459" y="19134"/>
                  <a:pt x="69256" y="17893"/>
                  <a:pt x="70508" y="17893"/>
                </a:cubicBezTo>
                <a:cubicBezTo>
                  <a:pt x="70537" y="17893"/>
                  <a:pt x="70566" y="17894"/>
                  <a:pt x="70597" y="17895"/>
                </a:cubicBezTo>
                <a:cubicBezTo>
                  <a:pt x="71947" y="17951"/>
                  <a:pt x="72419" y="19304"/>
                  <a:pt x="72419" y="19304"/>
                </a:cubicBezTo>
                <a:cubicBezTo>
                  <a:pt x="72690" y="19448"/>
                  <a:pt x="72871" y="19487"/>
                  <a:pt x="73017" y="19487"/>
                </a:cubicBezTo>
                <a:cubicBezTo>
                  <a:pt x="73189" y="19487"/>
                  <a:pt x="73310" y="19434"/>
                  <a:pt x="73468" y="19434"/>
                </a:cubicBezTo>
                <a:cubicBezTo>
                  <a:pt x="73613" y="19434"/>
                  <a:pt x="73789" y="19479"/>
                  <a:pt x="74062" y="19655"/>
                </a:cubicBezTo>
                <a:cubicBezTo>
                  <a:pt x="74083" y="19669"/>
                  <a:pt x="74100" y="19683"/>
                  <a:pt x="74118" y="19697"/>
                </a:cubicBezTo>
                <a:cubicBezTo>
                  <a:pt x="73036" y="12968"/>
                  <a:pt x="70399" y="6264"/>
                  <a:pt x="64292" y="2468"/>
                </a:cubicBezTo>
                <a:cubicBezTo>
                  <a:pt x="61430" y="690"/>
                  <a:pt x="58373" y="1"/>
                  <a:pt x="55230" y="1"/>
                </a:cubicBezTo>
                <a:close/>
              </a:path>
            </a:pathLst>
          </a:custGeom>
          <a:solidFill>
            <a:schemeClr val="bg1">
              <a:alpha val="81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46" name="Google Shape;527;p25"/>
          <p:cNvPicPr preferRelativeResize="0"/>
          <p:nvPr/>
        </p:nvPicPr>
        <p:blipFill rotWithShape="1">
          <a:blip r:embed="rId6">
            <a:alphaModFix/>
          </a:blip>
          <a:srcRect t="63908"/>
          <a:stretch/>
        </p:blipFill>
        <p:spPr>
          <a:xfrm rot="10800000" flipH="1">
            <a:off x="-2445143" y="4086157"/>
            <a:ext cx="10338902" cy="2549374"/>
          </a:xfrm>
          <a:prstGeom prst="rect">
            <a:avLst/>
          </a:prstGeom>
          <a:noFill/>
          <a:ln>
            <a:noFill/>
          </a:ln>
        </p:spPr>
      </p:pic>
      <p:pic>
        <p:nvPicPr>
          <p:cNvPr id="7168" name="Picture 7167"/>
          <p:cNvPicPr>
            <a:picLocks noChangeAspect="1"/>
          </p:cNvPicPr>
          <p:nvPr/>
        </p:nvPicPr>
        <p:blipFill rotWithShape="1">
          <a:blip r:embed="rId7">
            <a:extLst>
              <a:ext uri="{BEBA8EAE-BF5A-486C-A8C5-ECC9F3942E4B}">
                <a14:imgProps xmlns:a14="http://schemas.microsoft.com/office/drawing/2010/main">
                  <a14:imgLayer r:embed="rId8">
                    <a14:imgEffect>
                      <a14:backgroundRemoval t="0" b="100000" l="0" r="100000">
                        <a14:foregroundMark x1="48667" y1="17245" x2="48667" y2="17245"/>
                        <a14:foregroundMark x1="52545" y1="14058" x2="52545" y2="14058"/>
                        <a14:foregroundMark x1="55091" y1="11340" x2="55091" y2="11340"/>
                        <a14:foregroundMark x1="57939" y1="14808" x2="57939" y2="14808"/>
                        <a14:foregroundMark x1="60970" y1="17057" x2="60970" y2="17057"/>
                        <a14:foregroundMark x1="72424" y1="30084" x2="72424" y2="30084"/>
                        <a14:foregroundMark x1="81212" y1="20993" x2="81212" y2="20993"/>
                        <a14:foregroundMark x1="81879" y1="22212" x2="81879" y2="22212"/>
                        <a14:foregroundMark x1="82485" y1="24649" x2="82485" y2="24649"/>
                        <a14:foregroundMark x1="80909" y1="16776" x2="80909" y2="16776"/>
                        <a14:foregroundMark x1="80727" y1="35989" x2="80727" y2="35989"/>
                        <a14:foregroundMark x1="66848" y1="23149" x2="66848" y2="23149"/>
                        <a14:foregroundMark x1="21091" y1="38425" x2="21091" y2="38425"/>
                        <a14:foregroundMark x1="24424" y1="22212" x2="24424" y2="22212"/>
                        <a14:foregroundMark x1="27152" y1="19963" x2="27152" y2="19963"/>
                        <a14:foregroundMark x1="25576" y1="21931" x2="25576" y2="21931"/>
                        <a14:foregroundMark x1="22848" y1="24180" x2="22848" y2="24180"/>
                        <a14:foregroundMark x1="21576" y1="22399" x2="21576" y2="22399"/>
                        <a14:foregroundMark x1="26848" y1="33271" x2="26848" y2="33271"/>
                        <a14:foregroundMark x1="83758" y1="58669" x2="83758" y2="58669"/>
                        <a14:foregroundMark x1="83273" y1="64855" x2="83273" y2="64855"/>
                        <a14:foregroundMark x1="85212" y1="55951" x2="85212" y2="55951"/>
                        <a14:foregroundMark x1="89697" y1="59700" x2="89697" y2="59700"/>
                        <a14:foregroundMark x1="86303" y1="63355" x2="86303" y2="63355"/>
                        <a14:foregroundMark x1="79455" y1="68791" x2="79455" y2="68791"/>
                        <a14:foregroundMark x1="83758" y1="53046" x2="83758" y2="53046"/>
                        <a14:foregroundMark x1="50424" y1="15745" x2="50424" y2="15745"/>
                      </a14:backgroundRemoval>
                    </a14:imgEffect>
                  </a14:imgLayer>
                </a14:imgProps>
              </a:ext>
            </a:extLst>
          </a:blip>
          <a:srcRect l="15519" t="8632" r="15109" b="34894"/>
          <a:stretch/>
        </p:blipFill>
        <p:spPr>
          <a:xfrm>
            <a:off x="447420" y="3191030"/>
            <a:ext cx="4332722" cy="2280905"/>
          </a:xfrm>
          <a:prstGeom prst="rect">
            <a:avLst/>
          </a:prstGeom>
        </p:spPr>
      </p:pic>
    </p:spTree>
    <p:extLst>
      <p:ext uri="{BB962C8B-B14F-4D97-AF65-F5344CB8AC3E}">
        <p14:creationId xmlns:p14="http://schemas.microsoft.com/office/powerpoint/2010/main" val="39982632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82813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6" name="think-cell Slide" r:id="rId4" imgW="421" imgH="420" progId="TCLayout.ActiveDocument.1">
                  <p:embed/>
                </p:oleObj>
              </mc:Choice>
              <mc:Fallback>
                <p:oleObj name="think-cell Slide" r:id="rId4" imgW="421" imgH="420" progId="TCLayout.ActiveDocument.1">
                  <p:embed/>
                  <p:pic>
                    <p:nvPicPr>
                      <p:cNvPr id="15" name="Object 1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a:off x="8512402" y="648752"/>
            <a:ext cx="2763898" cy="646331"/>
          </a:xfrm>
          <a:prstGeom prst="rect">
            <a:avLst/>
          </a:prstGeom>
        </p:spPr>
        <p:txBody>
          <a:bodyPr wrap="none">
            <a:spAutoFit/>
          </a:bodyPr>
          <a:lstStyle/>
          <a:p>
            <a:pPr algn="r" rtl="1">
              <a:spcBef>
                <a:spcPts val="0"/>
              </a:spcBef>
              <a:spcAft>
                <a:spcPts val="0"/>
              </a:spcAft>
            </a:pPr>
            <a:r>
              <a:rPr lang="ar-SA" sz="3600" b="1" dirty="0" smtClean="0">
                <a:solidFill>
                  <a:schemeClr val="bg1"/>
                </a:solidFill>
                <a:latin typeface="Arial" panose="020B0604020202020204" pitchFamily="34" charset="0"/>
                <a:cs typeface="+mj-cs"/>
              </a:rPr>
              <a:t>مجالات الاستخدام</a:t>
            </a:r>
            <a:endParaRPr lang="ar-SA" sz="3600" b="1" dirty="0" smtClean="0">
              <a:solidFill>
                <a:schemeClr val="bg1"/>
              </a:solidFill>
              <a:effectLst/>
              <a:cs typeface="+mj-cs"/>
            </a:endParaRPr>
          </a:p>
        </p:txBody>
      </p:sp>
      <p:sp>
        <p:nvSpPr>
          <p:cNvPr id="3" name="Rectangle 2"/>
          <p:cNvSpPr/>
          <p:nvPr/>
        </p:nvSpPr>
        <p:spPr>
          <a:xfrm>
            <a:off x="5267245" y="2285034"/>
            <a:ext cx="5691930" cy="2585323"/>
          </a:xfrm>
          <a:prstGeom prst="rect">
            <a:avLst/>
          </a:prstGeom>
        </p:spPr>
        <p:txBody>
          <a:bodyPr wrap="square">
            <a:spAutoFit/>
          </a:bodyPr>
          <a:lstStyle/>
          <a:p>
            <a:pPr marL="457200" algn="r" rtl="1">
              <a:spcBef>
                <a:spcPts val="0"/>
              </a:spcBef>
              <a:spcAft>
                <a:spcPts val="1600"/>
              </a:spcAft>
            </a:pPr>
            <a:r>
              <a:rPr lang="ar-SA" dirty="0" smtClean="0">
                <a:solidFill>
                  <a:schemeClr val="bg1"/>
                </a:solidFill>
                <a:latin typeface="Arial" panose="020B0604020202020204" pitchFamily="34" charset="0"/>
              </a:rPr>
              <a:t>السياحة والسفر هي من الأنشطة التي تتطلب العديد من أنواع المواصلات والحجوزات ووضع الخطط، والتي تزيد فرص استغلال التقنية لتعزيز تجربة السائح، فعلى سبيل المثال، يمكن استخدام الواقع المعزز في نظام الملاحة والخرائط، كما يمكن استغلالها في الأماكن السياحية والمتاحف لمنح تجربة فريدة للسائح في التعلم عن المعالم التي يزورها. أشار استبيان مطبق على زوار المتحف الوطني في واشنطن بأن تطبيق تقنية الواقع الافتراضي والواقع المعزز قد نتج عنه تجارب مرضية، بتقييم متوسط 3.4 و4.25 من 5 على التوالي، مما يشير إلى كفاءة استعمال التقنية في تحسين تجربة السواح.</a:t>
            </a:r>
          </a:p>
        </p:txBody>
      </p:sp>
      <p:grpSp>
        <p:nvGrpSpPr>
          <p:cNvPr id="7" name="Group 6"/>
          <p:cNvGrpSpPr/>
          <p:nvPr/>
        </p:nvGrpSpPr>
        <p:grpSpPr>
          <a:xfrm flipH="1">
            <a:off x="5117430" y="2236908"/>
            <a:ext cx="742282" cy="402343"/>
            <a:chOff x="7635797" y="1300969"/>
            <a:chExt cx="742282" cy="402343"/>
          </a:xfrm>
        </p:grpSpPr>
        <p:sp>
          <p:nvSpPr>
            <p:cNvPr id="5" name="Google Shape;1043;p35"/>
            <p:cNvSpPr/>
            <p:nvPr/>
          </p:nvSpPr>
          <p:spPr>
            <a:xfrm>
              <a:off x="7635797" y="1300969"/>
              <a:ext cx="680260" cy="402343"/>
            </a:xfrm>
            <a:custGeom>
              <a:avLst/>
              <a:gdLst/>
              <a:ahLst/>
              <a:cxnLst/>
              <a:rect l="l" t="t" r="r" b="b"/>
              <a:pathLst>
                <a:path w="18419" h="10894" extrusionOk="0">
                  <a:moveTo>
                    <a:pt x="1" y="1"/>
                  </a:moveTo>
                  <a:lnTo>
                    <a:pt x="1" y="291"/>
                  </a:lnTo>
                  <a:lnTo>
                    <a:pt x="13574" y="291"/>
                  </a:lnTo>
                  <a:lnTo>
                    <a:pt x="18128" y="4845"/>
                  </a:lnTo>
                  <a:lnTo>
                    <a:pt x="18128" y="10893"/>
                  </a:lnTo>
                  <a:lnTo>
                    <a:pt x="18418" y="10893"/>
                  </a:lnTo>
                  <a:lnTo>
                    <a:pt x="18418" y="4722"/>
                  </a:lnTo>
                  <a:lnTo>
                    <a:pt x="13697"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044;p35"/>
            <p:cNvSpPr/>
            <p:nvPr/>
          </p:nvSpPr>
          <p:spPr>
            <a:xfrm>
              <a:off x="8199141" y="1302298"/>
              <a:ext cx="178938" cy="179233"/>
            </a:xfrm>
            <a:custGeom>
              <a:avLst/>
              <a:gdLst/>
              <a:ahLst/>
              <a:cxnLst/>
              <a:rect l="l" t="t" r="r" b="b"/>
              <a:pathLst>
                <a:path w="4845" h="4853" extrusionOk="0">
                  <a:moveTo>
                    <a:pt x="211" y="0"/>
                  </a:moveTo>
                  <a:lnTo>
                    <a:pt x="0" y="211"/>
                  </a:lnTo>
                  <a:lnTo>
                    <a:pt x="4642" y="4853"/>
                  </a:lnTo>
                  <a:lnTo>
                    <a:pt x="4844" y="4642"/>
                  </a:lnTo>
                  <a:lnTo>
                    <a:pt x="211" y="0"/>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roup 11"/>
          <p:cNvGrpSpPr/>
          <p:nvPr/>
        </p:nvGrpSpPr>
        <p:grpSpPr>
          <a:xfrm>
            <a:off x="9110167" y="1746134"/>
            <a:ext cx="2126965" cy="559042"/>
            <a:chOff x="6295824" y="1331183"/>
            <a:chExt cx="2126965" cy="559042"/>
          </a:xfrm>
        </p:grpSpPr>
        <p:grpSp>
          <p:nvGrpSpPr>
            <p:cNvPr id="8" name="Google Shape;440;p27"/>
            <p:cNvGrpSpPr/>
            <p:nvPr/>
          </p:nvGrpSpPr>
          <p:grpSpPr>
            <a:xfrm flipH="1">
              <a:off x="6295824" y="1347225"/>
              <a:ext cx="2114051" cy="543000"/>
              <a:chOff x="738800" y="2578425"/>
              <a:chExt cx="2114051" cy="543000"/>
            </a:xfrm>
            <a:solidFill>
              <a:schemeClr val="bg1"/>
            </a:solidFill>
          </p:grpSpPr>
          <p:sp>
            <p:nvSpPr>
              <p:cNvPr id="9" name="Google Shape;441;p27"/>
              <p:cNvSpPr/>
              <p:nvPr/>
            </p:nvSpPr>
            <p:spPr>
              <a:xfrm>
                <a:off x="738800" y="2578425"/>
                <a:ext cx="543000" cy="543000"/>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 name="Google Shape;442;p27"/>
              <p:cNvCxnSpPr/>
              <p:nvPr/>
            </p:nvCxnSpPr>
            <p:spPr>
              <a:xfrm>
                <a:off x="1024051" y="2849925"/>
                <a:ext cx="1828800" cy="0"/>
              </a:xfrm>
              <a:prstGeom prst="straightConnector1">
                <a:avLst/>
              </a:prstGeom>
              <a:grpFill/>
              <a:ln w="19050" cap="flat" cmpd="sng">
                <a:solidFill>
                  <a:schemeClr val="bg1"/>
                </a:solidFill>
                <a:prstDash val="solid"/>
                <a:round/>
                <a:headEnd type="none" w="med" len="med"/>
                <a:tailEnd type="diamond" w="med" len="med"/>
              </a:ln>
            </p:spPr>
          </p:cxnSp>
        </p:grpSp>
        <p:sp>
          <p:nvSpPr>
            <p:cNvPr id="11" name="Google Shape;447;p27"/>
            <p:cNvSpPr txBox="1">
              <a:spLocks/>
            </p:cNvSpPr>
            <p:nvPr/>
          </p:nvSpPr>
          <p:spPr>
            <a:xfrm>
              <a:off x="7866875" y="1331183"/>
              <a:ext cx="555914" cy="545423"/>
            </a:xfrm>
            <a:prstGeom prst="rect">
              <a:avLst/>
            </a:prstGeom>
          </p:spPr>
          <p:txBody>
            <a:bodyPr spcFirstLastPara="1" wrap="square" lIns="91425" tIns="91425" rIns="91425" bIns="91425"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US" sz="2400" dirty="0" smtClean="0">
                  <a:solidFill>
                    <a:srgbClr val="0C0288"/>
                  </a:solidFill>
                  <a:latin typeface="Tahoma" panose="020B0604030504040204" pitchFamily="34" charset="0"/>
                  <a:ea typeface="Tahoma" panose="020B0604030504040204" pitchFamily="34" charset="0"/>
                  <a:cs typeface="Tahoma" panose="020B0604030504040204" pitchFamily="34" charset="0"/>
                  <a:sym typeface="Teko"/>
                </a:rPr>
                <a:t>05</a:t>
              </a:r>
              <a:endParaRPr lang="en" sz="2400" dirty="0">
                <a:solidFill>
                  <a:srgbClr val="0C0288"/>
                </a:solidFill>
                <a:latin typeface="Tahoma" panose="020B0604030504040204" pitchFamily="34" charset="0"/>
                <a:ea typeface="Tahoma" panose="020B0604030504040204" pitchFamily="34" charset="0"/>
                <a:cs typeface="Tahoma" panose="020B0604030504040204" pitchFamily="34" charset="0"/>
                <a:sym typeface="Teko"/>
              </a:endParaRPr>
            </a:p>
          </p:txBody>
        </p:sp>
      </p:grpSp>
      <p:sp>
        <p:nvSpPr>
          <p:cNvPr id="13" name="Rectangle 12"/>
          <p:cNvSpPr/>
          <p:nvPr/>
        </p:nvSpPr>
        <p:spPr>
          <a:xfrm>
            <a:off x="9156880" y="1686525"/>
            <a:ext cx="1428596" cy="369332"/>
          </a:xfrm>
          <a:prstGeom prst="rect">
            <a:avLst/>
          </a:prstGeom>
        </p:spPr>
        <p:txBody>
          <a:bodyPr wrap="none">
            <a:spAutoFit/>
          </a:bodyPr>
          <a:lstStyle/>
          <a:p>
            <a:pPr algn="r" rtl="1" fontAlgn="base">
              <a:spcBef>
                <a:spcPts val="0"/>
              </a:spcBef>
              <a:spcAft>
                <a:spcPts val="1600"/>
              </a:spcAft>
            </a:pPr>
            <a:r>
              <a:rPr lang="ar-SA" b="1" dirty="0" smtClean="0">
                <a:solidFill>
                  <a:schemeClr val="bg1"/>
                </a:solidFill>
                <a:latin typeface="Arial" panose="020B0604020202020204" pitchFamily="34" charset="0"/>
              </a:rPr>
              <a:t>السياحة والسفر:</a:t>
            </a:r>
            <a:endParaRPr lang="ar-SA" b="1" dirty="0">
              <a:solidFill>
                <a:schemeClr val="bg1"/>
              </a:solidFill>
              <a:latin typeface="Arial" panose="020B0604020202020204" pitchFamily="34" charset="0"/>
            </a:endParaRPr>
          </a:p>
        </p:txBody>
      </p:sp>
      <p:sp>
        <p:nvSpPr>
          <p:cNvPr id="17" name="Rectangle 16"/>
          <p:cNvSpPr/>
          <p:nvPr/>
        </p:nvSpPr>
        <p:spPr>
          <a:xfrm>
            <a:off x="5267245" y="5563443"/>
            <a:ext cx="5691930" cy="923330"/>
          </a:xfrm>
          <a:prstGeom prst="rect">
            <a:avLst/>
          </a:prstGeom>
        </p:spPr>
        <p:txBody>
          <a:bodyPr wrap="square">
            <a:spAutoFit/>
          </a:bodyPr>
          <a:lstStyle/>
          <a:p>
            <a:pPr marL="457200" algn="r" rtl="1">
              <a:spcBef>
                <a:spcPts val="0"/>
              </a:spcBef>
              <a:spcAft>
                <a:spcPts val="1600"/>
              </a:spcAft>
            </a:pPr>
            <a:r>
              <a:rPr lang="ar-SA" dirty="0" smtClean="0">
                <a:solidFill>
                  <a:schemeClr val="bg1"/>
                </a:solidFill>
                <a:latin typeface="Arial" panose="020B0604020202020204" pitchFamily="34" charset="0"/>
              </a:rPr>
              <a:t>كلا التقنيتين تمنح الفرد فرصة عيش التجارب النفسية والجسدية في بيئة آمنة، كما في التدريب على الطيران والبناء، مما يزيد كفاءة الأفراد في التدريب على مواجهة مواقف الحياة الواقعية. </a:t>
            </a:r>
          </a:p>
        </p:txBody>
      </p:sp>
      <p:grpSp>
        <p:nvGrpSpPr>
          <p:cNvPr id="18" name="Group 17"/>
          <p:cNvGrpSpPr/>
          <p:nvPr/>
        </p:nvGrpSpPr>
        <p:grpSpPr>
          <a:xfrm flipH="1">
            <a:off x="5117430" y="5515317"/>
            <a:ext cx="742282" cy="402343"/>
            <a:chOff x="7635797" y="1300969"/>
            <a:chExt cx="742282" cy="402343"/>
          </a:xfrm>
        </p:grpSpPr>
        <p:sp>
          <p:nvSpPr>
            <p:cNvPr id="19" name="Google Shape;1043;p35"/>
            <p:cNvSpPr/>
            <p:nvPr/>
          </p:nvSpPr>
          <p:spPr>
            <a:xfrm>
              <a:off x="7635797" y="1300969"/>
              <a:ext cx="680260" cy="402343"/>
            </a:xfrm>
            <a:custGeom>
              <a:avLst/>
              <a:gdLst/>
              <a:ahLst/>
              <a:cxnLst/>
              <a:rect l="l" t="t" r="r" b="b"/>
              <a:pathLst>
                <a:path w="18419" h="10894" extrusionOk="0">
                  <a:moveTo>
                    <a:pt x="1" y="1"/>
                  </a:moveTo>
                  <a:lnTo>
                    <a:pt x="1" y="291"/>
                  </a:lnTo>
                  <a:lnTo>
                    <a:pt x="13574" y="291"/>
                  </a:lnTo>
                  <a:lnTo>
                    <a:pt x="18128" y="4845"/>
                  </a:lnTo>
                  <a:lnTo>
                    <a:pt x="18128" y="10893"/>
                  </a:lnTo>
                  <a:lnTo>
                    <a:pt x="18418" y="10893"/>
                  </a:lnTo>
                  <a:lnTo>
                    <a:pt x="18418" y="4722"/>
                  </a:lnTo>
                  <a:lnTo>
                    <a:pt x="13697"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044;p35"/>
            <p:cNvSpPr/>
            <p:nvPr/>
          </p:nvSpPr>
          <p:spPr>
            <a:xfrm>
              <a:off x="8199141" y="1302298"/>
              <a:ext cx="178938" cy="179233"/>
            </a:xfrm>
            <a:custGeom>
              <a:avLst/>
              <a:gdLst/>
              <a:ahLst/>
              <a:cxnLst/>
              <a:rect l="l" t="t" r="r" b="b"/>
              <a:pathLst>
                <a:path w="4845" h="4853" extrusionOk="0">
                  <a:moveTo>
                    <a:pt x="211" y="0"/>
                  </a:moveTo>
                  <a:lnTo>
                    <a:pt x="0" y="211"/>
                  </a:lnTo>
                  <a:lnTo>
                    <a:pt x="4642" y="4853"/>
                  </a:lnTo>
                  <a:lnTo>
                    <a:pt x="4844" y="4642"/>
                  </a:lnTo>
                  <a:lnTo>
                    <a:pt x="211" y="0"/>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 name="Group 21"/>
          <p:cNvGrpSpPr/>
          <p:nvPr/>
        </p:nvGrpSpPr>
        <p:grpSpPr>
          <a:xfrm>
            <a:off x="9126214" y="5024543"/>
            <a:ext cx="2110918" cy="559042"/>
            <a:chOff x="6311871" y="1331183"/>
            <a:chExt cx="2110918" cy="559042"/>
          </a:xfrm>
        </p:grpSpPr>
        <p:grpSp>
          <p:nvGrpSpPr>
            <p:cNvPr id="23" name="Google Shape;440;p27"/>
            <p:cNvGrpSpPr/>
            <p:nvPr/>
          </p:nvGrpSpPr>
          <p:grpSpPr>
            <a:xfrm flipH="1">
              <a:off x="6311871" y="1347225"/>
              <a:ext cx="2098004" cy="543000"/>
              <a:chOff x="738800" y="2578425"/>
              <a:chExt cx="2098004" cy="543000"/>
            </a:xfrm>
            <a:solidFill>
              <a:schemeClr val="bg1"/>
            </a:solidFill>
          </p:grpSpPr>
          <p:sp>
            <p:nvSpPr>
              <p:cNvPr id="26" name="Google Shape;441;p27"/>
              <p:cNvSpPr/>
              <p:nvPr/>
            </p:nvSpPr>
            <p:spPr>
              <a:xfrm>
                <a:off x="738800" y="2578425"/>
                <a:ext cx="543000" cy="543000"/>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27" name="Google Shape;442;p27"/>
              <p:cNvCxnSpPr/>
              <p:nvPr/>
            </p:nvCxnSpPr>
            <p:spPr>
              <a:xfrm>
                <a:off x="916564" y="2849925"/>
                <a:ext cx="1920240" cy="0"/>
              </a:xfrm>
              <a:prstGeom prst="straightConnector1">
                <a:avLst/>
              </a:prstGeom>
              <a:grpFill/>
              <a:ln w="19050" cap="flat" cmpd="sng">
                <a:solidFill>
                  <a:schemeClr val="bg1"/>
                </a:solidFill>
                <a:prstDash val="solid"/>
                <a:round/>
                <a:headEnd type="none" w="med" len="med"/>
                <a:tailEnd type="diamond" w="med" len="med"/>
              </a:ln>
            </p:spPr>
          </p:cxnSp>
        </p:grpSp>
        <p:sp>
          <p:nvSpPr>
            <p:cNvPr id="25" name="Google Shape;447;p27"/>
            <p:cNvSpPr txBox="1">
              <a:spLocks/>
            </p:cNvSpPr>
            <p:nvPr/>
          </p:nvSpPr>
          <p:spPr>
            <a:xfrm>
              <a:off x="7866875" y="1331183"/>
              <a:ext cx="555914" cy="545423"/>
            </a:xfrm>
            <a:prstGeom prst="rect">
              <a:avLst/>
            </a:prstGeom>
          </p:spPr>
          <p:txBody>
            <a:bodyPr spcFirstLastPara="1" wrap="square" lIns="91425" tIns="91425" rIns="91425" bIns="91425"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US" sz="2400" dirty="0" smtClean="0">
                  <a:solidFill>
                    <a:srgbClr val="0C0288"/>
                  </a:solidFill>
                  <a:latin typeface="Tahoma" panose="020B0604030504040204" pitchFamily="34" charset="0"/>
                  <a:ea typeface="Tahoma" panose="020B0604030504040204" pitchFamily="34" charset="0"/>
                  <a:cs typeface="Tahoma" panose="020B0604030504040204" pitchFamily="34" charset="0"/>
                  <a:sym typeface="Teko"/>
                </a:rPr>
                <a:t>06</a:t>
              </a:r>
              <a:endParaRPr lang="en" sz="2400" dirty="0">
                <a:solidFill>
                  <a:srgbClr val="0C0288"/>
                </a:solidFill>
                <a:latin typeface="Tahoma" panose="020B0604030504040204" pitchFamily="34" charset="0"/>
                <a:ea typeface="Tahoma" panose="020B0604030504040204" pitchFamily="34" charset="0"/>
                <a:cs typeface="Tahoma" panose="020B0604030504040204" pitchFamily="34" charset="0"/>
                <a:sym typeface="Teko"/>
              </a:endParaRPr>
            </a:p>
          </p:txBody>
        </p:sp>
      </p:grpSp>
      <p:sp>
        <p:nvSpPr>
          <p:cNvPr id="28" name="Rectangle 27"/>
          <p:cNvSpPr/>
          <p:nvPr/>
        </p:nvSpPr>
        <p:spPr>
          <a:xfrm>
            <a:off x="9147262" y="4964934"/>
            <a:ext cx="1438214" cy="369332"/>
          </a:xfrm>
          <a:prstGeom prst="rect">
            <a:avLst/>
          </a:prstGeom>
        </p:spPr>
        <p:txBody>
          <a:bodyPr wrap="none">
            <a:spAutoFit/>
          </a:bodyPr>
          <a:lstStyle/>
          <a:p>
            <a:pPr algn="r" rtl="1" fontAlgn="base">
              <a:spcBef>
                <a:spcPts val="0"/>
              </a:spcBef>
              <a:spcAft>
                <a:spcPts val="1600"/>
              </a:spcAft>
            </a:pPr>
            <a:r>
              <a:rPr lang="ar-SA" b="1" dirty="0" smtClean="0">
                <a:solidFill>
                  <a:schemeClr val="bg1"/>
                </a:solidFill>
                <a:latin typeface="Arial" panose="020B0604020202020204" pitchFamily="34" charset="0"/>
              </a:rPr>
              <a:t>التعليم والتدريب:</a:t>
            </a:r>
            <a:endParaRPr lang="ar-SA" b="1" dirty="0">
              <a:solidFill>
                <a:schemeClr val="bg1"/>
              </a:solidFill>
              <a:latin typeface="Arial" panose="020B0604020202020204" pitchFamily="34" charset="0"/>
            </a:endParaRPr>
          </a:p>
        </p:txBody>
      </p:sp>
      <p:sp>
        <p:nvSpPr>
          <p:cNvPr id="30" name="Google Shape;121;p28"/>
          <p:cNvSpPr/>
          <p:nvPr/>
        </p:nvSpPr>
        <p:spPr>
          <a:xfrm flipH="1">
            <a:off x="178785" y="3466654"/>
            <a:ext cx="4334045" cy="3308685"/>
          </a:xfrm>
          <a:custGeom>
            <a:avLst/>
            <a:gdLst/>
            <a:ahLst/>
            <a:cxnLst/>
            <a:rect l="l" t="t" r="r" b="b"/>
            <a:pathLst>
              <a:path w="196069" h="152570" extrusionOk="0">
                <a:moveTo>
                  <a:pt x="142998" y="1"/>
                </a:moveTo>
                <a:cubicBezTo>
                  <a:pt x="142338" y="1"/>
                  <a:pt x="141677" y="15"/>
                  <a:pt x="141017" y="44"/>
                </a:cubicBezTo>
                <a:cubicBezTo>
                  <a:pt x="130024" y="539"/>
                  <a:pt x="119675" y="5013"/>
                  <a:pt x="109307" y="8691"/>
                </a:cubicBezTo>
                <a:cubicBezTo>
                  <a:pt x="101690" y="11396"/>
                  <a:pt x="93613" y="13712"/>
                  <a:pt x="85626" y="13712"/>
                </a:cubicBezTo>
                <a:cubicBezTo>
                  <a:pt x="82740" y="13712"/>
                  <a:pt x="79866" y="13409"/>
                  <a:pt x="77029" y="12714"/>
                </a:cubicBezTo>
                <a:cubicBezTo>
                  <a:pt x="69292" y="10820"/>
                  <a:pt x="62490" y="6139"/>
                  <a:pt x="54821" y="4006"/>
                </a:cubicBezTo>
                <a:cubicBezTo>
                  <a:pt x="51664" y="3128"/>
                  <a:pt x="48550" y="2718"/>
                  <a:pt x="45521" y="2718"/>
                </a:cubicBezTo>
                <a:cubicBezTo>
                  <a:pt x="19649" y="2718"/>
                  <a:pt x="0" y="32673"/>
                  <a:pt x="13205" y="56998"/>
                </a:cubicBezTo>
                <a:cubicBezTo>
                  <a:pt x="16824" y="63664"/>
                  <a:pt x="22408" y="69008"/>
                  <a:pt x="27089" y="74980"/>
                </a:cubicBezTo>
                <a:cubicBezTo>
                  <a:pt x="31774" y="80952"/>
                  <a:pt x="35717" y="88153"/>
                  <a:pt x="35086" y="95715"/>
                </a:cubicBezTo>
                <a:cubicBezTo>
                  <a:pt x="34562" y="101970"/>
                  <a:pt x="30995" y="107545"/>
                  <a:pt x="29517" y="113648"/>
                </a:cubicBezTo>
                <a:cubicBezTo>
                  <a:pt x="26693" y="125340"/>
                  <a:pt x="32293" y="138200"/>
                  <a:pt x="41988" y="145323"/>
                </a:cubicBezTo>
                <a:cubicBezTo>
                  <a:pt x="48682" y="150246"/>
                  <a:pt x="56989" y="152570"/>
                  <a:pt x="65333" y="152570"/>
                </a:cubicBezTo>
                <a:cubicBezTo>
                  <a:pt x="69066" y="152570"/>
                  <a:pt x="72807" y="152105"/>
                  <a:pt x="76414" y="151198"/>
                </a:cubicBezTo>
                <a:cubicBezTo>
                  <a:pt x="88077" y="148271"/>
                  <a:pt x="98378" y="141093"/>
                  <a:pt x="106479" y="132205"/>
                </a:cubicBezTo>
                <a:cubicBezTo>
                  <a:pt x="110816" y="127449"/>
                  <a:pt x="115046" y="121885"/>
                  <a:pt x="121277" y="120267"/>
                </a:cubicBezTo>
                <a:cubicBezTo>
                  <a:pt x="122614" y="119920"/>
                  <a:pt x="123961" y="119777"/>
                  <a:pt x="125314" y="119777"/>
                </a:cubicBezTo>
                <a:cubicBezTo>
                  <a:pt x="130007" y="119777"/>
                  <a:pt x="134776" y="121497"/>
                  <a:pt x="139483" y="122396"/>
                </a:cubicBezTo>
                <a:cubicBezTo>
                  <a:pt x="141980" y="122872"/>
                  <a:pt x="144519" y="123106"/>
                  <a:pt x="147059" y="123106"/>
                </a:cubicBezTo>
                <a:cubicBezTo>
                  <a:pt x="155882" y="123106"/>
                  <a:pt x="164714" y="120286"/>
                  <a:pt x="171820" y="115038"/>
                </a:cubicBezTo>
                <a:cubicBezTo>
                  <a:pt x="186483" y="104210"/>
                  <a:pt x="194491" y="84179"/>
                  <a:pt x="195238" y="63924"/>
                </a:cubicBezTo>
                <a:cubicBezTo>
                  <a:pt x="196069" y="41516"/>
                  <a:pt x="188013" y="18833"/>
                  <a:pt x="170266" y="8036"/>
                </a:cubicBezTo>
                <a:cubicBezTo>
                  <a:pt x="162072" y="3052"/>
                  <a:pt x="152576" y="1"/>
                  <a:pt x="142998" y="1"/>
                </a:cubicBezTo>
                <a:close/>
              </a:path>
            </a:pathLst>
          </a:custGeom>
          <a:solidFill>
            <a:schemeClr val="lt1">
              <a:alpha val="71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57" name="Google Shape;348;p31"/>
          <p:cNvGrpSpPr/>
          <p:nvPr/>
        </p:nvGrpSpPr>
        <p:grpSpPr>
          <a:xfrm>
            <a:off x="-113779" y="-537841"/>
            <a:ext cx="5095773" cy="4486606"/>
            <a:chOff x="238225" y="-1129285"/>
            <a:chExt cx="7978351" cy="6979785"/>
          </a:xfrm>
        </p:grpSpPr>
        <p:sp>
          <p:nvSpPr>
            <p:cNvPr id="158" name="Google Shape;349;p31"/>
            <p:cNvSpPr/>
            <p:nvPr/>
          </p:nvSpPr>
          <p:spPr>
            <a:xfrm rot="7879148">
              <a:off x="2095797" y="110946"/>
              <a:ext cx="5337984" cy="4499322"/>
            </a:xfrm>
            <a:custGeom>
              <a:avLst/>
              <a:gdLst/>
              <a:ahLst/>
              <a:cxnLst/>
              <a:rect l="l" t="t" r="r" b="b"/>
              <a:pathLst>
                <a:path w="26625" h="22343" extrusionOk="0">
                  <a:moveTo>
                    <a:pt x="20994" y="1"/>
                  </a:moveTo>
                  <a:cubicBezTo>
                    <a:pt x="20114" y="1"/>
                    <a:pt x="19113" y="100"/>
                    <a:pt x="18057" y="826"/>
                  </a:cubicBezTo>
                  <a:cubicBezTo>
                    <a:pt x="16161" y="2083"/>
                    <a:pt x="14997" y="2583"/>
                    <a:pt x="13462" y="2583"/>
                  </a:cubicBezTo>
                  <a:cubicBezTo>
                    <a:pt x="12700" y="2583"/>
                    <a:pt x="11846" y="2460"/>
                    <a:pt x="10766" y="2244"/>
                  </a:cubicBezTo>
                  <a:cubicBezTo>
                    <a:pt x="10035" y="2110"/>
                    <a:pt x="9298" y="2053"/>
                    <a:pt x="8726" y="2053"/>
                  </a:cubicBezTo>
                  <a:cubicBezTo>
                    <a:pt x="8549" y="2053"/>
                    <a:pt x="8388" y="2058"/>
                    <a:pt x="8248" y="2068"/>
                  </a:cubicBezTo>
                  <a:cubicBezTo>
                    <a:pt x="3805" y="2200"/>
                    <a:pt x="44" y="6093"/>
                    <a:pt x="0" y="10547"/>
                  </a:cubicBezTo>
                  <a:cubicBezTo>
                    <a:pt x="0" y="15265"/>
                    <a:pt x="3849" y="19114"/>
                    <a:pt x="8567" y="19114"/>
                  </a:cubicBezTo>
                  <a:cubicBezTo>
                    <a:pt x="10359" y="19114"/>
                    <a:pt x="12009" y="18564"/>
                    <a:pt x="13384" y="17640"/>
                  </a:cubicBezTo>
                  <a:cubicBezTo>
                    <a:pt x="14308" y="16994"/>
                    <a:pt x="15358" y="16591"/>
                    <a:pt x="16350" y="16591"/>
                  </a:cubicBezTo>
                  <a:cubicBezTo>
                    <a:pt x="17670" y="16591"/>
                    <a:pt x="18886" y="17305"/>
                    <a:pt x="19564" y="19114"/>
                  </a:cubicBezTo>
                  <a:cubicBezTo>
                    <a:pt x="19948" y="20782"/>
                    <a:pt x="21147" y="22342"/>
                    <a:pt x="22826" y="22342"/>
                  </a:cubicBezTo>
                  <a:cubicBezTo>
                    <a:pt x="23362" y="22342"/>
                    <a:pt x="23946" y="22183"/>
                    <a:pt x="24568" y="21819"/>
                  </a:cubicBezTo>
                  <a:cubicBezTo>
                    <a:pt x="26580" y="20621"/>
                    <a:pt x="26349" y="18564"/>
                    <a:pt x="25525" y="17508"/>
                  </a:cubicBezTo>
                  <a:cubicBezTo>
                    <a:pt x="23600" y="15078"/>
                    <a:pt x="23787" y="12747"/>
                    <a:pt x="24194" y="11416"/>
                  </a:cubicBezTo>
                  <a:cubicBezTo>
                    <a:pt x="24425" y="10679"/>
                    <a:pt x="24744" y="10085"/>
                    <a:pt x="25206" y="9535"/>
                  </a:cubicBezTo>
                  <a:cubicBezTo>
                    <a:pt x="26074" y="8480"/>
                    <a:pt x="26624" y="7105"/>
                    <a:pt x="26580" y="5643"/>
                  </a:cubicBezTo>
                  <a:cubicBezTo>
                    <a:pt x="26492" y="2618"/>
                    <a:pt x="24018" y="144"/>
                    <a:pt x="20994" y="1"/>
                  </a:cubicBezTo>
                  <a:close/>
                </a:path>
              </a:pathLst>
            </a:custGeom>
            <a:solidFill>
              <a:schemeClr val="bg1">
                <a:alpha val="74000"/>
              </a:scheme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59" name="Google Shape;350;p31"/>
            <p:cNvSpPr/>
            <p:nvPr/>
          </p:nvSpPr>
          <p:spPr>
            <a:xfrm>
              <a:off x="2533500" y="2823825"/>
              <a:ext cx="1246300" cy="650775"/>
            </a:xfrm>
            <a:custGeom>
              <a:avLst/>
              <a:gdLst/>
              <a:ahLst/>
              <a:cxnLst/>
              <a:rect l="l" t="t" r="r" b="b"/>
              <a:pathLst>
                <a:path w="49852" h="26031" extrusionOk="0">
                  <a:moveTo>
                    <a:pt x="7537" y="1"/>
                  </a:moveTo>
                  <a:lnTo>
                    <a:pt x="0" y="7217"/>
                  </a:lnTo>
                  <a:lnTo>
                    <a:pt x="28684" y="26031"/>
                  </a:lnTo>
                  <a:lnTo>
                    <a:pt x="49852" y="13064"/>
                  </a:lnTo>
                  <a:lnTo>
                    <a:pt x="7537" y="1"/>
                  </a:ln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60" name="Google Shape;351;p31"/>
            <p:cNvSpPr/>
            <p:nvPr/>
          </p:nvSpPr>
          <p:spPr>
            <a:xfrm>
              <a:off x="3654600" y="3809600"/>
              <a:ext cx="529225" cy="1176775"/>
            </a:xfrm>
            <a:custGeom>
              <a:avLst/>
              <a:gdLst/>
              <a:ahLst/>
              <a:cxnLst/>
              <a:rect l="l" t="t" r="r" b="b"/>
              <a:pathLst>
                <a:path w="21169" h="47071" extrusionOk="0">
                  <a:moveTo>
                    <a:pt x="21169" y="0"/>
                  </a:moveTo>
                  <a:lnTo>
                    <a:pt x="1" y="12972"/>
                  </a:lnTo>
                  <a:lnTo>
                    <a:pt x="3739" y="47071"/>
                  </a:lnTo>
                  <a:lnTo>
                    <a:pt x="13590" y="43634"/>
                  </a:lnTo>
                  <a:lnTo>
                    <a:pt x="21169" y="0"/>
                  </a:ln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61" name="Google Shape;352;p31"/>
            <p:cNvSpPr/>
            <p:nvPr/>
          </p:nvSpPr>
          <p:spPr>
            <a:xfrm>
              <a:off x="1424375" y="3888875"/>
              <a:ext cx="1678925" cy="1160600"/>
            </a:xfrm>
            <a:custGeom>
              <a:avLst/>
              <a:gdLst/>
              <a:ahLst/>
              <a:cxnLst/>
              <a:rect l="l" t="t" r="r" b="b"/>
              <a:pathLst>
                <a:path w="67157" h="46424" extrusionOk="0">
                  <a:moveTo>
                    <a:pt x="46753" y="1"/>
                  </a:moveTo>
                  <a:cubicBezTo>
                    <a:pt x="43569" y="1"/>
                    <a:pt x="40346" y="851"/>
                    <a:pt x="37433" y="2636"/>
                  </a:cubicBezTo>
                  <a:cubicBezTo>
                    <a:pt x="32227" y="5823"/>
                    <a:pt x="30847" y="10473"/>
                    <a:pt x="28616" y="15710"/>
                  </a:cubicBezTo>
                  <a:cubicBezTo>
                    <a:pt x="24171" y="26135"/>
                    <a:pt x="16862" y="35257"/>
                    <a:pt x="7373" y="41450"/>
                  </a:cubicBezTo>
                  <a:cubicBezTo>
                    <a:pt x="7373" y="41450"/>
                    <a:pt x="1" y="46258"/>
                    <a:pt x="431" y="46258"/>
                  </a:cubicBezTo>
                  <a:cubicBezTo>
                    <a:pt x="485" y="46258"/>
                    <a:pt x="667" y="46180"/>
                    <a:pt x="1007" y="46004"/>
                  </a:cubicBezTo>
                  <a:lnTo>
                    <a:pt x="1007" y="46004"/>
                  </a:lnTo>
                  <a:cubicBezTo>
                    <a:pt x="594" y="46298"/>
                    <a:pt x="461" y="46424"/>
                    <a:pt x="533" y="46424"/>
                  </a:cubicBezTo>
                  <a:cubicBezTo>
                    <a:pt x="943" y="46424"/>
                    <a:pt x="7953" y="42398"/>
                    <a:pt x="7953" y="42398"/>
                  </a:cubicBezTo>
                  <a:cubicBezTo>
                    <a:pt x="15297" y="38180"/>
                    <a:pt x="23559" y="35691"/>
                    <a:pt x="32003" y="35068"/>
                  </a:cubicBezTo>
                  <a:cubicBezTo>
                    <a:pt x="32756" y="35013"/>
                    <a:pt x="33513" y="34990"/>
                    <a:pt x="34273" y="34990"/>
                  </a:cubicBezTo>
                  <a:cubicBezTo>
                    <a:pt x="38119" y="34990"/>
                    <a:pt x="42046" y="35581"/>
                    <a:pt x="45868" y="35581"/>
                  </a:cubicBezTo>
                  <a:cubicBezTo>
                    <a:pt x="49421" y="35581"/>
                    <a:pt x="52884" y="35070"/>
                    <a:pt x="56105" y="33098"/>
                  </a:cubicBezTo>
                  <a:cubicBezTo>
                    <a:pt x="64513" y="27943"/>
                    <a:pt x="67156" y="16947"/>
                    <a:pt x="62003" y="8533"/>
                  </a:cubicBezTo>
                  <a:cubicBezTo>
                    <a:pt x="58633" y="3033"/>
                    <a:pt x="52764" y="1"/>
                    <a:pt x="46753" y="1"/>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62" name="Google Shape;353;p31"/>
            <p:cNvSpPr/>
            <p:nvPr/>
          </p:nvSpPr>
          <p:spPr>
            <a:xfrm>
              <a:off x="2159750" y="4044200"/>
              <a:ext cx="766300" cy="585650"/>
            </a:xfrm>
            <a:custGeom>
              <a:avLst/>
              <a:gdLst/>
              <a:ahLst/>
              <a:cxnLst/>
              <a:rect l="l" t="t" r="r" b="b"/>
              <a:pathLst>
                <a:path w="30652" h="23426" extrusionOk="0">
                  <a:moveTo>
                    <a:pt x="17342" y="1"/>
                  </a:moveTo>
                  <a:cubicBezTo>
                    <a:pt x="15267" y="1"/>
                    <a:pt x="13166" y="555"/>
                    <a:pt x="11267" y="1719"/>
                  </a:cubicBezTo>
                  <a:cubicBezTo>
                    <a:pt x="5776" y="5081"/>
                    <a:pt x="1" y="20233"/>
                    <a:pt x="913" y="21725"/>
                  </a:cubicBezTo>
                  <a:cubicBezTo>
                    <a:pt x="1339" y="22420"/>
                    <a:pt x="7261" y="23426"/>
                    <a:pt x="13153" y="23426"/>
                  </a:cubicBezTo>
                  <a:cubicBezTo>
                    <a:pt x="17188" y="23426"/>
                    <a:pt x="21210" y="22954"/>
                    <a:pt x="23439" y="21587"/>
                  </a:cubicBezTo>
                  <a:cubicBezTo>
                    <a:pt x="28925" y="18226"/>
                    <a:pt x="30651" y="11055"/>
                    <a:pt x="27285" y="5565"/>
                  </a:cubicBezTo>
                  <a:cubicBezTo>
                    <a:pt x="25087" y="1979"/>
                    <a:pt x="21261" y="1"/>
                    <a:pt x="17342"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63" name="Google Shape;354;p31"/>
            <p:cNvSpPr/>
            <p:nvPr/>
          </p:nvSpPr>
          <p:spPr>
            <a:xfrm>
              <a:off x="2391400" y="4103125"/>
              <a:ext cx="490100" cy="374550"/>
            </a:xfrm>
            <a:custGeom>
              <a:avLst/>
              <a:gdLst/>
              <a:ahLst/>
              <a:cxnLst/>
              <a:rect l="l" t="t" r="r" b="b"/>
              <a:pathLst>
                <a:path w="19604" h="14982" extrusionOk="0">
                  <a:moveTo>
                    <a:pt x="11088" y="1"/>
                  </a:moveTo>
                  <a:cubicBezTo>
                    <a:pt x="9760" y="1"/>
                    <a:pt x="8416" y="355"/>
                    <a:pt x="7201" y="1099"/>
                  </a:cubicBezTo>
                  <a:cubicBezTo>
                    <a:pt x="3692" y="3248"/>
                    <a:pt x="0" y="12941"/>
                    <a:pt x="581" y="13893"/>
                  </a:cubicBezTo>
                  <a:cubicBezTo>
                    <a:pt x="853" y="14338"/>
                    <a:pt x="4643" y="14981"/>
                    <a:pt x="8413" y="14981"/>
                  </a:cubicBezTo>
                  <a:cubicBezTo>
                    <a:pt x="10993" y="14981"/>
                    <a:pt x="13563" y="14680"/>
                    <a:pt x="14989" y="13807"/>
                  </a:cubicBezTo>
                  <a:cubicBezTo>
                    <a:pt x="18498" y="11658"/>
                    <a:pt x="19603" y="7068"/>
                    <a:pt x="17449" y="3560"/>
                  </a:cubicBezTo>
                  <a:cubicBezTo>
                    <a:pt x="16044" y="1265"/>
                    <a:pt x="13595" y="1"/>
                    <a:pt x="11088" y="1"/>
                  </a:cubicBezTo>
                  <a:close/>
                </a:path>
              </a:pathLst>
            </a:custGeom>
            <a:solidFill>
              <a:srgbClr val="6D9EE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64" name="Google Shape;355;p31"/>
            <p:cNvSpPr/>
            <p:nvPr/>
          </p:nvSpPr>
          <p:spPr>
            <a:xfrm>
              <a:off x="3042800" y="1458975"/>
              <a:ext cx="4213450" cy="2854350"/>
            </a:xfrm>
            <a:custGeom>
              <a:avLst/>
              <a:gdLst/>
              <a:ahLst/>
              <a:cxnLst/>
              <a:rect l="l" t="t" r="r" b="b"/>
              <a:pathLst>
                <a:path w="168538" h="114174" extrusionOk="0">
                  <a:moveTo>
                    <a:pt x="145777" y="0"/>
                  </a:moveTo>
                  <a:cubicBezTo>
                    <a:pt x="130803" y="0"/>
                    <a:pt x="110000" y="6242"/>
                    <a:pt x="102469" y="9805"/>
                  </a:cubicBezTo>
                  <a:cubicBezTo>
                    <a:pt x="101491" y="10264"/>
                    <a:pt x="100581" y="10828"/>
                    <a:pt x="99714" y="11470"/>
                  </a:cubicBezTo>
                  <a:lnTo>
                    <a:pt x="68116" y="33799"/>
                  </a:lnTo>
                  <a:lnTo>
                    <a:pt x="55481" y="42732"/>
                  </a:lnTo>
                  <a:lnTo>
                    <a:pt x="0" y="81939"/>
                  </a:lnTo>
                  <a:lnTo>
                    <a:pt x="19757" y="114173"/>
                  </a:lnTo>
                  <a:cubicBezTo>
                    <a:pt x="19757" y="114173"/>
                    <a:pt x="125889" y="58958"/>
                    <a:pt x="130553" y="55639"/>
                  </a:cubicBezTo>
                  <a:cubicBezTo>
                    <a:pt x="140607" y="48483"/>
                    <a:pt x="168538" y="17282"/>
                    <a:pt x="161215" y="5328"/>
                  </a:cubicBezTo>
                  <a:cubicBezTo>
                    <a:pt x="158836" y="1445"/>
                    <a:pt x="152981" y="0"/>
                    <a:pt x="145777" y="0"/>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65" name="Google Shape;356;p31"/>
            <p:cNvSpPr/>
            <p:nvPr/>
          </p:nvSpPr>
          <p:spPr>
            <a:xfrm>
              <a:off x="3035150" y="1450850"/>
              <a:ext cx="4226975" cy="2869350"/>
            </a:xfrm>
            <a:custGeom>
              <a:avLst/>
              <a:gdLst/>
              <a:ahLst/>
              <a:cxnLst/>
              <a:rect l="l" t="t" r="r" b="b"/>
              <a:pathLst>
                <a:path w="169079" h="114774" extrusionOk="0">
                  <a:moveTo>
                    <a:pt x="146129" y="1"/>
                  </a:moveTo>
                  <a:cubicBezTo>
                    <a:pt x="130719" y="1"/>
                    <a:pt x="109344" y="6720"/>
                    <a:pt x="102659" y="9881"/>
                  </a:cubicBezTo>
                  <a:cubicBezTo>
                    <a:pt x="101706" y="10328"/>
                    <a:pt x="100765" y="10899"/>
                    <a:pt x="99862" y="11571"/>
                  </a:cubicBezTo>
                  <a:lnTo>
                    <a:pt x="68264" y="33900"/>
                  </a:lnTo>
                  <a:cubicBezTo>
                    <a:pt x="68142" y="33987"/>
                    <a:pt x="68116" y="34159"/>
                    <a:pt x="68203" y="34281"/>
                  </a:cubicBezTo>
                  <a:cubicBezTo>
                    <a:pt x="68257" y="34356"/>
                    <a:pt x="68343" y="34397"/>
                    <a:pt x="68428" y="34397"/>
                  </a:cubicBezTo>
                  <a:cubicBezTo>
                    <a:pt x="68482" y="34397"/>
                    <a:pt x="68535" y="34381"/>
                    <a:pt x="68580" y="34347"/>
                  </a:cubicBezTo>
                  <a:lnTo>
                    <a:pt x="100184" y="12015"/>
                  </a:lnTo>
                  <a:cubicBezTo>
                    <a:pt x="101059" y="11362"/>
                    <a:pt x="101971" y="10807"/>
                    <a:pt x="102893" y="10375"/>
                  </a:cubicBezTo>
                  <a:cubicBezTo>
                    <a:pt x="110845" y="6616"/>
                    <a:pt x="131363" y="620"/>
                    <a:pt x="146073" y="620"/>
                  </a:cubicBezTo>
                  <a:cubicBezTo>
                    <a:pt x="153211" y="620"/>
                    <a:pt x="158981" y="2032"/>
                    <a:pt x="161286" y="5796"/>
                  </a:cubicBezTo>
                  <a:cubicBezTo>
                    <a:pt x="164363" y="10812"/>
                    <a:pt x="161235" y="20276"/>
                    <a:pt x="152485" y="32448"/>
                  </a:cubicBezTo>
                  <a:cubicBezTo>
                    <a:pt x="145309" y="42431"/>
                    <a:pt x="135774" y="52128"/>
                    <a:pt x="130701" y="55739"/>
                  </a:cubicBezTo>
                  <a:cubicBezTo>
                    <a:pt x="126204" y="58938"/>
                    <a:pt x="25655" y="111280"/>
                    <a:pt x="20160" y="114143"/>
                  </a:cubicBezTo>
                  <a:lnTo>
                    <a:pt x="673" y="82341"/>
                  </a:lnTo>
                  <a:lnTo>
                    <a:pt x="55944" y="43282"/>
                  </a:lnTo>
                  <a:cubicBezTo>
                    <a:pt x="56066" y="43195"/>
                    <a:pt x="56092" y="43021"/>
                    <a:pt x="56005" y="42899"/>
                  </a:cubicBezTo>
                  <a:cubicBezTo>
                    <a:pt x="55952" y="42824"/>
                    <a:pt x="55868" y="42784"/>
                    <a:pt x="55783" y="42784"/>
                  </a:cubicBezTo>
                  <a:cubicBezTo>
                    <a:pt x="55730" y="42784"/>
                    <a:pt x="55676" y="42800"/>
                    <a:pt x="55629" y="42833"/>
                  </a:cubicBezTo>
                  <a:lnTo>
                    <a:pt x="148" y="82040"/>
                  </a:lnTo>
                  <a:cubicBezTo>
                    <a:pt x="31" y="82122"/>
                    <a:pt x="0" y="82285"/>
                    <a:pt x="77" y="82407"/>
                  </a:cubicBezTo>
                  <a:lnTo>
                    <a:pt x="19828" y="114641"/>
                  </a:lnTo>
                  <a:cubicBezTo>
                    <a:pt x="19880" y="114728"/>
                    <a:pt x="19971" y="114774"/>
                    <a:pt x="20063" y="114774"/>
                  </a:cubicBezTo>
                  <a:cubicBezTo>
                    <a:pt x="20103" y="114774"/>
                    <a:pt x="20150" y="114764"/>
                    <a:pt x="20190" y="114743"/>
                  </a:cubicBezTo>
                  <a:cubicBezTo>
                    <a:pt x="24520" y="112486"/>
                    <a:pt x="126388" y="59478"/>
                    <a:pt x="131018" y="56182"/>
                  </a:cubicBezTo>
                  <a:cubicBezTo>
                    <a:pt x="141744" y="48552"/>
                    <a:pt x="169079" y="17469"/>
                    <a:pt x="161754" y="5511"/>
                  </a:cubicBezTo>
                  <a:cubicBezTo>
                    <a:pt x="159287" y="1483"/>
                    <a:pt x="153366" y="1"/>
                    <a:pt x="146129"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66" name="Google Shape;357;p31"/>
            <p:cNvSpPr/>
            <p:nvPr/>
          </p:nvSpPr>
          <p:spPr>
            <a:xfrm>
              <a:off x="3453050" y="1593075"/>
              <a:ext cx="3691175" cy="2711350"/>
            </a:xfrm>
            <a:custGeom>
              <a:avLst/>
              <a:gdLst/>
              <a:ahLst/>
              <a:cxnLst/>
              <a:rect l="l" t="t" r="r" b="b"/>
              <a:pathLst>
                <a:path w="147647" h="108454" extrusionOk="0">
                  <a:moveTo>
                    <a:pt x="144504" y="0"/>
                  </a:moveTo>
                  <a:cubicBezTo>
                    <a:pt x="142701" y="4956"/>
                    <a:pt x="138611" y="14526"/>
                    <a:pt x="131928" y="21508"/>
                  </a:cubicBezTo>
                  <a:cubicBezTo>
                    <a:pt x="122532" y="31333"/>
                    <a:pt x="111851" y="41585"/>
                    <a:pt x="105445" y="45430"/>
                  </a:cubicBezTo>
                  <a:cubicBezTo>
                    <a:pt x="99302" y="49118"/>
                    <a:pt x="7605" y="98720"/>
                    <a:pt x="0" y="102831"/>
                  </a:cubicBezTo>
                  <a:lnTo>
                    <a:pt x="3444" y="108454"/>
                  </a:lnTo>
                  <a:cubicBezTo>
                    <a:pt x="8939" y="105591"/>
                    <a:pt x="109488" y="53249"/>
                    <a:pt x="113985" y="50050"/>
                  </a:cubicBezTo>
                  <a:cubicBezTo>
                    <a:pt x="119058" y="46439"/>
                    <a:pt x="128593" y="36742"/>
                    <a:pt x="135769" y="26759"/>
                  </a:cubicBezTo>
                  <a:cubicBezTo>
                    <a:pt x="144519" y="14587"/>
                    <a:pt x="147647" y="5123"/>
                    <a:pt x="144570" y="107"/>
                  </a:cubicBezTo>
                  <a:cubicBezTo>
                    <a:pt x="144549" y="71"/>
                    <a:pt x="144530" y="36"/>
                    <a:pt x="144504" y="0"/>
                  </a:cubicBezTo>
                  <a:close/>
                </a:path>
              </a:pathLst>
            </a:custGeom>
            <a:solidFill>
              <a:srgbClr val="6D9EE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67" name="Google Shape;358;p31"/>
            <p:cNvSpPr/>
            <p:nvPr/>
          </p:nvSpPr>
          <p:spPr>
            <a:xfrm>
              <a:off x="3447050" y="1585275"/>
              <a:ext cx="3809200" cy="2728050"/>
            </a:xfrm>
            <a:custGeom>
              <a:avLst/>
              <a:gdLst/>
              <a:ahLst/>
              <a:cxnLst/>
              <a:rect l="l" t="t" r="r" b="b"/>
              <a:pathLst>
                <a:path w="152368" h="109122" extrusionOk="0">
                  <a:moveTo>
                    <a:pt x="144861" y="1"/>
                  </a:moveTo>
                  <a:cubicBezTo>
                    <a:pt x="144820" y="103"/>
                    <a:pt x="144784" y="205"/>
                    <a:pt x="144744" y="312"/>
                  </a:cubicBezTo>
                  <a:cubicBezTo>
                    <a:pt x="144770" y="348"/>
                    <a:pt x="144789" y="383"/>
                    <a:pt x="144810" y="419"/>
                  </a:cubicBezTo>
                  <a:cubicBezTo>
                    <a:pt x="147887" y="5435"/>
                    <a:pt x="144759" y="14899"/>
                    <a:pt x="136009" y="27071"/>
                  </a:cubicBezTo>
                  <a:cubicBezTo>
                    <a:pt x="128833" y="37054"/>
                    <a:pt x="119298" y="46751"/>
                    <a:pt x="114225" y="50362"/>
                  </a:cubicBezTo>
                  <a:cubicBezTo>
                    <a:pt x="109728" y="53561"/>
                    <a:pt x="9179" y="105903"/>
                    <a:pt x="3684" y="108766"/>
                  </a:cubicBezTo>
                  <a:lnTo>
                    <a:pt x="240" y="103143"/>
                  </a:lnTo>
                  <a:cubicBezTo>
                    <a:pt x="149" y="103193"/>
                    <a:pt x="68" y="103240"/>
                    <a:pt x="1" y="103275"/>
                  </a:cubicBezTo>
                  <a:lnTo>
                    <a:pt x="3587" y="109121"/>
                  </a:lnTo>
                  <a:cubicBezTo>
                    <a:pt x="3587" y="109121"/>
                    <a:pt x="109719" y="53906"/>
                    <a:pt x="114383" y="50587"/>
                  </a:cubicBezTo>
                  <a:cubicBezTo>
                    <a:pt x="124437" y="43431"/>
                    <a:pt x="152368" y="12230"/>
                    <a:pt x="145045" y="276"/>
                  </a:cubicBezTo>
                  <a:cubicBezTo>
                    <a:pt x="144989" y="179"/>
                    <a:pt x="144922" y="92"/>
                    <a:pt x="144861"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68" name="Google Shape;359;p31"/>
            <p:cNvSpPr/>
            <p:nvPr/>
          </p:nvSpPr>
          <p:spPr>
            <a:xfrm>
              <a:off x="2723850" y="3507425"/>
              <a:ext cx="812900" cy="925725"/>
            </a:xfrm>
            <a:custGeom>
              <a:avLst/>
              <a:gdLst/>
              <a:ahLst/>
              <a:cxnLst/>
              <a:rect l="l" t="t" r="r" b="b"/>
              <a:pathLst>
                <a:path w="32516" h="37029" extrusionOk="0">
                  <a:moveTo>
                    <a:pt x="12758" y="1"/>
                  </a:moveTo>
                  <a:lnTo>
                    <a:pt x="0" y="14374"/>
                  </a:lnTo>
                  <a:lnTo>
                    <a:pt x="13879" y="37028"/>
                  </a:lnTo>
                  <a:lnTo>
                    <a:pt x="32515" y="32235"/>
                  </a:lnTo>
                  <a:lnTo>
                    <a:pt x="12758" y="1"/>
                  </a:ln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69" name="Google Shape;360;p31"/>
            <p:cNvSpPr/>
            <p:nvPr/>
          </p:nvSpPr>
          <p:spPr>
            <a:xfrm>
              <a:off x="2715325" y="3495975"/>
              <a:ext cx="831975" cy="945050"/>
            </a:xfrm>
            <a:custGeom>
              <a:avLst/>
              <a:gdLst/>
              <a:ahLst/>
              <a:cxnLst/>
              <a:rect l="l" t="t" r="r" b="b"/>
              <a:pathLst>
                <a:path w="33279" h="37802" extrusionOk="0">
                  <a:moveTo>
                    <a:pt x="13059" y="917"/>
                  </a:moveTo>
                  <a:lnTo>
                    <a:pt x="32428" y="32526"/>
                  </a:lnTo>
                  <a:lnTo>
                    <a:pt x="14347" y="37171"/>
                  </a:lnTo>
                  <a:lnTo>
                    <a:pt x="677" y="14863"/>
                  </a:lnTo>
                  <a:lnTo>
                    <a:pt x="13059" y="917"/>
                  </a:lnTo>
                  <a:close/>
                  <a:moveTo>
                    <a:pt x="13141" y="0"/>
                  </a:moveTo>
                  <a:lnTo>
                    <a:pt x="0" y="14802"/>
                  </a:lnTo>
                  <a:lnTo>
                    <a:pt x="14093" y="37802"/>
                  </a:lnTo>
                  <a:lnTo>
                    <a:pt x="33279" y="32867"/>
                  </a:lnTo>
                  <a:lnTo>
                    <a:pt x="13141" y="0"/>
                  </a:ln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0" name="Google Shape;361;p31"/>
            <p:cNvSpPr/>
            <p:nvPr/>
          </p:nvSpPr>
          <p:spPr>
            <a:xfrm>
              <a:off x="2773375" y="3810625"/>
              <a:ext cx="73375" cy="72100"/>
            </a:xfrm>
            <a:custGeom>
              <a:avLst/>
              <a:gdLst/>
              <a:ahLst/>
              <a:cxnLst/>
              <a:rect l="l" t="t" r="r" b="b"/>
              <a:pathLst>
                <a:path w="2935" h="2884" extrusionOk="0">
                  <a:moveTo>
                    <a:pt x="2634" y="1"/>
                  </a:moveTo>
                  <a:cubicBezTo>
                    <a:pt x="2565" y="1"/>
                    <a:pt x="2496" y="28"/>
                    <a:pt x="2445" y="82"/>
                  </a:cubicBezTo>
                  <a:lnTo>
                    <a:pt x="107" y="2414"/>
                  </a:lnTo>
                  <a:cubicBezTo>
                    <a:pt x="1" y="2521"/>
                    <a:pt x="1" y="2694"/>
                    <a:pt x="107" y="2801"/>
                  </a:cubicBezTo>
                  <a:cubicBezTo>
                    <a:pt x="163" y="2858"/>
                    <a:pt x="229" y="2883"/>
                    <a:pt x="300" y="2883"/>
                  </a:cubicBezTo>
                  <a:cubicBezTo>
                    <a:pt x="372" y="2883"/>
                    <a:pt x="443" y="2858"/>
                    <a:pt x="495" y="2801"/>
                  </a:cubicBezTo>
                  <a:lnTo>
                    <a:pt x="2827" y="469"/>
                  </a:lnTo>
                  <a:cubicBezTo>
                    <a:pt x="2934" y="362"/>
                    <a:pt x="2934" y="188"/>
                    <a:pt x="2827" y="82"/>
                  </a:cubicBezTo>
                  <a:cubicBezTo>
                    <a:pt x="2774" y="28"/>
                    <a:pt x="2704" y="1"/>
                    <a:pt x="2634" y="1"/>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1" name="Google Shape;362;p31"/>
            <p:cNvSpPr/>
            <p:nvPr/>
          </p:nvSpPr>
          <p:spPr>
            <a:xfrm>
              <a:off x="2877650" y="3602225"/>
              <a:ext cx="177500" cy="176325"/>
            </a:xfrm>
            <a:custGeom>
              <a:avLst/>
              <a:gdLst/>
              <a:ahLst/>
              <a:cxnLst/>
              <a:rect l="l" t="t" r="r" b="b"/>
              <a:pathLst>
                <a:path w="7100" h="7053" extrusionOk="0">
                  <a:moveTo>
                    <a:pt x="6800" y="0"/>
                  </a:moveTo>
                  <a:cubicBezTo>
                    <a:pt x="6730" y="0"/>
                    <a:pt x="6660" y="27"/>
                    <a:pt x="6606" y="80"/>
                  </a:cubicBezTo>
                  <a:lnTo>
                    <a:pt x="108" y="6584"/>
                  </a:lnTo>
                  <a:cubicBezTo>
                    <a:pt x="0" y="6690"/>
                    <a:pt x="0" y="6864"/>
                    <a:pt x="108" y="6972"/>
                  </a:cubicBezTo>
                  <a:cubicBezTo>
                    <a:pt x="158" y="7022"/>
                    <a:pt x="230" y="7052"/>
                    <a:pt x="296" y="7052"/>
                  </a:cubicBezTo>
                  <a:cubicBezTo>
                    <a:pt x="367" y="7052"/>
                    <a:pt x="438" y="7022"/>
                    <a:pt x="489" y="6972"/>
                  </a:cubicBezTo>
                  <a:lnTo>
                    <a:pt x="6994" y="467"/>
                  </a:lnTo>
                  <a:cubicBezTo>
                    <a:pt x="7100" y="360"/>
                    <a:pt x="7100" y="188"/>
                    <a:pt x="6994" y="80"/>
                  </a:cubicBezTo>
                  <a:cubicBezTo>
                    <a:pt x="6940" y="27"/>
                    <a:pt x="6870" y="0"/>
                    <a:pt x="6800" y="0"/>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2" name="Google Shape;363;p31"/>
            <p:cNvSpPr/>
            <p:nvPr/>
          </p:nvSpPr>
          <p:spPr>
            <a:xfrm>
              <a:off x="4214600" y="2854725"/>
              <a:ext cx="658450" cy="577075"/>
            </a:xfrm>
            <a:custGeom>
              <a:avLst/>
              <a:gdLst/>
              <a:ahLst/>
              <a:cxnLst/>
              <a:rect l="l" t="t" r="r" b="b"/>
              <a:pathLst>
                <a:path w="26338" h="23083" extrusionOk="0">
                  <a:moveTo>
                    <a:pt x="13161" y="1"/>
                  </a:moveTo>
                  <a:cubicBezTo>
                    <a:pt x="11105" y="1"/>
                    <a:pt x="9023" y="550"/>
                    <a:pt x="7142" y="1703"/>
                  </a:cubicBezTo>
                  <a:cubicBezTo>
                    <a:pt x="1707" y="5034"/>
                    <a:pt x="1" y="12138"/>
                    <a:pt x="3332" y="17573"/>
                  </a:cubicBezTo>
                  <a:cubicBezTo>
                    <a:pt x="5510" y="21124"/>
                    <a:pt x="9303" y="23082"/>
                    <a:pt x="13186" y="23082"/>
                  </a:cubicBezTo>
                  <a:cubicBezTo>
                    <a:pt x="15241" y="23082"/>
                    <a:pt x="17321" y="22534"/>
                    <a:pt x="19202" y="21383"/>
                  </a:cubicBezTo>
                  <a:cubicBezTo>
                    <a:pt x="24631" y="18052"/>
                    <a:pt x="26338" y="10947"/>
                    <a:pt x="23012" y="5512"/>
                  </a:cubicBezTo>
                  <a:cubicBezTo>
                    <a:pt x="20834" y="1960"/>
                    <a:pt x="17043" y="1"/>
                    <a:pt x="13161"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3" name="Google Shape;364;p31"/>
            <p:cNvSpPr/>
            <p:nvPr/>
          </p:nvSpPr>
          <p:spPr>
            <a:xfrm>
              <a:off x="4298125" y="2927900"/>
              <a:ext cx="491525" cy="430775"/>
            </a:xfrm>
            <a:custGeom>
              <a:avLst/>
              <a:gdLst/>
              <a:ahLst/>
              <a:cxnLst/>
              <a:rect l="l" t="t" r="r" b="b"/>
              <a:pathLst>
                <a:path w="19661" h="17231" extrusionOk="0">
                  <a:moveTo>
                    <a:pt x="9823" y="1"/>
                  </a:moveTo>
                  <a:cubicBezTo>
                    <a:pt x="8288" y="1"/>
                    <a:pt x="6734" y="411"/>
                    <a:pt x="5329" y="1271"/>
                  </a:cubicBezTo>
                  <a:cubicBezTo>
                    <a:pt x="1274" y="3757"/>
                    <a:pt x="0" y="9059"/>
                    <a:pt x="2487" y="13118"/>
                  </a:cubicBezTo>
                  <a:cubicBezTo>
                    <a:pt x="4111" y="15769"/>
                    <a:pt x="6940" y="17230"/>
                    <a:pt x="9838" y="17230"/>
                  </a:cubicBezTo>
                  <a:cubicBezTo>
                    <a:pt x="11373" y="17230"/>
                    <a:pt x="12927" y="16821"/>
                    <a:pt x="14333" y="15960"/>
                  </a:cubicBezTo>
                  <a:cubicBezTo>
                    <a:pt x="18387" y="13475"/>
                    <a:pt x="19661" y="8172"/>
                    <a:pt x="17175" y="4113"/>
                  </a:cubicBezTo>
                  <a:cubicBezTo>
                    <a:pt x="15550" y="1463"/>
                    <a:pt x="12721" y="1"/>
                    <a:pt x="9823" y="1"/>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4" name="Google Shape;365;p31"/>
            <p:cNvSpPr/>
            <p:nvPr/>
          </p:nvSpPr>
          <p:spPr>
            <a:xfrm>
              <a:off x="4290350" y="2921050"/>
              <a:ext cx="491400" cy="444300"/>
            </a:xfrm>
            <a:custGeom>
              <a:avLst/>
              <a:gdLst/>
              <a:ahLst/>
              <a:cxnLst/>
              <a:rect l="l" t="t" r="r" b="b"/>
              <a:pathLst>
                <a:path w="19656" h="17772" extrusionOk="0">
                  <a:moveTo>
                    <a:pt x="10127" y="548"/>
                  </a:moveTo>
                  <a:cubicBezTo>
                    <a:pt x="10778" y="548"/>
                    <a:pt x="11435" y="623"/>
                    <a:pt x="12088" y="781"/>
                  </a:cubicBezTo>
                  <a:cubicBezTo>
                    <a:pt x="14257" y="1301"/>
                    <a:pt x="16091" y="2631"/>
                    <a:pt x="17252" y="4530"/>
                  </a:cubicBezTo>
                  <a:cubicBezTo>
                    <a:pt x="19655" y="8451"/>
                    <a:pt x="18423" y="13596"/>
                    <a:pt x="14502" y="15999"/>
                  </a:cubicBezTo>
                  <a:cubicBezTo>
                    <a:pt x="13145" y="16831"/>
                    <a:pt x="11641" y="17227"/>
                    <a:pt x="10155" y="17227"/>
                  </a:cubicBezTo>
                  <a:cubicBezTo>
                    <a:pt x="7346" y="17227"/>
                    <a:pt x="4601" y="15812"/>
                    <a:pt x="3031" y="13249"/>
                  </a:cubicBezTo>
                  <a:cubicBezTo>
                    <a:pt x="628" y="9328"/>
                    <a:pt x="1860" y="4179"/>
                    <a:pt x="5781" y="1780"/>
                  </a:cubicBezTo>
                  <a:cubicBezTo>
                    <a:pt x="7111" y="964"/>
                    <a:pt x="8609" y="548"/>
                    <a:pt x="10127" y="548"/>
                  </a:cubicBezTo>
                  <a:close/>
                  <a:moveTo>
                    <a:pt x="10132" y="0"/>
                  </a:moveTo>
                  <a:cubicBezTo>
                    <a:pt x="8512" y="0"/>
                    <a:pt x="6915" y="445"/>
                    <a:pt x="5497" y="1312"/>
                  </a:cubicBezTo>
                  <a:cubicBezTo>
                    <a:pt x="1320" y="3874"/>
                    <a:pt x="1" y="9353"/>
                    <a:pt x="2563" y="13535"/>
                  </a:cubicBezTo>
                  <a:cubicBezTo>
                    <a:pt x="4239" y="16265"/>
                    <a:pt x="7163" y="17772"/>
                    <a:pt x="10157" y="17772"/>
                  </a:cubicBezTo>
                  <a:cubicBezTo>
                    <a:pt x="11736" y="17772"/>
                    <a:pt x="13341" y="17355"/>
                    <a:pt x="14787" y="16469"/>
                  </a:cubicBezTo>
                  <a:cubicBezTo>
                    <a:pt x="16808" y="15226"/>
                    <a:pt x="18230" y="13275"/>
                    <a:pt x="18785" y="10963"/>
                  </a:cubicBezTo>
                  <a:cubicBezTo>
                    <a:pt x="19335" y="8655"/>
                    <a:pt x="18958" y="6272"/>
                    <a:pt x="17720" y="4245"/>
                  </a:cubicBezTo>
                  <a:cubicBezTo>
                    <a:pt x="16477" y="2223"/>
                    <a:pt x="14527" y="802"/>
                    <a:pt x="12215" y="247"/>
                  </a:cubicBezTo>
                  <a:cubicBezTo>
                    <a:pt x="11524" y="82"/>
                    <a:pt x="10826" y="0"/>
                    <a:pt x="10132"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5" name="Google Shape;366;p31"/>
            <p:cNvSpPr/>
            <p:nvPr/>
          </p:nvSpPr>
          <p:spPr>
            <a:xfrm>
              <a:off x="4422150" y="2986025"/>
              <a:ext cx="359600" cy="365725"/>
            </a:xfrm>
            <a:custGeom>
              <a:avLst/>
              <a:gdLst/>
              <a:ahLst/>
              <a:cxnLst/>
              <a:rect l="l" t="t" r="r" b="b"/>
              <a:pathLst>
                <a:path w="14384" h="14629" extrusionOk="0">
                  <a:moveTo>
                    <a:pt x="10356" y="1"/>
                  </a:moveTo>
                  <a:cubicBezTo>
                    <a:pt x="5460" y="4152"/>
                    <a:pt x="1757" y="9989"/>
                    <a:pt x="1" y="13059"/>
                  </a:cubicBezTo>
                  <a:cubicBezTo>
                    <a:pt x="1426" y="14084"/>
                    <a:pt x="3144" y="14629"/>
                    <a:pt x="4885" y="14629"/>
                  </a:cubicBezTo>
                  <a:cubicBezTo>
                    <a:pt x="6367" y="14629"/>
                    <a:pt x="7869" y="14232"/>
                    <a:pt x="9230" y="13400"/>
                  </a:cubicBezTo>
                  <a:cubicBezTo>
                    <a:pt x="13151" y="10997"/>
                    <a:pt x="14383" y="5852"/>
                    <a:pt x="11980" y="1931"/>
                  </a:cubicBezTo>
                  <a:cubicBezTo>
                    <a:pt x="11531" y="1198"/>
                    <a:pt x="10981" y="551"/>
                    <a:pt x="10356" y="1"/>
                  </a:cubicBezTo>
                  <a:close/>
                </a:path>
              </a:pathLst>
            </a:custGeom>
            <a:solidFill>
              <a:srgbClr val="6D9EE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6" name="Google Shape;367;p31"/>
            <p:cNvSpPr/>
            <p:nvPr/>
          </p:nvSpPr>
          <p:spPr>
            <a:xfrm>
              <a:off x="4418700" y="2981575"/>
              <a:ext cx="370950" cy="377050"/>
            </a:xfrm>
            <a:custGeom>
              <a:avLst/>
              <a:gdLst/>
              <a:ahLst/>
              <a:cxnLst/>
              <a:rect l="l" t="t" r="r" b="b"/>
              <a:pathLst>
                <a:path w="14838" h="15082" extrusionOk="0">
                  <a:moveTo>
                    <a:pt x="10701" y="0"/>
                  </a:moveTo>
                  <a:cubicBezTo>
                    <a:pt x="10630" y="62"/>
                    <a:pt x="10560" y="118"/>
                    <a:pt x="10494" y="179"/>
                  </a:cubicBezTo>
                  <a:cubicBezTo>
                    <a:pt x="11119" y="729"/>
                    <a:pt x="11669" y="1376"/>
                    <a:pt x="12118" y="2109"/>
                  </a:cubicBezTo>
                  <a:cubicBezTo>
                    <a:pt x="14521" y="6030"/>
                    <a:pt x="13289" y="11175"/>
                    <a:pt x="9368" y="13578"/>
                  </a:cubicBezTo>
                  <a:cubicBezTo>
                    <a:pt x="8007" y="14410"/>
                    <a:pt x="6505" y="14807"/>
                    <a:pt x="5023" y="14807"/>
                  </a:cubicBezTo>
                  <a:cubicBezTo>
                    <a:pt x="3282" y="14807"/>
                    <a:pt x="1564" y="14262"/>
                    <a:pt x="139" y="13237"/>
                  </a:cubicBezTo>
                  <a:cubicBezTo>
                    <a:pt x="88" y="13324"/>
                    <a:pt x="47" y="13401"/>
                    <a:pt x="1" y="13482"/>
                  </a:cubicBezTo>
                  <a:cubicBezTo>
                    <a:pt x="1468" y="14526"/>
                    <a:pt x="3230" y="15082"/>
                    <a:pt x="5017" y="15082"/>
                  </a:cubicBezTo>
                  <a:cubicBezTo>
                    <a:pt x="6551" y="15082"/>
                    <a:pt x="8104" y="14674"/>
                    <a:pt x="9510" y="13813"/>
                  </a:cubicBezTo>
                  <a:cubicBezTo>
                    <a:pt x="13564" y="11328"/>
                    <a:pt x="14838" y="6025"/>
                    <a:pt x="12352" y="1966"/>
                  </a:cubicBezTo>
                  <a:cubicBezTo>
                    <a:pt x="11888" y="1213"/>
                    <a:pt x="11328" y="555"/>
                    <a:pt x="10701"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7" name="Google Shape;368;p31"/>
            <p:cNvSpPr/>
            <p:nvPr/>
          </p:nvSpPr>
          <p:spPr>
            <a:xfrm>
              <a:off x="4794975" y="2529775"/>
              <a:ext cx="658450" cy="577050"/>
            </a:xfrm>
            <a:custGeom>
              <a:avLst/>
              <a:gdLst/>
              <a:ahLst/>
              <a:cxnLst/>
              <a:rect l="l" t="t" r="r" b="b"/>
              <a:pathLst>
                <a:path w="26338" h="23082" extrusionOk="0">
                  <a:moveTo>
                    <a:pt x="13156" y="0"/>
                  </a:moveTo>
                  <a:cubicBezTo>
                    <a:pt x="11101" y="0"/>
                    <a:pt x="9020" y="550"/>
                    <a:pt x="7141" y="1703"/>
                  </a:cubicBezTo>
                  <a:cubicBezTo>
                    <a:pt x="1707" y="5034"/>
                    <a:pt x="1" y="12139"/>
                    <a:pt x="3327" y="17574"/>
                  </a:cubicBezTo>
                  <a:cubicBezTo>
                    <a:pt x="5505" y="21124"/>
                    <a:pt x="9297" y="23082"/>
                    <a:pt x="13180" y="23082"/>
                  </a:cubicBezTo>
                  <a:cubicBezTo>
                    <a:pt x="15235" y="23082"/>
                    <a:pt x="17316" y="22534"/>
                    <a:pt x="19197" y="21383"/>
                  </a:cubicBezTo>
                  <a:cubicBezTo>
                    <a:pt x="24631" y="18052"/>
                    <a:pt x="26338" y="10947"/>
                    <a:pt x="23007" y="5513"/>
                  </a:cubicBezTo>
                  <a:cubicBezTo>
                    <a:pt x="20829" y="1960"/>
                    <a:pt x="17038" y="0"/>
                    <a:pt x="13156"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8" name="Google Shape;369;p31"/>
            <p:cNvSpPr/>
            <p:nvPr/>
          </p:nvSpPr>
          <p:spPr>
            <a:xfrm>
              <a:off x="4872775" y="2666825"/>
              <a:ext cx="31850" cy="43950"/>
            </a:xfrm>
            <a:custGeom>
              <a:avLst/>
              <a:gdLst/>
              <a:ahLst/>
              <a:cxnLst/>
              <a:rect l="l" t="t" r="r" b="b"/>
              <a:pathLst>
                <a:path w="1274" h="1758" extrusionOk="0">
                  <a:moveTo>
                    <a:pt x="963" y="1"/>
                  </a:moveTo>
                  <a:cubicBezTo>
                    <a:pt x="875" y="1"/>
                    <a:pt x="788" y="41"/>
                    <a:pt x="734" y="118"/>
                  </a:cubicBezTo>
                  <a:cubicBezTo>
                    <a:pt x="434" y="560"/>
                    <a:pt x="204" y="988"/>
                    <a:pt x="56" y="1391"/>
                  </a:cubicBezTo>
                  <a:cubicBezTo>
                    <a:pt x="1" y="1533"/>
                    <a:pt x="72" y="1691"/>
                    <a:pt x="215" y="1742"/>
                  </a:cubicBezTo>
                  <a:cubicBezTo>
                    <a:pt x="245" y="1752"/>
                    <a:pt x="281" y="1758"/>
                    <a:pt x="311" y="1758"/>
                  </a:cubicBezTo>
                  <a:cubicBezTo>
                    <a:pt x="423" y="1758"/>
                    <a:pt x="525" y="1691"/>
                    <a:pt x="566" y="1584"/>
                  </a:cubicBezTo>
                  <a:cubicBezTo>
                    <a:pt x="704" y="1223"/>
                    <a:pt x="912" y="830"/>
                    <a:pt x="1187" y="428"/>
                  </a:cubicBezTo>
                  <a:cubicBezTo>
                    <a:pt x="1273" y="301"/>
                    <a:pt x="1243" y="132"/>
                    <a:pt x="1116" y="47"/>
                  </a:cubicBezTo>
                  <a:cubicBezTo>
                    <a:pt x="1070" y="16"/>
                    <a:pt x="1016" y="1"/>
                    <a:pt x="963" y="1"/>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Google Shape;370;p31"/>
            <p:cNvSpPr/>
            <p:nvPr/>
          </p:nvSpPr>
          <p:spPr>
            <a:xfrm>
              <a:off x="4913650" y="2620500"/>
              <a:ext cx="31350" cy="29775"/>
            </a:xfrm>
            <a:custGeom>
              <a:avLst/>
              <a:gdLst/>
              <a:ahLst/>
              <a:cxnLst/>
              <a:rect l="l" t="t" r="r" b="b"/>
              <a:pathLst>
                <a:path w="1254" h="1191" extrusionOk="0">
                  <a:moveTo>
                    <a:pt x="952" y="0"/>
                  </a:moveTo>
                  <a:cubicBezTo>
                    <a:pt x="887" y="0"/>
                    <a:pt x="821" y="23"/>
                    <a:pt x="769" y="71"/>
                  </a:cubicBezTo>
                  <a:cubicBezTo>
                    <a:pt x="759" y="81"/>
                    <a:pt x="479" y="325"/>
                    <a:pt x="102" y="727"/>
                  </a:cubicBezTo>
                  <a:cubicBezTo>
                    <a:pt x="0" y="840"/>
                    <a:pt x="5" y="1013"/>
                    <a:pt x="118" y="1115"/>
                  </a:cubicBezTo>
                  <a:cubicBezTo>
                    <a:pt x="169" y="1166"/>
                    <a:pt x="235" y="1191"/>
                    <a:pt x="301" y="1191"/>
                  </a:cubicBezTo>
                  <a:cubicBezTo>
                    <a:pt x="377" y="1191"/>
                    <a:pt x="449" y="1160"/>
                    <a:pt x="505" y="1099"/>
                  </a:cubicBezTo>
                  <a:cubicBezTo>
                    <a:pt x="856" y="723"/>
                    <a:pt x="1126" y="478"/>
                    <a:pt x="1131" y="478"/>
                  </a:cubicBezTo>
                  <a:cubicBezTo>
                    <a:pt x="1243" y="377"/>
                    <a:pt x="1253" y="203"/>
                    <a:pt x="1157" y="91"/>
                  </a:cubicBezTo>
                  <a:cubicBezTo>
                    <a:pt x="1102" y="31"/>
                    <a:pt x="1027" y="0"/>
                    <a:pt x="952" y="0"/>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Google Shape;371;p31"/>
            <p:cNvSpPr/>
            <p:nvPr/>
          </p:nvSpPr>
          <p:spPr>
            <a:xfrm>
              <a:off x="4878375" y="2602975"/>
              <a:ext cx="491500" cy="430750"/>
            </a:xfrm>
            <a:custGeom>
              <a:avLst/>
              <a:gdLst/>
              <a:ahLst/>
              <a:cxnLst/>
              <a:rect l="l" t="t" r="r" b="b"/>
              <a:pathLst>
                <a:path w="19660" h="17230" extrusionOk="0">
                  <a:moveTo>
                    <a:pt x="9824" y="0"/>
                  </a:moveTo>
                  <a:cubicBezTo>
                    <a:pt x="8290" y="0"/>
                    <a:pt x="6736" y="410"/>
                    <a:pt x="5333" y="1271"/>
                  </a:cubicBezTo>
                  <a:cubicBezTo>
                    <a:pt x="1274" y="3756"/>
                    <a:pt x="1" y="9058"/>
                    <a:pt x="2486" y="13113"/>
                  </a:cubicBezTo>
                  <a:cubicBezTo>
                    <a:pt x="4111" y="15767"/>
                    <a:pt x="6941" y="17230"/>
                    <a:pt x="9840" y="17230"/>
                  </a:cubicBezTo>
                  <a:cubicBezTo>
                    <a:pt x="11374" y="17230"/>
                    <a:pt x="12928" y="16820"/>
                    <a:pt x="14333" y="15960"/>
                  </a:cubicBezTo>
                  <a:cubicBezTo>
                    <a:pt x="18387" y="13474"/>
                    <a:pt x="19660" y="8172"/>
                    <a:pt x="17175" y="4113"/>
                  </a:cubicBezTo>
                  <a:cubicBezTo>
                    <a:pt x="15550" y="1462"/>
                    <a:pt x="12721" y="0"/>
                    <a:pt x="9824" y="0"/>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Google Shape;372;p31"/>
            <p:cNvSpPr/>
            <p:nvPr/>
          </p:nvSpPr>
          <p:spPr>
            <a:xfrm>
              <a:off x="4870725" y="2596025"/>
              <a:ext cx="483400" cy="444525"/>
            </a:xfrm>
            <a:custGeom>
              <a:avLst/>
              <a:gdLst/>
              <a:ahLst/>
              <a:cxnLst/>
              <a:rect l="l" t="t" r="r" b="b"/>
              <a:pathLst>
                <a:path w="19336" h="17781" extrusionOk="0">
                  <a:moveTo>
                    <a:pt x="10121" y="550"/>
                  </a:moveTo>
                  <a:cubicBezTo>
                    <a:pt x="10779" y="550"/>
                    <a:pt x="11435" y="627"/>
                    <a:pt x="12086" y="780"/>
                  </a:cubicBezTo>
                  <a:cubicBezTo>
                    <a:pt x="14251" y="1304"/>
                    <a:pt x="16085" y="2634"/>
                    <a:pt x="17251" y="4534"/>
                  </a:cubicBezTo>
                  <a:cubicBezTo>
                    <a:pt x="18412" y="6433"/>
                    <a:pt x="18769" y="8674"/>
                    <a:pt x="18250" y="10839"/>
                  </a:cubicBezTo>
                  <a:cubicBezTo>
                    <a:pt x="17725" y="13008"/>
                    <a:pt x="16395" y="14842"/>
                    <a:pt x="14496" y="16003"/>
                  </a:cubicBezTo>
                  <a:cubicBezTo>
                    <a:pt x="13168" y="16818"/>
                    <a:pt x="11674" y="17236"/>
                    <a:pt x="10155" y="17236"/>
                  </a:cubicBezTo>
                  <a:cubicBezTo>
                    <a:pt x="9501" y="17236"/>
                    <a:pt x="8842" y="17158"/>
                    <a:pt x="8191" y="17002"/>
                  </a:cubicBezTo>
                  <a:cubicBezTo>
                    <a:pt x="6026" y="16482"/>
                    <a:pt x="4188" y="15147"/>
                    <a:pt x="3026" y="13253"/>
                  </a:cubicBezTo>
                  <a:cubicBezTo>
                    <a:pt x="622" y="9327"/>
                    <a:pt x="1860" y="4182"/>
                    <a:pt x="5782" y="1779"/>
                  </a:cubicBezTo>
                  <a:cubicBezTo>
                    <a:pt x="7111" y="968"/>
                    <a:pt x="8603" y="550"/>
                    <a:pt x="10121" y="550"/>
                  </a:cubicBezTo>
                  <a:close/>
                  <a:moveTo>
                    <a:pt x="10118" y="0"/>
                  </a:moveTo>
                  <a:cubicBezTo>
                    <a:pt x="8499" y="0"/>
                    <a:pt x="6910" y="446"/>
                    <a:pt x="5497" y="1314"/>
                  </a:cubicBezTo>
                  <a:cubicBezTo>
                    <a:pt x="1315" y="3876"/>
                    <a:pt x="1" y="9357"/>
                    <a:pt x="2558" y="13538"/>
                  </a:cubicBezTo>
                  <a:cubicBezTo>
                    <a:pt x="3800" y="15561"/>
                    <a:pt x="5756" y="16981"/>
                    <a:pt x="8064" y="17536"/>
                  </a:cubicBezTo>
                  <a:cubicBezTo>
                    <a:pt x="8756" y="17700"/>
                    <a:pt x="9458" y="17780"/>
                    <a:pt x="10151" y="17780"/>
                  </a:cubicBezTo>
                  <a:cubicBezTo>
                    <a:pt x="11771" y="17780"/>
                    <a:pt x="13365" y="17338"/>
                    <a:pt x="14782" y="16471"/>
                  </a:cubicBezTo>
                  <a:cubicBezTo>
                    <a:pt x="16804" y="15229"/>
                    <a:pt x="18224" y="13274"/>
                    <a:pt x="18779" y="10966"/>
                  </a:cubicBezTo>
                  <a:cubicBezTo>
                    <a:pt x="19335" y="8659"/>
                    <a:pt x="18957" y="6276"/>
                    <a:pt x="17715" y="4248"/>
                  </a:cubicBezTo>
                  <a:cubicBezTo>
                    <a:pt x="16477" y="2226"/>
                    <a:pt x="14521" y="806"/>
                    <a:pt x="12215" y="251"/>
                  </a:cubicBezTo>
                  <a:cubicBezTo>
                    <a:pt x="11518" y="83"/>
                    <a:pt x="10815" y="0"/>
                    <a:pt x="10118"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Google Shape;373;p31"/>
            <p:cNvSpPr/>
            <p:nvPr/>
          </p:nvSpPr>
          <p:spPr>
            <a:xfrm>
              <a:off x="5002375" y="2661100"/>
              <a:ext cx="337600" cy="365825"/>
            </a:xfrm>
            <a:custGeom>
              <a:avLst/>
              <a:gdLst/>
              <a:ahLst/>
              <a:cxnLst/>
              <a:rect l="l" t="t" r="r" b="b"/>
              <a:pathLst>
                <a:path w="13504" h="14633" extrusionOk="0">
                  <a:moveTo>
                    <a:pt x="10356" y="1"/>
                  </a:moveTo>
                  <a:cubicBezTo>
                    <a:pt x="5461" y="4151"/>
                    <a:pt x="1754" y="9993"/>
                    <a:pt x="1" y="13064"/>
                  </a:cubicBezTo>
                  <a:cubicBezTo>
                    <a:pt x="868" y="13685"/>
                    <a:pt x="1855" y="14143"/>
                    <a:pt x="2925" y="14399"/>
                  </a:cubicBezTo>
                  <a:cubicBezTo>
                    <a:pt x="3576" y="14556"/>
                    <a:pt x="4234" y="14632"/>
                    <a:pt x="4885" y="14632"/>
                  </a:cubicBezTo>
                  <a:cubicBezTo>
                    <a:pt x="6409" y="14632"/>
                    <a:pt x="7901" y="14215"/>
                    <a:pt x="9230" y="13400"/>
                  </a:cubicBezTo>
                  <a:cubicBezTo>
                    <a:pt x="11129" y="12239"/>
                    <a:pt x="12459" y="10405"/>
                    <a:pt x="12984" y="8236"/>
                  </a:cubicBezTo>
                  <a:cubicBezTo>
                    <a:pt x="13503" y="6071"/>
                    <a:pt x="13146" y="3830"/>
                    <a:pt x="11985" y="1931"/>
                  </a:cubicBezTo>
                  <a:cubicBezTo>
                    <a:pt x="11533" y="1197"/>
                    <a:pt x="10987" y="551"/>
                    <a:pt x="10356" y="1"/>
                  </a:cubicBezTo>
                  <a:close/>
                </a:path>
              </a:pathLst>
            </a:custGeom>
            <a:solidFill>
              <a:srgbClr val="6D9EE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3" name="Google Shape;374;p31"/>
            <p:cNvSpPr/>
            <p:nvPr/>
          </p:nvSpPr>
          <p:spPr>
            <a:xfrm>
              <a:off x="4998975" y="2656650"/>
              <a:ext cx="370900" cy="377025"/>
            </a:xfrm>
            <a:custGeom>
              <a:avLst/>
              <a:gdLst/>
              <a:ahLst/>
              <a:cxnLst/>
              <a:rect l="l" t="t" r="r" b="b"/>
              <a:pathLst>
                <a:path w="14836" h="15081" extrusionOk="0">
                  <a:moveTo>
                    <a:pt x="10701" y="0"/>
                  </a:moveTo>
                  <a:cubicBezTo>
                    <a:pt x="10630" y="61"/>
                    <a:pt x="10562" y="118"/>
                    <a:pt x="10492" y="179"/>
                  </a:cubicBezTo>
                  <a:cubicBezTo>
                    <a:pt x="11123" y="729"/>
                    <a:pt x="11669" y="1375"/>
                    <a:pt x="12121" y="2109"/>
                  </a:cubicBezTo>
                  <a:cubicBezTo>
                    <a:pt x="13282" y="4008"/>
                    <a:pt x="13639" y="6249"/>
                    <a:pt x="13120" y="8414"/>
                  </a:cubicBezTo>
                  <a:cubicBezTo>
                    <a:pt x="12595" y="10583"/>
                    <a:pt x="11265" y="12417"/>
                    <a:pt x="9366" y="13578"/>
                  </a:cubicBezTo>
                  <a:cubicBezTo>
                    <a:pt x="8037" y="14393"/>
                    <a:pt x="6545" y="14810"/>
                    <a:pt x="5021" y="14810"/>
                  </a:cubicBezTo>
                  <a:cubicBezTo>
                    <a:pt x="4370" y="14810"/>
                    <a:pt x="3712" y="14734"/>
                    <a:pt x="3061" y="14577"/>
                  </a:cubicBezTo>
                  <a:cubicBezTo>
                    <a:pt x="1991" y="14321"/>
                    <a:pt x="1004" y="13863"/>
                    <a:pt x="137" y="13242"/>
                  </a:cubicBezTo>
                  <a:cubicBezTo>
                    <a:pt x="87" y="13324"/>
                    <a:pt x="45" y="13400"/>
                    <a:pt x="0" y="13482"/>
                  </a:cubicBezTo>
                  <a:cubicBezTo>
                    <a:pt x="1467" y="14525"/>
                    <a:pt x="3228" y="15080"/>
                    <a:pt x="5017" y="15080"/>
                  </a:cubicBezTo>
                  <a:cubicBezTo>
                    <a:pt x="6549" y="15080"/>
                    <a:pt x="8103" y="14673"/>
                    <a:pt x="9509" y="13813"/>
                  </a:cubicBezTo>
                  <a:cubicBezTo>
                    <a:pt x="13563" y="11327"/>
                    <a:pt x="14836" y="6025"/>
                    <a:pt x="12351" y="1966"/>
                  </a:cubicBezTo>
                  <a:cubicBezTo>
                    <a:pt x="11892" y="1212"/>
                    <a:pt x="11333" y="555"/>
                    <a:pt x="10701"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4" name="Google Shape;375;p31"/>
            <p:cNvSpPr/>
            <p:nvPr/>
          </p:nvSpPr>
          <p:spPr>
            <a:xfrm>
              <a:off x="5375200" y="2204825"/>
              <a:ext cx="658450" cy="577075"/>
            </a:xfrm>
            <a:custGeom>
              <a:avLst/>
              <a:gdLst/>
              <a:ahLst/>
              <a:cxnLst/>
              <a:rect l="l" t="t" r="r" b="b"/>
              <a:pathLst>
                <a:path w="26338" h="23083" extrusionOk="0">
                  <a:moveTo>
                    <a:pt x="13160" y="1"/>
                  </a:moveTo>
                  <a:cubicBezTo>
                    <a:pt x="11105" y="1"/>
                    <a:pt x="9023" y="550"/>
                    <a:pt x="7142" y="1703"/>
                  </a:cubicBezTo>
                  <a:cubicBezTo>
                    <a:pt x="1707" y="5034"/>
                    <a:pt x="1" y="12140"/>
                    <a:pt x="3332" y="17568"/>
                  </a:cubicBezTo>
                  <a:cubicBezTo>
                    <a:pt x="5510" y="21123"/>
                    <a:pt x="9301" y="23082"/>
                    <a:pt x="13184" y="23082"/>
                  </a:cubicBezTo>
                  <a:cubicBezTo>
                    <a:pt x="15238" y="23082"/>
                    <a:pt x="17317" y="22534"/>
                    <a:pt x="19197" y="21383"/>
                  </a:cubicBezTo>
                  <a:cubicBezTo>
                    <a:pt x="24631" y="18052"/>
                    <a:pt x="26338" y="10948"/>
                    <a:pt x="23007" y="5513"/>
                  </a:cubicBezTo>
                  <a:cubicBezTo>
                    <a:pt x="20832" y="1960"/>
                    <a:pt x="17043" y="1"/>
                    <a:pt x="13160"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5" name="Google Shape;376;p31"/>
            <p:cNvSpPr/>
            <p:nvPr/>
          </p:nvSpPr>
          <p:spPr>
            <a:xfrm>
              <a:off x="5461175" y="2332975"/>
              <a:ext cx="31700" cy="44075"/>
            </a:xfrm>
            <a:custGeom>
              <a:avLst/>
              <a:gdLst/>
              <a:ahLst/>
              <a:cxnLst/>
              <a:rect l="l" t="t" r="r" b="b"/>
              <a:pathLst>
                <a:path w="1268" h="1763" extrusionOk="0">
                  <a:moveTo>
                    <a:pt x="959" y="1"/>
                  </a:moveTo>
                  <a:cubicBezTo>
                    <a:pt x="873" y="1"/>
                    <a:pt x="788" y="41"/>
                    <a:pt x="734" y="117"/>
                  </a:cubicBezTo>
                  <a:cubicBezTo>
                    <a:pt x="433" y="560"/>
                    <a:pt x="203" y="988"/>
                    <a:pt x="50" y="1391"/>
                  </a:cubicBezTo>
                  <a:cubicBezTo>
                    <a:pt x="0" y="1533"/>
                    <a:pt x="71" y="1691"/>
                    <a:pt x="209" y="1742"/>
                  </a:cubicBezTo>
                  <a:cubicBezTo>
                    <a:pt x="245" y="1752"/>
                    <a:pt x="275" y="1763"/>
                    <a:pt x="306" y="1763"/>
                  </a:cubicBezTo>
                  <a:cubicBezTo>
                    <a:pt x="417" y="1763"/>
                    <a:pt x="525" y="1691"/>
                    <a:pt x="565" y="1584"/>
                  </a:cubicBezTo>
                  <a:cubicBezTo>
                    <a:pt x="698" y="1222"/>
                    <a:pt x="906" y="835"/>
                    <a:pt x="1187" y="428"/>
                  </a:cubicBezTo>
                  <a:cubicBezTo>
                    <a:pt x="1268" y="301"/>
                    <a:pt x="1237" y="132"/>
                    <a:pt x="1110" y="46"/>
                  </a:cubicBezTo>
                  <a:cubicBezTo>
                    <a:pt x="1064" y="16"/>
                    <a:pt x="1011" y="1"/>
                    <a:pt x="959" y="1"/>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6" name="Google Shape;377;p31"/>
            <p:cNvSpPr/>
            <p:nvPr/>
          </p:nvSpPr>
          <p:spPr>
            <a:xfrm>
              <a:off x="5501900" y="2286650"/>
              <a:ext cx="31475" cy="29775"/>
            </a:xfrm>
            <a:custGeom>
              <a:avLst/>
              <a:gdLst/>
              <a:ahLst/>
              <a:cxnLst/>
              <a:rect l="l" t="t" r="r" b="b"/>
              <a:pathLst>
                <a:path w="1259" h="1191" extrusionOk="0">
                  <a:moveTo>
                    <a:pt x="954" y="1"/>
                  </a:moveTo>
                  <a:cubicBezTo>
                    <a:pt x="890" y="1"/>
                    <a:pt x="826" y="24"/>
                    <a:pt x="774" y="71"/>
                  </a:cubicBezTo>
                  <a:cubicBezTo>
                    <a:pt x="760" y="81"/>
                    <a:pt x="480" y="330"/>
                    <a:pt x="108" y="732"/>
                  </a:cubicBezTo>
                  <a:cubicBezTo>
                    <a:pt x="1" y="840"/>
                    <a:pt x="10" y="1013"/>
                    <a:pt x="118" y="1115"/>
                  </a:cubicBezTo>
                  <a:cubicBezTo>
                    <a:pt x="174" y="1166"/>
                    <a:pt x="240" y="1190"/>
                    <a:pt x="306" y="1190"/>
                  </a:cubicBezTo>
                  <a:cubicBezTo>
                    <a:pt x="377" y="1190"/>
                    <a:pt x="454" y="1160"/>
                    <a:pt x="505" y="1105"/>
                  </a:cubicBezTo>
                  <a:cubicBezTo>
                    <a:pt x="861" y="722"/>
                    <a:pt x="1131" y="483"/>
                    <a:pt x="1131" y="478"/>
                  </a:cubicBezTo>
                  <a:cubicBezTo>
                    <a:pt x="1249" y="381"/>
                    <a:pt x="1258" y="208"/>
                    <a:pt x="1157" y="96"/>
                  </a:cubicBezTo>
                  <a:cubicBezTo>
                    <a:pt x="1105" y="33"/>
                    <a:pt x="1030" y="1"/>
                    <a:pt x="954" y="1"/>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7" name="Google Shape;378;p31"/>
            <p:cNvSpPr/>
            <p:nvPr/>
          </p:nvSpPr>
          <p:spPr>
            <a:xfrm>
              <a:off x="5458600" y="2278025"/>
              <a:ext cx="491650" cy="430750"/>
            </a:xfrm>
            <a:custGeom>
              <a:avLst/>
              <a:gdLst/>
              <a:ahLst/>
              <a:cxnLst/>
              <a:rect l="l" t="t" r="r" b="b"/>
              <a:pathLst>
                <a:path w="19666" h="17230" extrusionOk="0">
                  <a:moveTo>
                    <a:pt x="9826" y="1"/>
                  </a:moveTo>
                  <a:cubicBezTo>
                    <a:pt x="8291" y="1"/>
                    <a:pt x="6738" y="411"/>
                    <a:pt x="5334" y="1271"/>
                  </a:cubicBezTo>
                  <a:cubicBezTo>
                    <a:pt x="1274" y="3757"/>
                    <a:pt x="1" y="9059"/>
                    <a:pt x="2487" y="13112"/>
                  </a:cubicBezTo>
                  <a:cubicBezTo>
                    <a:pt x="4112" y="15767"/>
                    <a:pt x="6943" y="17230"/>
                    <a:pt x="9842" y="17230"/>
                  </a:cubicBezTo>
                  <a:cubicBezTo>
                    <a:pt x="11376" y="17230"/>
                    <a:pt x="12930" y="16820"/>
                    <a:pt x="14333" y="15959"/>
                  </a:cubicBezTo>
                  <a:cubicBezTo>
                    <a:pt x="18392" y="13474"/>
                    <a:pt x="19666" y="8173"/>
                    <a:pt x="17181" y="4113"/>
                  </a:cubicBezTo>
                  <a:cubicBezTo>
                    <a:pt x="15555" y="1463"/>
                    <a:pt x="12725" y="1"/>
                    <a:pt x="9826" y="1"/>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8" name="Google Shape;379;p31"/>
            <p:cNvSpPr/>
            <p:nvPr/>
          </p:nvSpPr>
          <p:spPr>
            <a:xfrm>
              <a:off x="5450950" y="2271075"/>
              <a:ext cx="506950" cy="444425"/>
            </a:xfrm>
            <a:custGeom>
              <a:avLst/>
              <a:gdLst/>
              <a:ahLst/>
              <a:cxnLst/>
              <a:rect l="l" t="t" r="r" b="b"/>
              <a:pathLst>
                <a:path w="20278" h="17777" extrusionOk="0">
                  <a:moveTo>
                    <a:pt x="10122" y="546"/>
                  </a:moveTo>
                  <a:cubicBezTo>
                    <a:pt x="10778" y="546"/>
                    <a:pt x="11436" y="628"/>
                    <a:pt x="12088" y="781"/>
                  </a:cubicBezTo>
                  <a:cubicBezTo>
                    <a:pt x="14252" y="1300"/>
                    <a:pt x="16086" y="2634"/>
                    <a:pt x="17252" y="4533"/>
                  </a:cubicBezTo>
                  <a:cubicBezTo>
                    <a:pt x="19656" y="8456"/>
                    <a:pt x="18418" y="13599"/>
                    <a:pt x="14497" y="16004"/>
                  </a:cubicBezTo>
                  <a:cubicBezTo>
                    <a:pt x="13141" y="16835"/>
                    <a:pt x="11638" y="17231"/>
                    <a:pt x="10154" y="17231"/>
                  </a:cubicBezTo>
                  <a:cubicBezTo>
                    <a:pt x="7345" y="17231"/>
                    <a:pt x="4599" y="15814"/>
                    <a:pt x="3026" y="13249"/>
                  </a:cubicBezTo>
                  <a:cubicBezTo>
                    <a:pt x="623" y="9326"/>
                    <a:pt x="1860" y="4182"/>
                    <a:pt x="5783" y="1778"/>
                  </a:cubicBezTo>
                  <a:cubicBezTo>
                    <a:pt x="7111" y="969"/>
                    <a:pt x="8604" y="546"/>
                    <a:pt x="10122" y="546"/>
                  </a:cubicBezTo>
                  <a:close/>
                  <a:moveTo>
                    <a:pt x="10121" y="0"/>
                  </a:moveTo>
                  <a:cubicBezTo>
                    <a:pt x="8503" y="0"/>
                    <a:pt x="6910" y="446"/>
                    <a:pt x="5497" y="1315"/>
                  </a:cubicBezTo>
                  <a:cubicBezTo>
                    <a:pt x="1321" y="3877"/>
                    <a:pt x="1" y="9357"/>
                    <a:pt x="2563" y="13533"/>
                  </a:cubicBezTo>
                  <a:cubicBezTo>
                    <a:pt x="4239" y="16268"/>
                    <a:pt x="7163" y="17776"/>
                    <a:pt x="10153" y="17776"/>
                  </a:cubicBezTo>
                  <a:cubicBezTo>
                    <a:pt x="11736" y="17776"/>
                    <a:pt x="13336" y="17353"/>
                    <a:pt x="14782" y="16472"/>
                  </a:cubicBezTo>
                  <a:cubicBezTo>
                    <a:pt x="18963" y="13910"/>
                    <a:pt x="20277" y="8425"/>
                    <a:pt x="17715" y="4248"/>
                  </a:cubicBezTo>
                  <a:cubicBezTo>
                    <a:pt x="16478" y="2227"/>
                    <a:pt x="14523" y="805"/>
                    <a:pt x="12215" y="250"/>
                  </a:cubicBezTo>
                  <a:cubicBezTo>
                    <a:pt x="11520" y="83"/>
                    <a:pt x="10818" y="0"/>
                    <a:pt x="10121"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9" name="Google Shape;380;p31"/>
            <p:cNvSpPr/>
            <p:nvPr/>
          </p:nvSpPr>
          <p:spPr>
            <a:xfrm>
              <a:off x="5582650" y="2336150"/>
              <a:ext cx="359725" cy="365725"/>
            </a:xfrm>
            <a:custGeom>
              <a:avLst/>
              <a:gdLst/>
              <a:ahLst/>
              <a:cxnLst/>
              <a:rect l="l" t="t" r="r" b="b"/>
              <a:pathLst>
                <a:path w="14389" h="14629" extrusionOk="0">
                  <a:moveTo>
                    <a:pt x="10355" y="0"/>
                  </a:moveTo>
                  <a:cubicBezTo>
                    <a:pt x="5465" y="4151"/>
                    <a:pt x="1757" y="9983"/>
                    <a:pt x="0" y="13060"/>
                  </a:cubicBezTo>
                  <a:cubicBezTo>
                    <a:pt x="1431" y="14083"/>
                    <a:pt x="3148" y="14628"/>
                    <a:pt x="4885" y="14628"/>
                  </a:cubicBezTo>
                  <a:cubicBezTo>
                    <a:pt x="6371" y="14628"/>
                    <a:pt x="7873" y="14231"/>
                    <a:pt x="9229" y="13401"/>
                  </a:cubicBezTo>
                  <a:cubicBezTo>
                    <a:pt x="13150" y="10996"/>
                    <a:pt x="14388" y="5853"/>
                    <a:pt x="11984" y="1930"/>
                  </a:cubicBezTo>
                  <a:cubicBezTo>
                    <a:pt x="11536" y="1197"/>
                    <a:pt x="10985" y="550"/>
                    <a:pt x="10355" y="0"/>
                  </a:cubicBezTo>
                  <a:close/>
                </a:path>
              </a:pathLst>
            </a:custGeom>
            <a:solidFill>
              <a:srgbClr val="6D9EE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0" name="Google Shape;381;p31"/>
            <p:cNvSpPr/>
            <p:nvPr/>
          </p:nvSpPr>
          <p:spPr>
            <a:xfrm>
              <a:off x="5579175" y="2331675"/>
              <a:ext cx="371075" cy="377075"/>
            </a:xfrm>
            <a:custGeom>
              <a:avLst/>
              <a:gdLst/>
              <a:ahLst/>
              <a:cxnLst/>
              <a:rect l="l" t="t" r="r" b="b"/>
              <a:pathLst>
                <a:path w="14843" h="15083" extrusionOk="0">
                  <a:moveTo>
                    <a:pt x="10702" y="1"/>
                  </a:moveTo>
                  <a:cubicBezTo>
                    <a:pt x="10635" y="62"/>
                    <a:pt x="10565" y="118"/>
                    <a:pt x="10494" y="179"/>
                  </a:cubicBezTo>
                  <a:cubicBezTo>
                    <a:pt x="11124" y="729"/>
                    <a:pt x="11675" y="1376"/>
                    <a:pt x="12123" y="2109"/>
                  </a:cubicBezTo>
                  <a:cubicBezTo>
                    <a:pt x="14527" y="6032"/>
                    <a:pt x="13289" y="11175"/>
                    <a:pt x="9368" y="13580"/>
                  </a:cubicBezTo>
                  <a:cubicBezTo>
                    <a:pt x="8012" y="14410"/>
                    <a:pt x="6510" y="14807"/>
                    <a:pt x="5024" y="14807"/>
                  </a:cubicBezTo>
                  <a:cubicBezTo>
                    <a:pt x="3287" y="14807"/>
                    <a:pt x="1570" y="14262"/>
                    <a:pt x="139" y="13239"/>
                  </a:cubicBezTo>
                  <a:cubicBezTo>
                    <a:pt x="93" y="13319"/>
                    <a:pt x="47" y="13401"/>
                    <a:pt x="1" y="13477"/>
                  </a:cubicBezTo>
                  <a:cubicBezTo>
                    <a:pt x="1473" y="14527"/>
                    <a:pt x="3235" y="15082"/>
                    <a:pt x="5018" y="15082"/>
                  </a:cubicBezTo>
                  <a:cubicBezTo>
                    <a:pt x="6556" y="15082"/>
                    <a:pt x="8104" y="14675"/>
                    <a:pt x="9510" y="13813"/>
                  </a:cubicBezTo>
                  <a:cubicBezTo>
                    <a:pt x="13569" y="11328"/>
                    <a:pt x="14843" y="6027"/>
                    <a:pt x="12358" y="1967"/>
                  </a:cubicBezTo>
                  <a:cubicBezTo>
                    <a:pt x="11893" y="1213"/>
                    <a:pt x="11333" y="557"/>
                    <a:pt x="10702"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1" name="Google Shape;382;p31"/>
            <p:cNvSpPr/>
            <p:nvPr/>
          </p:nvSpPr>
          <p:spPr>
            <a:xfrm>
              <a:off x="6312225" y="1453100"/>
              <a:ext cx="876050" cy="859900"/>
            </a:xfrm>
            <a:custGeom>
              <a:avLst/>
              <a:gdLst/>
              <a:ahLst/>
              <a:cxnLst/>
              <a:rect l="l" t="t" r="r" b="b"/>
              <a:pathLst>
                <a:path w="35042" h="34396" extrusionOk="0">
                  <a:moveTo>
                    <a:pt x="16196" y="1"/>
                  </a:moveTo>
                  <a:cubicBezTo>
                    <a:pt x="11236" y="1"/>
                    <a:pt x="5598" y="708"/>
                    <a:pt x="1" y="1784"/>
                  </a:cubicBezTo>
                  <a:lnTo>
                    <a:pt x="19987" y="34396"/>
                  </a:lnTo>
                  <a:cubicBezTo>
                    <a:pt x="28416" y="23568"/>
                    <a:pt x="35041" y="11552"/>
                    <a:pt x="31115" y="5146"/>
                  </a:cubicBezTo>
                  <a:cubicBezTo>
                    <a:pt x="28822" y="1402"/>
                    <a:pt x="23181" y="1"/>
                    <a:pt x="16196"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2" name="Google Shape;383;p31"/>
            <p:cNvSpPr/>
            <p:nvPr/>
          </p:nvSpPr>
          <p:spPr>
            <a:xfrm>
              <a:off x="6491650" y="1509925"/>
              <a:ext cx="506375" cy="55525"/>
            </a:xfrm>
            <a:custGeom>
              <a:avLst/>
              <a:gdLst/>
              <a:ahLst/>
              <a:cxnLst/>
              <a:rect l="l" t="t" r="r" b="b"/>
              <a:pathLst>
                <a:path w="20255" h="2221" extrusionOk="0">
                  <a:moveTo>
                    <a:pt x="7891" y="0"/>
                  </a:moveTo>
                  <a:cubicBezTo>
                    <a:pt x="4919" y="0"/>
                    <a:pt x="2215" y="219"/>
                    <a:pt x="260" y="438"/>
                  </a:cubicBezTo>
                  <a:cubicBezTo>
                    <a:pt x="107" y="454"/>
                    <a:pt x="0" y="586"/>
                    <a:pt x="15" y="739"/>
                  </a:cubicBezTo>
                  <a:cubicBezTo>
                    <a:pt x="35" y="877"/>
                    <a:pt x="152" y="980"/>
                    <a:pt x="293" y="980"/>
                  </a:cubicBezTo>
                  <a:cubicBezTo>
                    <a:pt x="302" y="980"/>
                    <a:pt x="311" y="979"/>
                    <a:pt x="321" y="978"/>
                  </a:cubicBezTo>
                  <a:cubicBezTo>
                    <a:pt x="2258" y="764"/>
                    <a:pt x="4938" y="547"/>
                    <a:pt x="7879" y="547"/>
                  </a:cubicBezTo>
                  <a:cubicBezTo>
                    <a:pt x="11788" y="547"/>
                    <a:pt x="16160" y="930"/>
                    <a:pt x="19864" y="2205"/>
                  </a:cubicBezTo>
                  <a:cubicBezTo>
                    <a:pt x="19888" y="2215"/>
                    <a:pt x="19919" y="2220"/>
                    <a:pt x="19949" y="2220"/>
                  </a:cubicBezTo>
                  <a:cubicBezTo>
                    <a:pt x="20062" y="2220"/>
                    <a:pt x="20169" y="2149"/>
                    <a:pt x="20210" y="2032"/>
                  </a:cubicBezTo>
                  <a:cubicBezTo>
                    <a:pt x="20255" y="1890"/>
                    <a:pt x="20184" y="1737"/>
                    <a:pt x="20041" y="1686"/>
                  </a:cubicBezTo>
                  <a:cubicBezTo>
                    <a:pt x="16278" y="389"/>
                    <a:pt x="11847" y="0"/>
                    <a:pt x="7891" y="0"/>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3" name="Google Shape;384;p31"/>
            <p:cNvSpPr/>
            <p:nvPr/>
          </p:nvSpPr>
          <p:spPr>
            <a:xfrm>
              <a:off x="6391175" y="1527025"/>
              <a:ext cx="64825" cy="21750"/>
            </a:xfrm>
            <a:custGeom>
              <a:avLst/>
              <a:gdLst/>
              <a:ahLst/>
              <a:cxnLst/>
              <a:rect l="l" t="t" r="r" b="b"/>
              <a:pathLst>
                <a:path w="2593" h="870" extrusionOk="0">
                  <a:moveTo>
                    <a:pt x="2296" y="1"/>
                  </a:moveTo>
                  <a:cubicBezTo>
                    <a:pt x="2284" y="1"/>
                    <a:pt x="2273" y="2"/>
                    <a:pt x="2262" y="3"/>
                  </a:cubicBezTo>
                  <a:cubicBezTo>
                    <a:pt x="1009" y="182"/>
                    <a:pt x="255" y="325"/>
                    <a:pt x="245" y="325"/>
                  </a:cubicBezTo>
                  <a:cubicBezTo>
                    <a:pt x="97" y="355"/>
                    <a:pt x="0" y="497"/>
                    <a:pt x="26" y="645"/>
                  </a:cubicBezTo>
                  <a:cubicBezTo>
                    <a:pt x="52" y="778"/>
                    <a:pt x="169" y="870"/>
                    <a:pt x="296" y="870"/>
                  </a:cubicBezTo>
                  <a:cubicBezTo>
                    <a:pt x="311" y="870"/>
                    <a:pt x="332" y="864"/>
                    <a:pt x="346" y="864"/>
                  </a:cubicBezTo>
                  <a:cubicBezTo>
                    <a:pt x="357" y="859"/>
                    <a:pt x="1100" y="722"/>
                    <a:pt x="2339" y="548"/>
                  </a:cubicBezTo>
                  <a:cubicBezTo>
                    <a:pt x="2485" y="523"/>
                    <a:pt x="2593" y="386"/>
                    <a:pt x="2567" y="238"/>
                  </a:cubicBezTo>
                  <a:cubicBezTo>
                    <a:pt x="2548" y="102"/>
                    <a:pt x="2427" y="1"/>
                    <a:pt x="2296" y="1"/>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4" name="Google Shape;385;p31"/>
            <p:cNvSpPr/>
            <p:nvPr/>
          </p:nvSpPr>
          <p:spPr>
            <a:xfrm>
              <a:off x="3511225" y="3117950"/>
              <a:ext cx="112600" cy="88650"/>
            </a:xfrm>
            <a:custGeom>
              <a:avLst/>
              <a:gdLst/>
              <a:ahLst/>
              <a:cxnLst/>
              <a:rect l="l" t="t" r="r" b="b"/>
              <a:pathLst>
                <a:path w="4504" h="3546" extrusionOk="0">
                  <a:moveTo>
                    <a:pt x="4504" y="1"/>
                  </a:moveTo>
                  <a:lnTo>
                    <a:pt x="2162" y="1844"/>
                  </a:lnTo>
                  <a:lnTo>
                    <a:pt x="2162" y="1844"/>
                  </a:lnTo>
                  <a:cubicBezTo>
                    <a:pt x="2288" y="1768"/>
                    <a:pt x="2426" y="1684"/>
                    <a:pt x="2579" y="1590"/>
                  </a:cubicBezTo>
                  <a:cubicBezTo>
                    <a:pt x="4034" y="688"/>
                    <a:pt x="4504" y="1"/>
                    <a:pt x="4504" y="1"/>
                  </a:cubicBezTo>
                  <a:close/>
                  <a:moveTo>
                    <a:pt x="2162" y="1844"/>
                  </a:moveTo>
                  <a:cubicBezTo>
                    <a:pt x="1074" y="2503"/>
                    <a:pt x="855" y="2605"/>
                    <a:pt x="1" y="3546"/>
                  </a:cubicBezTo>
                  <a:lnTo>
                    <a:pt x="2162" y="1844"/>
                  </a:lnTo>
                  <a:close/>
                </a:path>
              </a:pathLst>
            </a:custGeom>
            <a:solidFill>
              <a:srgbClr val="D2D7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5" name="Google Shape;386;p31"/>
            <p:cNvSpPr/>
            <p:nvPr/>
          </p:nvSpPr>
          <p:spPr>
            <a:xfrm>
              <a:off x="3503600" y="3111075"/>
              <a:ext cx="128000" cy="102250"/>
            </a:xfrm>
            <a:custGeom>
              <a:avLst/>
              <a:gdLst/>
              <a:ahLst/>
              <a:cxnLst/>
              <a:rect l="l" t="t" r="r" b="b"/>
              <a:pathLst>
                <a:path w="5120" h="4090" extrusionOk="0">
                  <a:moveTo>
                    <a:pt x="4807" y="0"/>
                  </a:moveTo>
                  <a:cubicBezTo>
                    <a:pt x="4719" y="0"/>
                    <a:pt x="4633" y="41"/>
                    <a:pt x="4579" y="117"/>
                  </a:cubicBezTo>
                  <a:cubicBezTo>
                    <a:pt x="4579" y="128"/>
                    <a:pt x="4116" y="779"/>
                    <a:pt x="2736" y="1630"/>
                  </a:cubicBezTo>
                  <a:cubicBezTo>
                    <a:pt x="2496" y="1783"/>
                    <a:pt x="2292" y="1905"/>
                    <a:pt x="2109" y="2012"/>
                  </a:cubicBezTo>
                  <a:cubicBezTo>
                    <a:pt x="1198" y="2568"/>
                    <a:pt x="923" y="2735"/>
                    <a:pt x="103" y="3631"/>
                  </a:cubicBezTo>
                  <a:cubicBezTo>
                    <a:pt x="0" y="3744"/>
                    <a:pt x="11" y="3917"/>
                    <a:pt x="122" y="4019"/>
                  </a:cubicBezTo>
                  <a:cubicBezTo>
                    <a:pt x="174" y="4070"/>
                    <a:pt x="240" y="4090"/>
                    <a:pt x="306" y="4090"/>
                  </a:cubicBezTo>
                  <a:cubicBezTo>
                    <a:pt x="383" y="4090"/>
                    <a:pt x="454" y="4059"/>
                    <a:pt x="510" y="4004"/>
                  </a:cubicBezTo>
                  <a:cubicBezTo>
                    <a:pt x="1274" y="3158"/>
                    <a:pt x="1488" y="3031"/>
                    <a:pt x="2395" y="2481"/>
                  </a:cubicBezTo>
                  <a:cubicBezTo>
                    <a:pt x="2578" y="2373"/>
                    <a:pt x="2781" y="2246"/>
                    <a:pt x="3025" y="2093"/>
                  </a:cubicBezTo>
                  <a:cubicBezTo>
                    <a:pt x="4513" y="1172"/>
                    <a:pt x="5012" y="459"/>
                    <a:pt x="5032" y="429"/>
                  </a:cubicBezTo>
                  <a:cubicBezTo>
                    <a:pt x="5119" y="300"/>
                    <a:pt x="5084" y="133"/>
                    <a:pt x="4962" y="46"/>
                  </a:cubicBezTo>
                  <a:cubicBezTo>
                    <a:pt x="4914" y="15"/>
                    <a:pt x="4860" y="0"/>
                    <a:pt x="4807"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6" name="Google Shape;387;p31"/>
            <p:cNvSpPr/>
            <p:nvPr/>
          </p:nvSpPr>
          <p:spPr>
            <a:xfrm>
              <a:off x="4576725" y="1240725"/>
              <a:ext cx="438550" cy="829575"/>
            </a:xfrm>
            <a:custGeom>
              <a:avLst/>
              <a:gdLst/>
              <a:ahLst/>
              <a:cxnLst/>
              <a:rect l="l" t="t" r="r" b="b"/>
              <a:pathLst>
                <a:path w="17542" h="33183" extrusionOk="0">
                  <a:moveTo>
                    <a:pt x="3362" y="1"/>
                  </a:moveTo>
                  <a:cubicBezTo>
                    <a:pt x="3362" y="1"/>
                    <a:pt x="1" y="9577"/>
                    <a:pt x="1324" y="16116"/>
                  </a:cubicBezTo>
                  <a:cubicBezTo>
                    <a:pt x="1101" y="27056"/>
                    <a:pt x="5257" y="33168"/>
                    <a:pt x="5257" y="33168"/>
                  </a:cubicBezTo>
                  <a:cubicBezTo>
                    <a:pt x="5257" y="33168"/>
                    <a:pt x="5513" y="33182"/>
                    <a:pt x="5953" y="33182"/>
                  </a:cubicBezTo>
                  <a:cubicBezTo>
                    <a:pt x="8242" y="33182"/>
                    <a:pt x="15508" y="32795"/>
                    <a:pt x="17542" y="27993"/>
                  </a:cubicBezTo>
                  <a:cubicBezTo>
                    <a:pt x="16340" y="24570"/>
                    <a:pt x="14913" y="19192"/>
                    <a:pt x="14913" y="19192"/>
                  </a:cubicBezTo>
                  <a:cubicBezTo>
                    <a:pt x="14913" y="19192"/>
                    <a:pt x="14241" y="7294"/>
                    <a:pt x="12469" y="2038"/>
                  </a:cubicBezTo>
                  <a:lnTo>
                    <a:pt x="3362" y="1"/>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7" name="Google Shape;388;p31"/>
            <p:cNvSpPr/>
            <p:nvPr/>
          </p:nvSpPr>
          <p:spPr>
            <a:xfrm>
              <a:off x="3590200" y="2035900"/>
              <a:ext cx="443600" cy="860125"/>
            </a:xfrm>
            <a:custGeom>
              <a:avLst/>
              <a:gdLst/>
              <a:ahLst/>
              <a:cxnLst/>
              <a:rect l="l" t="t" r="r" b="b"/>
              <a:pathLst>
                <a:path w="17744" h="34405" extrusionOk="0">
                  <a:moveTo>
                    <a:pt x="6514" y="0"/>
                  </a:moveTo>
                  <a:lnTo>
                    <a:pt x="3708" y="3602"/>
                  </a:lnTo>
                  <a:cubicBezTo>
                    <a:pt x="0" y="7941"/>
                    <a:pt x="856" y="32775"/>
                    <a:pt x="3463" y="34201"/>
                  </a:cubicBezTo>
                  <a:cubicBezTo>
                    <a:pt x="3724" y="34343"/>
                    <a:pt x="3970" y="34405"/>
                    <a:pt x="4218" y="34405"/>
                  </a:cubicBezTo>
                  <a:cubicBezTo>
                    <a:pt x="5417" y="34405"/>
                    <a:pt x="6670" y="32975"/>
                    <a:pt x="9860" y="32367"/>
                  </a:cubicBezTo>
                  <a:cubicBezTo>
                    <a:pt x="13710" y="31634"/>
                    <a:pt x="15830" y="28660"/>
                    <a:pt x="15830" y="28660"/>
                  </a:cubicBezTo>
                  <a:lnTo>
                    <a:pt x="15687" y="25787"/>
                  </a:lnTo>
                  <a:lnTo>
                    <a:pt x="14648" y="23852"/>
                  </a:lnTo>
                  <a:lnTo>
                    <a:pt x="13914" y="17964"/>
                  </a:lnTo>
                  <a:lnTo>
                    <a:pt x="17744" y="10304"/>
                  </a:lnTo>
                  <a:lnTo>
                    <a:pt x="14495" y="1681"/>
                  </a:lnTo>
                  <a:lnTo>
                    <a:pt x="6514" y="0"/>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8" name="Google Shape;389;p31"/>
            <p:cNvSpPr/>
            <p:nvPr/>
          </p:nvSpPr>
          <p:spPr>
            <a:xfrm>
              <a:off x="3853875" y="1650375"/>
              <a:ext cx="197375" cy="305150"/>
            </a:xfrm>
            <a:custGeom>
              <a:avLst/>
              <a:gdLst/>
              <a:ahLst/>
              <a:cxnLst/>
              <a:rect l="l" t="t" r="r" b="b"/>
              <a:pathLst>
                <a:path w="7895" h="12206" extrusionOk="0">
                  <a:moveTo>
                    <a:pt x="1000" y="0"/>
                  </a:moveTo>
                  <a:lnTo>
                    <a:pt x="1" y="10894"/>
                  </a:lnTo>
                  <a:cubicBezTo>
                    <a:pt x="1088" y="11863"/>
                    <a:pt x="2427" y="12206"/>
                    <a:pt x="3689" y="12206"/>
                  </a:cubicBezTo>
                  <a:cubicBezTo>
                    <a:pt x="5863" y="12206"/>
                    <a:pt x="7807" y="11188"/>
                    <a:pt x="7839" y="10598"/>
                  </a:cubicBezTo>
                  <a:cubicBezTo>
                    <a:pt x="7895" y="9662"/>
                    <a:pt x="6836" y="7262"/>
                    <a:pt x="6836" y="7262"/>
                  </a:cubicBezTo>
                  <a:lnTo>
                    <a:pt x="6357" y="6315"/>
                  </a:lnTo>
                  <a:lnTo>
                    <a:pt x="6973" y="5520"/>
                  </a:lnTo>
                  <a:lnTo>
                    <a:pt x="6861" y="5017"/>
                  </a:lnTo>
                  <a:cubicBezTo>
                    <a:pt x="6774" y="4624"/>
                    <a:pt x="6206" y="4581"/>
                    <a:pt x="5958" y="4581"/>
                  </a:cubicBezTo>
                  <a:cubicBezTo>
                    <a:pt x="5887" y="4581"/>
                    <a:pt x="5843" y="4584"/>
                    <a:pt x="5843" y="4584"/>
                  </a:cubicBezTo>
                  <a:cubicBezTo>
                    <a:pt x="5843" y="4584"/>
                    <a:pt x="4111" y="3917"/>
                    <a:pt x="2980" y="1797"/>
                  </a:cubicBezTo>
                  <a:cubicBezTo>
                    <a:pt x="2415" y="739"/>
                    <a:pt x="1702" y="203"/>
                    <a:pt x="1000" y="0"/>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99" name="Google Shape;390;p31"/>
            <p:cNvSpPr/>
            <p:nvPr/>
          </p:nvSpPr>
          <p:spPr>
            <a:xfrm>
              <a:off x="3846250" y="1643425"/>
              <a:ext cx="211875" cy="319025"/>
            </a:xfrm>
            <a:custGeom>
              <a:avLst/>
              <a:gdLst/>
              <a:ahLst/>
              <a:cxnLst/>
              <a:rect l="l" t="t" r="r" b="b"/>
              <a:pathLst>
                <a:path w="8475" h="12761" extrusionOk="0">
                  <a:moveTo>
                    <a:pt x="1299" y="0"/>
                  </a:moveTo>
                  <a:cubicBezTo>
                    <a:pt x="1181" y="0"/>
                    <a:pt x="1076" y="80"/>
                    <a:pt x="1039" y="196"/>
                  </a:cubicBezTo>
                  <a:cubicBezTo>
                    <a:pt x="999" y="344"/>
                    <a:pt x="1080" y="497"/>
                    <a:pt x="1228" y="537"/>
                  </a:cubicBezTo>
                  <a:cubicBezTo>
                    <a:pt x="1956" y="751"/>
                    <a:pt x="2567" y="1311"/>
                    <a:pt x="3046" y="2203"/>
                  </a:cubicBezTo>
                  <a:cubicBezTo>
                    <a:pt x="4213" y="4388"/>
                    <a:pt x="5974" y="5091"/>
                    <a:pt x="6051" y="5116"/>
                  </a:cubicBezTo>
                  <a:cubicBezTo>
                    <a:pt x="6081" y="5129"/>
                    <a:pt x="6114" y="5138"/>
                    <a:pt x="6148" y="5138"/>
                  </a:cubicBezTo>
                  <a:cubicBezTo>
                    <a:pt x="6155" y="5138"/>
                    <a:pt x="6162" y="5138"/>
                    <a:pt x="6168" y="5137"/>
                  </a:cubicBezTo>
                  <a:cubicBezTo>
                    <a:pt x="6202" y="5134"/>
                    <a:pt x="6240" y="5133"/>
                    <a:pt x="6281" y="5133"/>
                  </a:cubicBezTo>
                  <a:cubicBezTo>
                    <a:pt x="6524" y="5133"/>
                    <a:pt x="6862" y="5190"/>
                    <a:pt x="6902" y="5356"/>
                  </a:cubicBezTo>
                  <a:lnTo>
                    <a:pt x="6982" y="5732"/>
                  </a:lnTo>
                  <a:lnTo>
                    <a:pt x="6448" y="6425"/>
                  </a:lnTo>
                  <a:cubicBezTo>
                    <a:pt x="6382" y="6506"/>
                    <a:pt x="6371" y="6624"/>
                    <a:pt x="6418" y="6715"/>
                  </a:cubicBezTo>
                  <a:lnTo>
                    <a:pt x="6891" y="7653"/>
                  </a:lnTo>
                  <a:cubicBezTo>
                    <a:pt x="7177" y="8304"/>
                    <a:pt x="7915" y="10149"/>
                    <a:pt x="7875" y="10861"/>
                  </a:cubicBezTo>
                  <a:cubicBezTo>
                    <a:pt x="7869" y="10948"/>
                    <a:pt x="7579" y="11315"/>
                    <a:pt x="6688" y="11682"/>
                  </a:cubicBezTo>
                  <a:cubicBezTo>
                    <a:pt x="6037" y="11950"/>
                    <a:pt x="5052" y="12201"/>
                    <a:pt x="3984" y="12201"/>
                  </a:cubicBezTo>
                  <a:cubicBezTo>
                    <a:pt x="2806" y="12201"/>
                    <a:pt x="1527" y="11895"/>
                    <a:pt x="484" y="10968"/>
                  </a:cubicBezTo>
                  <a:cubicBezTo>
                    <a:pt x="433" y="10921"/>
                    <a:pt x="368" y="10898"/>
                    <a:pt x="304" y="10898"/>
                  </a:cubicBezTo>
                  <a:cubicBezTo>
                    <a:pt x="229" y="10898"/>
                    <a:pt x="154" y="10930"/>
                    <a:pt x="102" y="10993"/>
                  </a:cubicBezTo>
                  <a:cubicBezTo>
                    <a:pt x="0" y="11106"/>
                    <a:pt x="10" y="11279"/>
                    <a:pt x="123" y="11376"/>
                  </a:cubicBezTo>
                  <a:cubicBezTo>
                    <a:pt x="1263" y="12389"/>
                    <a:pt x="2659" y="12761"/>
                    <a:pt x="3994" y="12761"/>
                  </a:cubicBezTo>
                  <a:cubicBezTo>
                    <a:pt x="5052" y="12761"/>
                    <a:pt x="6077" y="12526"/>
                    <a:pt x="6897" y="12185"/>
                  </a:cubicBezTo>
                  <a:cubicBezTo>
                    <a:pt x="7344" y="12002"/>
                    <a:pt x="8383" y="11508"/>
                    <a:pt x="8419" y="10892"/>
                  </a:cubicBezTo>
                  <a:cubicBezTo>
                    <a:pt x="8475" y="9919"/>
                    <a:pt x="7502" y="7683"/>
                    <a:pt x="7386" y="7418"/>
                  </a:cubicBezTo>
                  <a:lnTo>
                    <a:pt x="6989" y="6624"/>
                  </a:lnTo>
                  <a:lnTo>
                    <a:pt x="7492" y="5962"/>
                  </a:lnTo>
                  <a:cubicBezTo>
                    <a:pt x="7544" y="5901"/>
                    <a:pt x="7563" y="5819"/>
                    <a:pt x="7544" y="5737"/>
                  </a:cubicBezTo>
                  <a:lnTo>
                    <a:pt x="7431" y="5234"/>
                  </a:lnTo>
                  <a:cubicBezTo>
                    <a:pt x="7306" y="4658"/>
                    <a:pt x="6605" y="4585"/>
                    <a:pt x="6278" y="4585"/>
                  </a:cubicBezTo>
                  <a:cubicBezTo>
                    <a:pt x="6246" y="4585"/>
                    <a:pt x="6218" y="4586"/>
                    <a:pt x="6194" y="4587"/>
                  </a:cubicBezTo>
                  <a:cubicBezTo>
                    <a:pt x="5913" y="4459"/>
                    <a:pt x="4493" y="3756"/>
                    <a:pt x="3524" y="1943"/>
                  </a:cubicBezTo>
                  <a:cubicBezTo>
                    <a:pt x="2979" y="920"/>
                    <a:pt x="2257" y="267"/>
                    <a:pt x="1380" y="13"/>
                  </a:cubicBezTo>
                  <a:cubicBezTo>
                    <a:pt x="1353" y="4"/>
                    <a:pt x="1326" y="0"/>
                    <a:pt x="1299"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0" name="Google Shape;391;p31"/>
            <p:cNvSpPr/>
            <p:nvPr/>
          </p:nvSpPr>
          <p:spPr>
            <a:xfrm>
              <a:off x="3751625" y="1840900"/>
              <a:ext cx="87900" cy="73575"/>
            </a:xfrm>
            <a:custGeom>
              <a:avLst/>
              <a:gdLst/>
              <a:ahLst/>
              <a:cxnLst/>
              <a:rect l="l" t="t" r="r" b="b"/>
              <a:pathLst>
                <a:path w="3516" h="2943" extrusionOk="0">
                  <a:moveTo>
                    <a:pt x="1357" y="0"/>
                  </a:moveTo>
                  <a:cubicBezTo>
                    <a:pt x="1192" y="0"/>
                    <a:pt x="1035" y="49"/>
                    <a:pt x="892" y="166"/>
                  </a:cubicBezTo>
                  <a:cubicBezTo>
                    <a:pt x="1" y="889"/>
                    <a:pt x="979" y="2911"/>
                    <a:pt x="2039" y="2942"/>
                  </a:cubicBezTo>
                  <a:cubicBezTo>
                    <a:pt x="2066" y="2942"/>
                    <a:pt x="2092" y="2943"/>
                    <a:pt x="2119" y="2943"/>
                  </a:cubicBezTo>
                  <a:cubicBezTo>
                    <a:pt x="3118" y="2943"/>
                    <a:pt x="3515" y="2478"/>
                    <a:pt x="3515" y="2478"/>
                  </a:cubicBezTo>
                  <a:lnTo>
                    <a:pt x="3266" y="1348"/>
                  </a:lnTo>
                  <a:cubicBezTo>
                    <a:pt x="3266" y="1348"/>
                    <a:pt x="2220" y="0"/>
                    <a:pt x="1357" y="0"/>
                  </a:cubicBezTo>
                  <a:close/>
                </a:path>
              </a:pathLst>
            </a:custGeom>
            <a:solidFill>
              <a:srgbClr val="6D9EE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1" name="Google Shape;392;p31"/>
            <p:cNvSpPr/>
            <p:nvPr/>
          </p:nvSpPr>
          <p:spPr>
            <a:xfrm>
              <a:off x="3755325" y="1834000"/>
              <a:ext cx="91825" cy="87325"/>
            </a:xfrm>
            <a:custGeom>
              <a:avLst/>
              <a:gdLst/>
              <a:ahLst/>
              <a:cxnLst/>
              <a:rect l="l" t="t" r="r" b="b"/>
              <a:pathLst>
                <a:path w="3673" h="3493" extrusionOk="0">
                  <a:moveTo>
                    <a:pt x="1204" y="1"/>
                  </a:moveTo>
                  <a:cubicBezTo>
                    <a:pt x="968" y="1"/>
                    <a:pt x="756" y="79"/>
                    <a:pt x="572" y="228"/>
                  </a:cubicBezTo>
                  <a:cubicBezTo>
                    <a:pt x="123" y="594"/>
                    <a:pt x="1" y="1252"/>
                    <a:pt x="250" y="1981"/>
                  </a:cubicBezTo>
                  <a:cubicBezTo>
                    <a:pt x="500" y="2714"/>
                    <a:pt x="1141" y="3473"/>
                    <a:pt x="1886" y="3488"/>
                  </a:cubicBezTo>
                  <a:cubicBezTo>
                    <a:pt x="1916" y="3493"/>
                    <a:pt x="1947" y="3493"/>
                    <a:pt x="1971" y="3493"/>
                  </a:cubicBezTo>
                  <a:cubicBezTo>
                    <a:pt x="3087" y="3493"/>
                    <a:pt x="3555" y="2959"/>
                    <a:pt x="3576" y="2933"/>
                  </a:cubicBezTo>
                  <a:cubicBezTo>
                    <a:pt x="3673" y="2820"/>
                    <a:pt x="3663" y="2653"/>
                    <a:pt x="3551" y="2550"/>
                  </a:cubicBezTo>
                  <a:cubicBezTo>
                    <a:pt x="3499" y="2506"/>
                    <a:pt x="3436" y="2485"/>
                    <a:pt x="3372" y="2485"/>
                  </a:cubicBezTo>
                  <a:cubicBezTo>
                    <a:pt x="3295" y="2485"/>
                    <a:pt x="3219" y="2515"/>
                    <a:pt x="3163" y="2576"/>
                  </a:cubicBezTo>
                  <a:cubicBezTo>
                    <a:pt x="3149" y="2591"/>
                    <a:pt x="2819" y="2944"/>
                    <a:pt x="1983" y="2944"/>
                  </a:cubicBezTo>
                  <a:cubicBezTo>
                    <a:pt x="1954" y="2944"/>
                    <a:pt x="1925" y="2943"/>
                    <a:pt x="1895" y="2943"/>
                  </a:cubicBezTo>
                  <a:cubicBezTo>
                    <a:pt x="1477" y="2933"/>
                    <a:pt x="979" y="2434"/>
                    <a:pt x="765" y="1802"/>
                  </a:cubicBezTo>
                  <a:cubicBezTo>
                    <a:pt x="704" y="1614"/>
                    <a:pt x="520" y="972"/>
                    <a:pt x="918" y="651"/>
                  </a:cubicBezTo>
                  <a:cubicBezTo>
                    <a:pt x="1003" y="583"/>
                    <a:pt x="1099" y="551"/>
                    <a:pt x="1212" y="551"/>
                  </a:cubicBezTo>
                  <a:cubicBezTo>
                    <a:pt x="1234" y="551"/>
                    <a:pt x="1256" y="552"/>
                    <a:pt x="1279" y="554"/>
                  </a:cubicBezTo>
                  <a:cubicBezTo>
                    <a:pt x="1875" y="620"/>
                    <a:pt x="2650" y="1471"/>
                    <a:pt x="2904" y="1792"/>
                  </a:cubicBezTo>
                  <a:cubicBezTo>
                    <a:pt x="2957" y="1863"/>
                    <a:pt x="3036" y="1900"/>
                    <a:pt x="3117" y="1900"/>
                  </a:cubicBezTo>
                  <a:cubicBezTo>
                    <a:pt x="3175" y="1900"/>
                    <a:pt x="3234" y="1881"/>
                    <a:pt x="3285" y="1842"/>
                  </a:cubicBezTo>
                  <a:cubicBezTo>
                    <a:pt x="3403" y="1746"/>
                    <a:pt x="3428" y="1578"/>
                    <a:pt x="3332" y="1456"/>
                  </a:cubicBezTo>
                  <a:cubicBezTo>
                    <a:pt x="3230" y="1323"/>
                    <a:pt x="2272" y="117"/>
                    <a:pt x="1341" y="9"/>
                  </a:cubicBezTo>
                  <a:cubicBezTo>
                    <a:pt x="1294" y="3"/>
                    <a:pt x="1249" y="1"/>
                    <a:pt x="1204"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2" name="Google Shape;393;p31"/>
            <p:cNvSpPr/>
            <p:nvPr/>
          </p:nvSpPr>
          <p:spPr>
            <a:xfrm>
              <a:off x="3913600" y="1733950"/>
              <a:ext cx="28925" cy="38075"/>
            </a:xfrm>
            <a:custGeom>
              <a:avLst/>
              <a:gdLst/>
              <a:ahLst/>
              <a:cxnLst/>
              <a:rect l="l" t="t" r="r" b="b"/>
              <a:pathLst>
                <a:path w="1157" h="1523" extrusionOk="0">
                  <a:moveTo>
                    <a:pt x="283" y="1"/>
                  </a:moveTo>
                  <a:cubicBezTo>
                    <a:pt x="249" y="1"/>
                    <a:pt x="217" y="8"/>
                    <a:pt x="189" y="24"/>
                  </a:cubicBezTo>
                  <a:cubicBezTo>
                    <a:pt x="0" y="125"/>
                    <a:pt x="21" y="532"/>
                    <a:pt x="240" y="945"/>
                  </a:cubicBezTo>
                  <a:cubicBezTo>
                    <a:pt x="422" y="1291"/>
                    <a:pt x="684" y="1523"/>
                    <a:pt x="875" y="1523"/>
                  </a:cubicBezTo>
                  <a:cubicBezTo>
                    <a:pt x="909" y="1523"/>
                    <a:pt x="940" y="1516"/>
                    <a:pt x="969" y="1500"/>
                  </a:cubicBezTo>
                  <a:cubicBezTo>
                    <a:pt x="1157" y="1404"/>
                    <a:pt x="1136" y="991"/>
                    <a:pt x="917" y="583"/>
                  </a:cubicBezTo>
                  <a:cubicBezTo>
                    <a:pt x="736" y="234"/>
                    <a:pt x="473" y="1"/>
                    <a:pt x="283"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3" name="Google Shape;394;p31"/>
            <p:cNvSpPr/>
            <p:nvPr/>
          </p:nvSpPr>
          <p:spPr>
            <a:xfrm>
              <a:off x="3971025" y="1850200"/>
              <a:ext cx="67125" cy="23275"/>
            </a:xfrm>
            <a:custGeom>
              <a:avLst/>
              <a:gdLst/>
              <a:ahLst/>
              <a:cxnLst/>
              <a:rect l="l" t="t" r="r" b="b"/>
              <a:pathLst>
                <a:path w="2685" h="931" extrusionOk="0">
                  <a:moveTo>
                    <a:pt x="2373" y="1"/>
                  </a:moveTo>
                  <a:cubicBezTo>
                    <a:pt x="2332" y="1"/>
                    <a:pt x="2291" y="10"/>
                    <a:pt x="2252" y="28"/>
                  </a:cubicBezTo>
                  <a:cubicBezTo>
                    <a:pt x="2013" y="150"/>
                    <a:pt x="1413" y="386"/>
                    <a:pt x="942" y="386"/>
                  </a:cubicBezTo>
                  <a:cubicBezTo>
                    <a:pt x="759" y="386"/>
                    <a:pt x="595" y="351"/>
                    <a:pt x="479" y="258"/>
                  </a:cubicBezTo>
                  <a:cubicBezTo>
                    <a:pt x="428" y="218"/>
                    <a:pt x="367" y="199"/>
                    <a:pt x="306" y="199"/>
                  </a:cubicBezTo>
                  <a:cubicBezTo>
                    <a:pt x="226" y="199"/>
                    <a:pt x="147" y="232"/>
                    <a:pt x="92" y="299"/>
                  </a:cubicBezTo>
                  <a:cubicBezTo>
                    <a:pt x="0" y="416"/>
                    <a:pt x="21" y="588"/>
                    <a:pt x="138" y="686"/>
                  </a:cubicBezTo>
                  <a:cubicBezTo>
                    <a:pt x="362" y="869"/>
                    <a:pt x="653" y="930"/>
                    <a:pt x="948" y="930"/>
                  </a:cubicBezTo>
                  <a:cubicBezTo>
                    <a:pt x="1641" y="930"/>
                    <a:pt x="2384" y="574"/>
                    <a:pt x="2496" y="517"/>
                  </a:cubicBezTo>
                  <a:cubicBezTo>
                    <a:pt x="2628" y="451"/>
                    <a:pt x="2685" y="289"/>
                    <a:pt x="2619" y="151"/>
                  </a:cubicBezTo>
                  <a:cubicBezTo>
                    <a:pt x="2571" y="56"/>
                    <a:pt x="2474" y="1"/>
                    <a:pt x="2373"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4" name="Google Shape;395;p31"/>
            <p:cNvSpPr/>
            <p:nvPr/>
          </p:nvSpPr>
          <p:spPr>
            <a:xfrm>
              <a:off x="2992125" y="1533700"/>
              <a:ext cx="962100" cy="771275"/>
            </a:xfrm>
            <a:custGeom>
              <a:avLst/>
              <a:gdLst/>
              <a:ahLst/>
              <a:cxnLst/>
              <a:rect l="l" t="t" r="r" b="b"/>
              <a:pathLst>
                <a:path w="38484" h="30851" extrusionOk="0">
                  <a:moveTo>
                    <a:pt x="28503" y="0"/>
                  </a:moveTo>
                  <a:cubicBezTo>
                    <a:pt x="28185" y="0"/>
                    <a:pt x="27835" y="29"/>
                    <a:pt x="27437" y="98"/>
                  </a:cubicBezTo>
                  <a:cubicBezTo>
                    <a:pt x="24794" y="556"/>
                    <a:pt x="24570" y="2900"/>
                    <a:pt x="24570" y="2900"/>
                  </a:cubicBezTo>
                  <a:cubicBezTo>
                    <a:pt x="24570" y="2900"/>
                    <a:pt x="24656" y="3053"/>
                    <a:pt x="24852" y="3053"/>
                  </a:cubicBezTo>
                  <a:cubicBezTo>
                    <a:pt x="25059" y="3053"/>
                    <a:pt x="25389" y="2881"/>
                    <a:pt x="25868" y="2171"/>
                  </a:cubicBezTo>
                  <a:cubicBezTo>
                    <a:pt x="26217" y="1661"/>
                    <a:pt x="26804" y="1461"/>
                    <a:pt x="27410" y="1461"/>
                  </a:cubicBezTo>
                  <a:cubicBezTo>
                    <a:pt x="27796" y="1461"/>
                    <a:pt x="28190" y="1542"/>
                    <a:pt x="28533" y="1677"/>
                  </a:cubicBezTo>
                  <a:cubicBezTo>
                    <a:pt x="28359" y="1748"/>
                    <a:pt x="28181" y="1819"/>
                    <a:pt x="28023" y="1906"/>
                  </a:cubicBezTo>
                  <a:cubicBezTo>
                    <a:pt x="26429" y="2787"/>
                    <a:pt x="25339" y="3699"/>
                    <a:pt x="24514" y="5237"/>
                  </a:cubicBezTo>
                  <a:cubicBezTo>
                    <a:pt x="23841" y="6493"/>
                    <a:pt x="24123" y="11008"/>
                    <a:pt x="22316" y="11008"/>
                  </a:cubicBezTo>
                  <a:cubicBezTo>
                    <a:pt x="22305" y="11008"/>
                    <a:pt x="22294" y="11008"/>
                    <a:pt x="22283" y="11008"/>
                  </a:cubicBezTo>
                  <a:cubicBezTo>
                    <a:pt x="20206" y="10944"/>
                    <a:pt x="15354" y="7046"/>
                    <a:pt x="10869" y="7046"/>
                  </a:cubicBezTo>
                  <a:cubicBezTo>
                    <a:pt x="10668" y="7046"/>
                    <a:pt x="10467" y="7054"/>
                    <a:pt x="10268" y="7070"/>
                  </a:cubicBezTo>
                  <a:cubicBezTo>
                    <a:pt x="5618" y="7458"/>
                    <a:pt x="0" y="12056"/>
                    <a:pt x="280" y="18041"/>
                  </a:cubicBezTo>
                  <a:cubicBezTo>
                    <a:pt x="296" y="21877"/>
                    <a:pt x="2796" y="28925"/>
                    <a:pt x="9372" y="30617"/>
                  </a:cubicBezTo>
                  <a:cubicBezTo>
                    <a:pt x="9997" y="30777"/>
                    <a:pt x="10587" y="30851"/>
                    <a:pt x="11143" y="30851"/>
                  </a:cubicBezTo>
                  <a:cubicBezTo>
                    <a:pt x="16444" y="30851"/>
                    <a:pt x="18747" y="24181"/>
                    <a:pt x="20332" y="22599"/>
                  </a:cubicBezTo>
                  <a:cubicBezTo>
                    <a:pt x="20849" y="22082"/>
                    <a:pt x="21427" y="21912"/>
                    <a:pt x="22074" y="21912"/>
                  </a:cubicBezTo>
                  <a:cubicBezTo>
                    <a:pt x="23313" y="21912"/>
                    <a:pt x="24805" y="22534"/>
                    <a:pt x="26613" y="22534"/>
                  </a:cubicBezTo>
                  <a:cubicBezTo>
                    <a:pt x="27053" y="22534"/>
                    <a:pt x="27510" y="22497"/>
                    <a:pt x="27988" y="22406"/>
                  </a:cubicBezTo>
                  <a:cubicBezTo>
                    <a:pt x="29866" y="22044"/>
                    <a:pt x="30543" y="20130"/>
                    <a:pt x="30778" y="18449"/>
                  </a:cubicBezTo>
                  <a:cubicBezTo>
                    <a:pt x="31349" y="17277"/>
                    <a:pt x="30875" y="15490"/>
                    <a:pt x="30921" y="13936"/>
                  </a:cubicBezTo>
                  <a:cubicBezTo>
                    <a:pt x="30987" y="11767"/>
                    <a:pt x="32525" y="12526"/>
                    <a:pt x="33667" y="11971"/>
                  </a:cubicBezTo>
                  <a:cubicBezTo>
                    <a:pt x="34802" y="11421"/>
                    <a:pt x="33396" y="9821"/>
                    <a:pt x="33355" y="8986"/>
                  </a:cubicBezTo>
                  <a:cubicBezTo>
                    <a:pt x="33319" y="8156"/>
                    <a:pt x="34511" y="8767"/>
                    <a:pt x="35622" y="7550"/>
                  </a:cubicBezTo>
                  <a:cubicBezTo>
                    <a:pt x="36732" y="6332"/>
                    <a:pt x="36518" y="5344"/>
                    <a:pt x="36518" y="5340"/>
                  </a:cubicBezTo>
                  <a:cubicBezTo>
                    <a:pt x="36518" y="5340"/>
                    <a:pt x="38484" y="4580"/>
                    <a:pt x="38373" y="2253"/>
                  </a:cubicBezTo>
                  <a:cubicBezTo>
                    <a:pt x="38311" y="912"/>
                    <a:pt x="37523" y="601"/>
                    <a:pt x="36358" y="601"/>
                  </a:cubicBezTo>
                  <a:cubicBezTo>
                    <a:pt x="35499" y="601"/>
                    <a:pt x="34435" y="770"/>
                    <a:pt x="33305" y="822"/>
                  </a:cubicBezTo>
                  <a:cubicBezTo>
                    <a:pt x="33181" y="828"/>
                    <a:pt x="33061" y="830"/>
                    <a:pt x="32946" y="830"/>
                  </a:cubicBezTo>
                  <a:cubicBezTo>
                    <a:pt x="30960" y="830"/>
                    <a:pt x="30202" y="0"/>
                    <a:pt x="28503"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5" name="Google Shape;396;p31"/>
            <p:cNvSpPr/>
            <p:nvPr/>
          </p:nvSpPr>
          <p:spPr>
            <a:xfrm>
              <a:off x="3785500" y="1924000"/>
              <a:ext cx="164425" cy="103925"/>
            </a:xfrm>
            <a:custGeom>
              <a:avLst/>
              <a:gdLst/>
              <a:ahLst/>
              <a:cxnLst/>
              <a:rect l="l" t="t" r="r" b="b"/>
              <a:pathLst>
                <a:path w="6577" h="4157" extrusionOk="0">
                  <a:moveTo>
                    <a:pt x="275" y="0"/>
                  </a:moveTo>
                  <a:cubicBezTo>
                    <a:pt x="272" y="0"/>
                    <a:pt x="269" y="0"/>
                    <a:pt x="266" y="0"/>
                  </a:cubicBezTo>
                  <a:cubicBezTo>
                    <a:pt x="118" y="5"/>
                    <a:pt x="0" y="132"/>
                    <a:pt x="6" y="285"/>
                  </a:cubicBezTo>
                  <a:lnTo>
                    <a:pt x="134" y="2944"/>
                  </a:lnTo>
                  <a:cubicBezTo>
                    <a:pt x="138" y="3061"/>
                    <a:pt x="214" y="3162"/>
                    <a:pt x="327" y="3193"/>
                  </a:cubicBezTo>
                  <a:cubicBezTo>
                    <a:pt x="989" y="3387"/>
                    <a:pt x="3735" y="4156"/>
                    <a:pt x="5329" y="4156"/>
                  </a:cubicBezTo>
                  <a:cubicBezTo>
                    <a:pt x="5771" y="4156"/>
                    <a:pt x="6128" y="4095"/>
                    <a:pt x="6321" y="3947"/>
                  </a:cubicBezTo>
                  <a:cubicBezTo>
                    <a:pt x="6469" y="3830"/>
                    <a:pt x="6546" y="3662"/>
                    <a:pt x="6535" y="3479"/>
                  </a:cubicBezTo>
                  <a:cubicBezTo>
                    <a:pt x="6485" y="2348"/>
                    <a:pt x="6566" y="1462"/>
                    <a:pt x="6566" y="1451"/>
                  </a:cubicBezTo>
                  <a:cubicBezTo>
                    <a:pt x="6577" y="1303"/>
                    <a:pt x="6469" y="1171"/>
                    <a:pt x="6316" y="1157"/>
                  </a:cubicBezTo>
                  <a:cubicBezTo>
                    <a:pt x="6307" y="1156"/>
                    <a:pt x="6298" y="1155"/>
                    <a:pt x="6288" y="1155"/>
                  </a:cubicBezTo>
                  <a:cubicBezTo>
                    <a:pt x="6152" y="1155"/>
                    <a:pt x="6035" y="1263"/>
                    <a:pt x="6020" y="1401"/>
                  </a:cubicBezTo>
                  <a:cubicBezTo>
                    <a:pt x="6016" y="1441"/>
                    <a:pt x="5935" y="2332"/>
                    <a:pt x="5990" y="3510"/>
                  </a:cubicBezTo>
                  <a:cubicBezTo>
                    <a:pt x="5934" y="3592"/>
                    <a:pt x="5736" y="3631"/>
                    <a:pt x="5430" y="3631"/>
                  </a:cubicBezTo>
                  <a:cubicBezTo>
                    <a:pt x="4517" y="3631"/>
                    <a:pt x="2639" y="3285"/>
                    <a:pt x="668" y="2725"/>
                  </a:cubicBezTo>
                  <a:lnTo>
                    <a:pt x="550" y="259"/>
                  </a:lnTo>
                  <a:cubicBezTo>
                    <a:pt x="546" y="110"/>
                    <a:pt x="424" y="0"/>
                    <a:pt x="275"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6" name="Google Shape;397;p31"/>
            <p:cNvSpPr/>
            <p:nvPr/>
          </p:nvSpPr>
          <p:spPr>
            <a:xfrm>
              <a:off x="3743100" y="1997325"/>
              <a:ext cx="248325" cy="86600"/>
            </a:xfrm>
            <a:custGeom>
              <a:avLst/>
              <a:gdLst/>
              <a:ahLst/>
              <a:cxnLst/>
              <a:rect l="l" t="t" r="r" b="b"/>
              <a:pathLst>
                <a:path w="9933" h="3464" extrusionOk="0">
                  <a:moveTo>
                    <a:pt x="2100" y="1"/>
                  </a:moveTo>
                  <a:lnTo>
                    <a:pt x="1" y="1432"/>
                  </a:lnTo>
                  <a:lnTo>
                    <a:pt x="9933" y="3464"/>
                  </a:lnTo>
                  <a:lnTo>
                    <a:pt x="8980" y="1009"/>
                  </a:lnTo>
                  <a:lnTo>
                    <a:pt x="2100" y="1"/>
                  </a:lnTo>
                  <a:close/>
                </a:path>
              </a:pathLst>
            </a:custGeom>
            <a:solidFill>
              <a:srgbClr val="6D9EE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7" name="Google Shape;398;p31"/>
            <p:cNvSpPr/>
            <p:nvPr/>
          </p:nvSpPr>
          <p:spPr>
            <a:xfrm>
              <a:off x="3735725" y="1990475"/>
              <a:ext cx="262950" cy="100325"/>
            </a:xfrm>
            <a:custGeom>
              <a:avLst/>
              <a:gdLst/>
              <a:ahLst/>
              <a:cxnLst/>
              <a:rect l="l" t="t" r="r" b="b"/>
              <a:pathLst>
                <a:path w="10518" h="4013" extrusionOk="0">
                  <a:moveTo>
                    <a:pt x="2390" y="1"/>
                  </a:moveTo>
                  <a:cubicBezTo>
                    <a:pt x="2256" y="1"/>
                    <a:pt x="2142" y="101"/>
                    <a:pt x="2125" y="233"/>
                  </a:cubicBezTo>
                  <a:cubicBezTo>
                    <a:pt x="2104" y="381"/>
                    <a:pt x="2205" y="524"/>
                    <a:pt x="2353" y="545"/>
                  </a:cubicBezTo>
                  <a:lnTo>
                    <a:pt x="9076" y="1533"/>
                  </a:lnTo>
                  <a:lnTo>
                    <a:pt x="9790" y="3371"/>
                  </a:lnTo>
                  <a:lnTo>
                    <a:pt x="352" y="1436"/>
                  </a:lnTo>
                  <a:cubicBezTo>
                    <a:pt x="335" y="1433"/>
                    <a:pt x="319" y="1432"/>
                    <a:pt x="302" y="1432"/>
                  </a:cubicBezTo>
                  <a:cubicBezTo>
                    <a:pt x="172" y="1432"/>
                    <a:pt x="53" y="1519"/>
                    <a:pt x="31" y="1650"/>
                  </a:cubicBezTo>
                  <a:cubicBezTo>
                    <a:pt x="0" y="1798"/>
                    <a:pt x="92" y="1945"/>
                    <a:pt x="240" y="1970"/>
                  </a:cubicBezTo>
                  <a:lnTo>
                    <a:pt x="10171" y="4008"/>
                  </a:lnTo>
                  <a:cubicBezTo>
                    <a:pt x="10187" y="4008"/>
                    <a:pt x="10207" y="4013"/>
                    <a:pt x="10228" y="4013"/>
                  </a:cubicBezTo>
                  <a:cubicBezTo>
                    <a:pt x="10303" y="4013"/>
                    <a:pt x="10380" y="3977"/>
                    <a:pt x="10437" y="3916"/>
                  </a:cubicBezTo>
                  <a:cubicBezTo>
                    <a:pt x="10498" y="3839"/>
                    <a:pt x="10517" y="3733"/>
                    <a:pt x="10482" y="3641"/>
                  </a:cubicBezTo>
                  <a:lnTo>
                    <a:pt x="9530" y="1187"/>
                  </a:lnTo>
                  <a:cubicBezTo>
                    <a:pt x="9494" y="1095"/>
                    <a:pt x="9412" y="1028"/>
                    <a:pt x="9316" y="1013"/>
                  </a:cubicBezTo>
                  <a:lnTo>
                    <a:pt x="2435" y="5"/>
                  </a:lnTo>
                  <a:cubicBezTo>
                    <a:pt x="2420" y="2"/>
                    <a:pt x="2405" y="1"/>
                    <a:pt x="2390"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8" name="Google Shape;399;p31"/>
            <p:cNvSpPr/>
            <p:nvPr/>
          </p:nvSpPr>
          <p:spPr>
            <a:xfrm>
              <a:off x="4166725" y="3125600"/>
              <a:ext cx="194700" cy="272900"/>
            </a:xfrm>
            <a:custGeom>
              <a:avLst/>
              <a:gdLst/>
              <a:ahLst/>
              <a:cxnLst/>
              <a:rect l="l" t="t" r="r" b="b"/>
              <a:pathLst>
                <a:path w="7788" h="10916" extrusionOk="0">
                  <a:moveTo>
                    <a:pt x="3276" y="0"/>
                  </a:moveTo>
                  <a:lnTo>
                    <a:pt x="0" y="4192"/>
                  </a:lnTo>
                  <a:lnTo>
                    <a:pt x="1325" y="5495"/>
                  </a:lnTo>
                  <a:lnTo>
                    <a:pt x="2537" y="5536"/>
                  </a:lnTo>
                  <a:lnTo>
                    <a:pt x="4034" y="7946"/>
                  </a:lnTo>
                  <a:cubicBezTo>
                    <a:pt x="4034" y="7946"/>
                    <a:pt x="6433" y="10915"/>
                    <a:pt x="7267" y="10915"/>
                  </a:cubicBezTo>
                  <a:cubicBezTo>
                    <a:pt x="7404" y="10915"/>
                    <a:pt x="7499" y="10835"/>
                    <a:pt x="7534" y="10650"/>
                  </a:cubicBezTo>
                  <a:cubicBezTo>
                    <a:pt x="7788" y="9331"/>
                    <a:pt x="5374" y="4879"/>
                    <a:pt x="5374" y="4879"/>
                  </a:cubicBezTo>
                  <a:lnTo>
                    <a:pt x="5883" y="2765"/>
                  </a:lnTo>
                  <a:lnTo>
                    <a:pt x="3276" y="0"/>
                  </a:ln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09" name="Google Shape;400;p31"/>
            <p:cNvSpPr/>
            <p:nvPr/>
          </p:nvSpPr>
          <p:spPr>
            <a:xfrm>
              <a:off x="3952550" y="2347600"/>
              <a:ext cx="438800" cy="290200"/>
            </a:xfrm>
            <a:custGeom>
              <a:avLst/>
              <a:gdLst/>
              <a:ahLst/>
              <a:cxnLst/>
              <a:rect l="l" t="t" r="r" b="b"/>
              <a:pathLst>
                <a:path w="17552" h="11608" extrusionOk="0">
                  <a:moveTo>
                    <a:pt x="13024" y="0"/>
                  </a:moveTo>
                  <a:cubicBezTo>
                    <a:pt x="12844" y="0"/>
                    <a:pt x="12657" y="9"/>
                    <a:pt x="12464" y="26"/>
                  </a:cubicBezTo>
                  <a:cubicBezTo>
                    <a:pt x="8598" y="372"/>
                    <a:pt x="1" y="11608"/>
                    <a:pt x="1" y="11608"/>
                  </a:cubicBezTo>
                  <a:lnTo>
                    <a:pt x="17552" y="3006"/>
                  </a:lnTo>
                  <a:cubicBezTo>
                    <a:pt x="17552" y="3006"/>
                    <a:pt x="16444" y="0"/>
                    <a:pt x="13024" y="0"/>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0" name="Google Shape;401;p31"/>
            <p:cNvSpPr/>
            <p:nvPr/>
          </p:nvSpPr>
          <p:spPr>
            <a:xfrm>
              <a:off x="3947100" y="2340700"/>
              <a:ext cx="450650" cy="301325"/>
            </a:xfrm>
            <a:custGeom>
              <a:avLst/>
              <a:gdLst/>
              <a:ahLst/>
              <a:cxnLst/>
              <a:rect l="l" t="t" r="r" b="b"/>
              <a:pathLst>
                <a:path w="18026" h="12053" extrusionOk="0">
                  <a:moveTo>
                    <a:pt x="13231" y="1"/>
                  </a:moveTo>
                  <a:cubicBezTo>
                    <a:pt x="13046" y="1"/>
                    <a:pt x="12855" y="9"/>
                    <a:pt x="12656" y="27"/>
                  </a:cubicBezTo>
                  <a:cubicBezTo>
                    <a:pt x="8719" y="384"/>
                    <a:pt x="357" y="11258"/>
                    <a:pt x="0" y="11721"/>
                  </a:cubicBezTo>
                  <a:lnTo>
                    <a:pt x="433" y="12053"/>
                  </a:lnTo>
                  <a:cubicBezTo>
                    <a:pt x="520" y="11940"/>
                    <a:pt x="9005" y="908"/>
                    <a:pt x="12703" y="572"/>
                  </a:cubicBezTo>
                  <a:cubicBezTo>
                    <a:pt x="12888" y="556"/>
                    <a:pt x="13067" y="548"/>
                    <a:pt x="13239" y="548"/>
                  </a:cubicBezTo>
                  <a:cubicBezTo>
                    <a:pt x="16419" y="548"/>
                    <a:pt x="17467" y="3258"/>
                    <a:pt x="17515" y="3379"/>
                  </a:cubicBezTo>
                  <a:lnTo>
                    <a:pt x="18025" y="3191"/>
                  </a:lnTo>
                  <a:cubicBezTo>
                    <a:pt x="18015" y="3156"/>
                    <a:pt x="16804" y="1"/>
                    <a:pt x="13231" y="1"/>
                  </a:cubicBezTo>
                  <a:close/>
                </a:path>
              </a:pathLst>
            </a:custGeom>
            <a:solidFill>
              <a:srgbClr val="36363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1" name="Google Shape;402;p31"/>
            <p:cNvSpPr/>
            <p:nvPr/>
          </p:nvSpPr>
          <p:spPr>
            <a:xfrm>
              <a:off x="3664775" y="2400150"/>
              <a:ext cx="922650" cy="794600"/>
            </a:xfrm>
            <a:custGeom>
              <a:avLst/>
              <a:gdLst/>
              <a:ahLst/>
              <a:cxnLst/>
              <a:rect l="l" t="t" r="r" b="b"/>
              <a:pathLst>
                <a:path w="36906" h="31784" extrusionOk="0">
                  <a:moveTo>
                    <a:pt x="31086" y="1"/>
                  </a:moveTo>
                  <a:cubicBezTo>
                    <a:pt x="30852" y="1"/>
                    <a:pt x="30635" y="38"/>
                    <a:pt x="30444" y="115"/>
                  </a:cubicBezTo>
                  <a:cubicBezTo>
                    <a:pt x="18143" y="5060"/>
                    <a:pt x="12953" y="11579"/>
                    <a:pt x="12953" y="11579"/>
                  </a:cubicBezTo>
                  <a:lnTo>
                    <a:pt x="1" y="17966"/>
                  </a:lnTo>
                  <a:cubicBezTo>
                    <a:pt x="1" y="17966"/>
                    <a:pt x="1234" y="23512"/>
                    <a:pt x="3974" y="25051"/>
                  </a:cubicBezTo>
                  <a:cubicBezTo>
                    <a:pt x="5356" y="25824"/>
                    <a:pt x="6798" y="26300"/>
                    <a:pt x="8430" y="26300"/>
                  </a:cubicBezTo>
                  <a:cubicBezTo>
                    <a:pt x="10034" y="26300"/>
                    <a:pt x="11821" y="25840"/>
                    <a:pt x="13916" y="24750"/>
                  </a:cubicBezTo>
                  <a:cubicBezTo>
                    <a:pt x="18148" y="22555"/>
                    <a:pt x="27667" y="10830"/>
                    <a:pt x="27668" y="10830"/>
                  </a:cubicBezTo>
                  <a:lnTo>
                    <a:pt x="27668" y="10830"/>
                  </a:lnTo>
                  <a:cubicBezTo>
                    <a:pt x="27668" y="10831"/>
                    <a:pt x="23568" y="28666"/>
                    <a:pt x="23277" y="29517"/>
                  </a:cubicBezTo>
                  <a:lnTo>
                    <a:pt x="25961" y="31783"/>
                  </a:lnTo>
                  <a:cubicBezTo>
                    <a:pt x="25961" y="31783"/>
                    <a:pt x="35980" y="10439"/>
                    <a:pt x="36469" y="6582"/>
                  </a:cubicBezTo>
                  <a:cubicBezTo>
                    <a:pt x="36905" y="3105"/>
                    <a:pt x="33240" y="1"/>
                    <a:pt x="31086" y="1"/>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2" name="Google Shape;403;p31"/>
            <p:cNvSpPr/>
            <p:nvPr/>
          </p:nvSpPr>
          <p:spPr>
            <a:xfrm>
              <a:off x="3658175" y="2393300"/>
              <a:ext cx="932575" cy="812400"/>
            </a:xfrm>
            <a:custGeom>
              <a:avLst/>
              <a:gdLst/>
              <a:ahLst/>
              <a:cxnLst/>
              <a:rect l="l" t="t" r="r" b="b"/>
              <a:pathLst>
                <a:path w="37303" h="32496" extrusionOk="0">
                  <a:moveTo>
                    <a:pt x="31350" y="1"/>
                  </a:moveTo>
                  <a:cubicBezTo>
                    <a:pt x="31078" y="1"/>
                    <a:pt x="30827" y="44"/>
                    <a:pt x="30605" y="133"/>
                  </a:cubicBezTo>
                  <a:cubicBezTo>
                    <a:pt x="18377" y="5048"/>
                    <a:pt x="13059" y="11618"/>
                    <a:pt x="13003" y="11684"/>
                  </a:cubicBezTo>
                  <a:lnTo>
                    <a:pt x="13431" y="12021"/>
                  </a:lnTo>
                  <a:cubicBezTo>
                    <a:pt x="13482" y="11959"/>
                    <a:pt x="18729" y="5497"/>
                    <a:pt x="30809" y="643"/>
                  </a:cubicBezTo>
                  <a:cubicBezTo>
                    <a:pt x="30970" y="577"/>
                    <a:pt x="31154" y="546"/>
                    <a:pt x="31357" y="546"/>
                  </a:cubicBezTo>
                  <a:cubicBezTo>
                    <a:pt x="32072" y="546"/>
                    <a:pt x="33014" y="938"/>
                    <a:pt x="33921" y="1637"/>
                  </a:cubicBezTo>
                  <a:cubicBezTo>
                    <a:pt x="35327" y="2721"/>
                    <a:pt x="36733" y="4651"/>
                    <a:pt x="36458" y="6826"/>
                  </a:cubicBezTo>
                  <a:cubicBezTo>
                    <a:pt x="36019" y="10335"/>
                    <a:pt x="27382" y="28931"/>
                    <a:pt x="26129" y="31620"/>
                  </a:cubicBezTo>
                  <a:lnTo>
                    <a:pt x="23852" y="29695"/>
                  </a:lnTo>
                  <a:cubicBezTo>
                    <a:pt x="24407" y="27657"/>
                    <a:pt x="28038" y="11863"/>
                    <a:pt x="28196" y="11165"/>
                  </a:cubicBezTo>
                  <a:lnTo>
                    <a:pt x="28461" y="10020"/>
                  </a:lnTo>
                  <a:lnTo>
                    <a:pt x="27718" y="10931"/>
                  </a:lnTo>
                  <a:cubicBezTo>
                    <a:pt x="27626" y="11049"/>
                    <a:pt x="18188" y="22636"/>
                    <a:pt x="14058" y="24784"/>
                  </a:cubicBezTo>
                  <a:cubicBezTo>
                    <a:pt x="12096" y="25801"/>
                    <a:pt x="10365" y="26308"/>
                    <a:pt x="8717" y="26308"/>
                  </a:cubicBezTo>
                  <a:cubicBezTo>
                    <a:pt x="7237" y="26308"/>
                    <a:pt x="5824" y="25899"/>
                    <a:pt x="4371" y="25085"/>
                  </a:cubicBezTo>
                  <a:cubicBezTo>
                    <a:pt x="1773" y="23623"/>
                    <a:pt x="546" y="18235"/>
                    <a:pt x="530" y="18179"/>
                  </a:cubicBezTo>
                  <a:lnTo>
                    <a:pt x="1" y="18296"/>
                  </a:lnTo>
                  <a:cubicBezTo>
                    <a:pt x="51" y="18530"/>
                    <a:pt x="1294" y="23980"/>
                    <a:pt x="4106" y="25558"/>
                  </a:cubicBezTo>
                  <a:cubicBezTo>
                    <a:pt x="5627" y="26414"/>
                    <a:pt x="7136" y="26843"/>
                    <a:pt x="8714" y="26843"/>
                  </a:cubicBezTo>
                  <a:cubicBezTo>
                    <a:pt x="10458" y="26843"/>
                    <a:pt x="12286" y="26319"/>
                    <a:pt x="14307" y="25268"/>
                  </a:cubicBezTo>
                  <a:cubicBezTo>
                    <a:pt x="17898" y="23404"/>
                    <a:pt x="25074" y="14980"/>
                    <a:pt x="27401" y="12173"/>
                  </a:cubicBezTo>
                  <a:lnTo>
                    <a:pt x="27401" y="12173"/>
                  </a:lnTo>
                  <a:cubicBezTo>
                    <a:pt x="25941" y="18546"/>
                    <a:pt x="23496" y="29079"/>
                    <a:pt x="23282" y="29699"/>
                  </a:cubicBezTo>
                  <a:lnTo>
                    <a:pt x="23221" y="29878"/>
                  </a:lnTo>
                  <a:lnTo>
                    <a:pt x="26322" y="32495"/>
                  </a:lnTo>
                  <a:lnTo>
                    <a:pt x="26470" y="32175"/>
                  </a:lnTo>
                  <a:cubicBezTo>
                    <a:pt x="26882" y="31303"/>
                    <a:pt x="36519" y="10748"/>
                    <a:pt x="37003" y="6893"/>
                  </a:cubicBezTo>
                  <a:cubicBezTo>
                    <a:pt x="37302" y="4493"/>
                    <a:pt x="35781" y="2380"/>
                    <a:pt x="34253" y="1203"/>
                  </a:cubicBezTo>
                  <a:cubicBezTo>
                    <a:pt x="33245" y="424"/>
                    <a:pt x="32197" y="1"/>
                    <a:pt x="31350"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3" name="Google Shape;404;p31"/>
            <p:cNvSpPr/>
            <p:nvPr/>
          </p:nvSpPr>
          <p:spPr>
            <a:xfrm>
              <a:off x="3524600" y="2042900"/>
              <a:ext cx="516600" cy="820800"/>
            </a:xfrm>
            <a:custGeom>
              <a:avLst/>
              <a:gdLst/>
              <a:ahLst/>
              <a:cxnLst/>
              <a:rect l="l" t="t" r="r" b="b"/>
              <a:pathLst>
                <a:path w="20664" h="32832" extrusionOk="0">
                  <a:moveTo>
                    <a:pt x="8772" y="1"/>
                  </a:moveTo>
                  <a:cubicBezTo>
                    <a:pt x="8708" y="1"/>
                    <a:pt x="8644" y="23"/>
                    <a:pt x="8593" y="68"/>
                  </a:cubicBezTo>
                  <a:cubicBezTo>
                    <a:pt x="1" y="7661"/>
                    <a:pt x="4794" y="30723"/>
                    <a:pt x="5003" y="31701"/>
                  </a:cubicBezTo>
                  <a:cubicBezTo>
                    <a:pt x="5018" y="31762"/>
                    <a:pt x="5048" y="31812"/>
                    <a:pt x="5095" y="31854"/>
                  </a:cubicBezTo>
                  <a:cubicBezTo>
                    <a:pt x="5165" y="31910"/>
                    <a:pt x="6311" y="32832"/>
                    <a:pt x="8873" y="32832"/>
                  </a:cubicBezTo>
                  <a:cubicBezTo>
                    <a:pt x="9978" y="32832"/>
                    <a:pt x="11343" y="32658"/>
                    <a:pt x="13003" y="32174"/>
                  </a:cubicBezTo>
                  <a:cubicBezTo>
                    <a:pt x="18550" y="30550"/>
                    <a:pt x="18739" y="27723"/>
                    <a:pt x="18743" y="27616"/>
                  </a:cubicBezTo>
                  <a:cubicBezTo>
                    <a:pt x="18748" y="27540"/>
                    <a:pt x="18912" y="25711"/>
                    <a:pt x="17970" y="24515"/>
                  </a:cubicBezTo>
                  <a:cubicBezTo>
                    <a:pt x="17185" y="23521"/>
                    <a:pt x="16747" y="19172"/>
                    <a:pt x="17027" y="17786"/>
                  </a:cubicBezTo>
                  <a:cubicBezTo>
                    <a:pt x="17124" y="17313"/>
                    <a:pt x="17704" y="16288"/>
                    <a:pt x="18316" y="15209"/>
                  </a:cubicBezTo>
                  <a:cubicBezTo>
                    <a:pt x="19416" y="13274"/>
                    <a:pt x="20664" y="11079"/>
                    <a:pt x="20496" y="9866"/>
                  </a:cubicBezTo>
                  <a:cubicBezTo>
                    <a:pt x="20241" y="8028"/>
                    <a:pt x="17440" y="1554"/>
                    <a:pt x="17318" y="1279"/>
                  </a:cubicBezTo>
                  <a:cubicBezTo>
                    <a:pt x="17273" y="1178"/>
                    <a:pt x="17175" y="1118"/>
                    <a:pt x="17072" y="1118"/>
                  </a:cubicBezTo>
                  <a:cubicBezTo>
                    <a:pt x="17035" y="1118"/>
                    <a:pt x="16997" y="1126"/>
                    <a:pt x="16961" y="1142"/>
                  </a:cubicBezTo>
                  <a:cubicBezTo>
                    <a:pt x="16818" y="1198"/>
                    <a:pt x="16757" y="1361"/>
                    <a:pt x="16818" y="1498"/>
                  </a:cubicBezTo>
                  <a:cubicBezTo>
                    <a:pt x="16844" y="1565"/>
                    <a:pt x="19712" y="8176"/>
                    <a:pt x="19956" y="9938"/>
                  </a:cubicBezTo>
                  <a:cubicBezTo>
                    <a:pt x="20099" y="10971"/>
                    <a:pt x="18846" y="13171"/>
                    <a:pt x="17843" y="14939"/>
                  </a:cubicBezTo>
                  <a:cubicBezTo>
                    <a:pt x="17180" y="16111"/>
                    <a:pt x="16604" y="17119"/>
                    <a:pt x="16493" y="17679"/>
                  </a:cubicBezTo>
                  <a:cubicBezTo>
                    <a:pt x="16212" y="19064"/>
                    <a:pt x="16595" y="23653"/>
                    <a:pt x="17537" y="24856"/>
                  </a:cubicBezTo>
                  <a:cubicBezTo>
                    <a:pt x="18346" y="25879"/>
                    <a:pt x="18198" y="27550"/>
                    <a:pt x="18198" y="27576"/>
                  </a:cubicBezTo>
                  <a:cubicBezTo>
                    <a:pt x="18198" y="27601"/>
                    <a:pt x="17984" y="30147"/>
                    <a:pt x="12850" y="31650"/>
                  </a:cubicBezTo>
                  <a:cubicBezTo>
                    <a:pt x="11260" y="32114"/>
                    <a:pt x="9950" y="32276"/>
                    <a:pt x="8898" y="32276"/>
                  </a:cubicBezTo>
                  <a:cubicBezTo>
                    <a:pt x="6859" y="32276"/>
                    <a:pt x="5789" y="31669"/>
                    <a:pt x="5516" y="31487"/>
                  </a:cubicBezTo>
                  <a:cubicBezTo>
                    <a:pt x="5170" y="29776"/>
                    <a:pt x="882" y="7610"/>
                    <a:pt x="8955" y="480"/>
                  </a:cubicBezTo>
                  <a:cubicBezTo>
                    <a:pt x="9067" y="378"/>
                    <a:pt x="9077" y="205"/>
                    <a:pt x="8976" y="92"/>
                  </a:cubicBezTo>
                  <a:cubicBezTo>
                    <a:pt x="8923" y="32"/>
                    <a:pt x="8848" y="1"/>
                    <a:pt x="8772"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4" name="Google Shape;405;p31"/>
            <p:cNvSpPr/>
            <p:nvPr/>
          </p:nvSpPr>
          <p:spPr>
            <a:xfrm>
              <a:off x="2987300" y="1685250"/>
              <a:ext cx="445025" cy="299775"/>
            </a:xfrm>
            <a:custGeom>
              <a:avLst/>
              <a:gdLst/>
              <a:ahLst/>
              <a:cxnLst/>
              <a:rect l="l" t="t" r="r" b="b"/>
              <a:pathLst>
                <a:path w="17801" h="11991" extrusionOk="0">
                  <a:moveTo>
                    <a:pt x="9708" y="0"/>
                  </a:moveTo>
                  <a:cubicBezTo>
                    <a:pt x="8889" y="0"/>
                    <a:pt x="8054" y="107"/>
                    <a:pt x="7227" y="362"/>
                  </a:cubicBezTo>
                  <a:cubicBezTo>
                    <a:pt x="1910" y="2007"/>
                    <a:pt x="0" y="8154"/>
                    <a:pt x="341" y="11990"/>
                  </a:cubicBezTo>
                  <a:lnTo>
                    <a:pt x="611" y="11969"/>
                  </a:lnTo>
                  <a:cubicBezTo>
                    <a:pt x="280" y="8220"/>
                    <a:pt x="2139" y="2221"/>
                    <a:pt x="7309" y="627"/>
                  </a:cubicBezTo>
                  <a:cubicBezTo>
                    <a:pt x="8110" y="380"/>
                    <a:pt x="8921" y="276"/>
                    <a:pt x="9717" y="276"/>
                  </a:cubicBezTo>
                  <a:cubicBezTo>
                    <a:pt x="13852" y="276"/>
                    <a:pt x="17595" y="3078"/>
                    <a:pt x="17638" y="3112"/>
                  </a:cubicBezTo>
                  <a:lnTo>
                    <a:pt x="17800" y="2893"/>
                  </a:lnTo>
                  <a:cubicBezTo>
                    <a:pt x="17757" y="2859"/>
                    <a:pt x="13945" y="0"/>
                    <a:pt x="9708"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5" name="Google Shape;406;p31"/>
            <p:cNvSpPr/>
            <p:nvPr/>
          </p:nvSpPr>
          <p:spPr>
            <a:xfrm>
              <a:off x="3251750" y="2077975"/>
              <a:ext cx="415225" cy="258475"/>
            </a:xfrm>
            <a:custGeom>
              <a:avLst/>
              <a:gdLst/>
              <a:ahLst/>
              <a:cxnLst/>
              <a:rect l="l" t="t" r="r" b="b"/>
              <a:pathLst>
                <a:path w="16609" h="10339" extrusionOk="0">
                  <a:moveTo>
                    <a:pt x="13329" y="1"/>
                  </a:moveTo>
                  <a:cubicBezTo>
                    <a:pt x="12807" y="1"/>
                    <a:pt x="12180" y="79"/>
                    <a:pt x="11388" y="294"/>
                  </a:cubicBezTo>
                  <a:cubicBezTo>
                    <a:pt x="9484" y="814"/>
                    <a:pt x="9122" y="1806"/>
                    <a:pt x="8531" y="3456"/>
                  </a:cubicBezTo>
                  <a:cubicBezTo>
                    <a:pt x="8174" y="4450"/>
                    <a:pt x="7727" y="5687"/>
                    <a:pt x="6799" y="7236"/>
                  </a:cubicBezTo>
                  <a:cubicBezTo>
                    <a:pt x="5382" y="9591"/>
                    <a:pt x="3343" y="10085"/>
                    <a:pt x="1883" y="10085"/>
                  </a:cubicBezTo>
                  <a:cubicBezTo>
                    <a:pt x="883" y="10085"/>
                    <a:pt x="154" y="9853"/>
                    <a:pt x="81" y="9828"/>
                  </a:cubicBezTo>
                  <a:lnTo>
                    <a:pt x="1" y="10088"/>
                  </a:lnTo>
                  <a:cubicBezTo>
                    <a:pt x="15" y="10099"/>
                    <a:pt x="779" y="10338"/>
                    <a:pt x="1844" y="10338"/>
                  </a:cubicBezTo>
                  <a:cubicBezTo>
                    <a:pt x="3388" y="10338"/>
                    <a:pt x="5557" y="9833"/>
                    <a:pt x="7034" y="7374"/>
                  </a:cubicBezTo>
                  <a:cubicBezTo>
                    <a:pt x="7976" y="5804"/>
                    <a:pt x="8424" y="4552"/>
                    <a:pt x="8786" y="3548"/>
                  </a:cubicBezTo>
                  <a:cubicBezTo>
                    <a:pt x="9371" y="1928"/>
                    <a:pt x="9693" y="1037"/>
                    <a:pt x="11460" y="559"/>
                  </a:cubicBezTo>
                  <a:cubicBezTo>
                    <a:pt x="12232" y="349"/>
                    <a:pt x="12832" y="273"/>
                    <a:pt x="13331" y="273"/>
                  </a:cubicBezTo>
                  <a:cubicBezTo>
                    <a:pt x="14021" y="273"/>
                    <a:pt x="14517" y="419"/>
                    <a:pt x="15005" y="564"/>
                  </a:cubicBezTo>
                  <a:cubicBezTo>
                    <a:pt x="15456" y="698"/>
                    <a:pt x="15887" y="823"/>
                    <a:pt x="16432" y="823"/>
                  </a:cubicBezTo>
                  <a:cubicBezTo>
                    <a:pt x="16490" y="823"/>
                    <a:pt x="16549" y="821"/>
                    <a:pt x="16609" y="818"/>
                  </a:cubicBezTo>
                  <a:lnTo>
                    <a:pt x="16599" y="543"/>
                  </a:lnTo>
                  <a:cubicBezTo>
                    <a:pt x="16547" y="546"/>
                    <a:pt x="16497" y="547"/>
                    <a:pt x="16447" y="547"/>
                  </a:cubicBezTo>
                  <a:cubicBezTo>
                    <a:pt x="15930" y="547"/>
                    <a:pt x="15518" y="429"/>
                    <a:pt x="15081" y="299"/>
                  </a:cubicBezTo>
                  <a:cubicBezTo>
                    <a:pt x="14592" y="156"/>
                    <a:pt x="14065" y="1"/>
                    <a:pt x="13329" y="1"/>
                  </a:cubicBezTo>
                  <a:close/>
                </a:path>
              </a:pathLst>
            </a:custGeom>
            <a:solidFill>
              <a:srgbClr val="36363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6" name="Google Shape;407;p31"/>
            <p:cNvSpPr/>
            <p:nvPr/>
          </p:nvSpPr>
          <p:spPr>
            <a:xfrm>
              <a:off x="3663525" y="2112800"/>
              <a:ext cx="287175" cy="974100"/>
            </a:xfrm>
            <a:custGeom>
              <a:avLst/>
              <a:gdLst/>
              <a:ahLst/>
              <a:cxnLst/>
              <a:rect l="l" t="t" r="r" b="b"/>
              <a:pathLst>
                <a:path w="11487" h="38964" extrusionOk="0">
                  <a:moveTo>
                    <a:pt x="6513" y="1"/>
                  </a:moveTo>
                  <a:cubicBezTo>
                    <a:pt x="5990" y="1"/>
                    <a:pt x="5390" y="129"/>
                    <a:pt x="4860" y="566"/>
                  </a:cubicBezTo>
                  <a:cubicBezTo>
                    <a:pt x="3576" y="1626"/>
                    <a:pt x="3036" y="4320"/>
                    <a:pt x="3266" y="5645"/>
                  </a:cubicBezTo>
                  <a:cubicBezTo>
                    <a:pt x="3647" y="7855"/>
                    <a:pt x="2853" y="10671"/>
                    <a:pt x="2593" y="12871"/>
                  </a:cubicBezTo>
                  <a:cubicBezTo>
                    <a:pt x="1722" y="20236"/>
                    <a:pt x="1019" y="30280"/>
                    <a:pt x="1" y="38964"/>
                  </a:cubicBezTo>
                  <a:lnTo>
                    <a:pt x="3158" y="38811"/>
                  </a:lnTo>
                  <a:cubicBezTo>
                    <a:pt x="3158" y="38811"/>
                    <a:pt x="7834" y="17761"/>
                    <a:pt x="8680" y="14390"/>
                  </a:cubicBezTo>
                  <a:cubicBezTo>
                    <a:pt x="9519" y="11012"/>
                    <a:pt x="11486" y="6755"/>
                    <a:pt x="10869" y="4284"/>
                  </a:cubicBezTo>
                  <a:lnTo>
                    <a:pt x="7844" y="260"/>
                  </a:lnTo>
                  <a:cubicBezTo>
                    <a:pt x="7844" y="260"/>
                    <a:pt x="7257" y="1"/>
                    <a:pt x="6513" y="1"/>
                  </a:cubicBezTo>
                  <a:close/>
                </a:path>
              </a:pathLst>
            </a:custGeom>
            <a:solidFill>
              <a:srgbClr val="6D9EE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7" name="Google Shape;408;p31"/>
            <p:cNvSpPr/>
            <p:nvPr/>
          </p:nvSpPr>
          <p:spPr>
            <a:xfrm>
              <a:off x="3655775" y="2105900"/>
              <a:ext cx="297450" cy="988125"/>
            </a:xfrm>
            <a:custGeom>
              <a:avLst/>
              <a:gdLst/>
              <a:ahLst/>
              <a:cxnLst/>
              <a:rect l="l" t="t" r="r" b="b"/>
              <a:pathLst>
                <a:path w="11898" h="39525" extrusionOk="0">
                  <a:moveTo>
                    <a:pt x="6825" y="1"/>
                  </a:moveTo>
                  <a:cubicBezTo>
                    <a:pt x="6251" y="1"/>
                    <a:pt x="5587" y="144"/>
                    <a:pt x="4996" y="634"/>
                  </a:cubicBezTo>
                  <a:cubicBezTo>
                    <a:pt x="3621" y="1770"/>
                    <a:pt x="3071" y="4591"/>
                    <a:pt x="3306" y="5966"/>
                  </a:cubicBezTo>
                  <a:cubicBezTo>
                    <a:pt x="3570" y="7499"/>
                    <a:pt x="3254" y="9327"/>
                    <a:pt x="2949" y="11095"/>
                  </a:cubicBezTo>
                  <a:cubicBezTo>
                    <a:pt x="2822" y="11808"/>
                    <a:pt x="2709" y="12480"/>
                    <a:pt x="2633" y="13112"/>
                  </a:cubicBezTo>
                  <a:cubicBezTo>
                    <a:pt x="2210" y="16666"/>
                    <a:pt x="1834" y="20808"/>
                    <a:pt x="1437" y="25188"/>
                  </a:cubicBezTo>
                  <a:cubicBezTo>
                    <a:pt x="1009" y="29873"/>
                    <a:pt x="565" y="34712"/>
                    <a:pt x="36" y="39204"/>
                  </a:cubicBezTo>
                  <a:lnTo>
                    <a:pt x="0" y="39525"/>
                  </a:lnTo>
                  <a:lnTo>
                    <a:pt x="0" y="39525"/>
                  </a:lnTo>
                  <a:lnTo>
                    <a:pt x="3692" y="39352"/>
                  </a:lnTo>
                  <a:lnTo>
                    <a:pt x="3733" y="39148"/>
                  </a:lnTo>
                  <a:cubicBezTo>
                    <a:pt x="3784" y="38939"/>
                    <a:pt x="8419" y="18062"/>
                    <a:pt x="9254" y="14732"/>
                  </a:cubicBezTo>
                  <a:cubicBezTo>
                    <a:pt x="9498" y="13744"/>
                    <a:pt x="9850" y="12654"/>
                    <a:pt x="10191" y="11599"/>
                  </a:cubicBezTo>
                  <a:cubicBezTo>
                    <a:pt x="11032" y="9001"/>
                    <a:pt x="11898" y="6312"/>
                    <a:pt x="11444" y="4494"/>
                  </a:cubicBezTo>
                  <a:lnTo>
                    <a:pt x="11444" y="4494"/>
                  </a:lnTo>
                  <a:lnTo>
                    <a:pt x="10915" y="4626"/>
                  </a:lnTo>
                  <a:cubicBezTo>
                    <a:pt x="11327" y="6292"/>
                    <a:pt x="10487" y="8905"/>
                    <a:pt x="9672" y="11431"/>
                  </a:cubicBezTo>
                  <a:cubicBezTo>
                    <a:pt x="9326" y="12496"/>
                    <a:pt x="8974" y="13596"/>
                    <a:pt x="8719" y="14599"/>
                  </a:cubicBezTo>
                  <a:cubicBezTo>
                    <a:pt x="7935" y="17757"/>
                    <a:pt x="3733" y="36642"/>
                    <a:pt x="3249" y="38827"/>
                  </a:cubicBezTo>
                  <a:lnTo>
                    <a:pt x="616" y="38949"/>
                  </a:lnTo>
                  <a:cubicBezTo>
                    <a:pt x="1131" y="34543"/>
                    <a:pt x="1564" y="29812"/>
                    <a:pt x="1981" y="25239"/>
                  </a:cubicBezTo>
                  <a:cubicBezTo>
                    <a:pt x="2378" y="20864"/>
                    <a:pt x="2756" y="16728"/>
                    <a:pt x="3172" y="13178"/>
                  </a:cubicBezTo>
                  <a:cubicBezTo>
                    <a:pt x="3249" y="12557"/>
                    <a:pt x="3362" y="11894"/>
                    <a:pt x="3484" y="11187"/>
                  </a:cubicBezTo>
                  <a:cubicBezTo>
                    <a:pt x="3799" y="9374"/>
                    <a:pt x="4126" y="7499"/>
                    <a:pt x="3845" y="5869"/>
                  </a:cubicBezTo>
                  <a:cubicBezTo>
                    <a:pt x="3626" y="4612"/>
                    <a:pt x="4161" y="2034"/>
                    <a:pt x="5342" y="1051"/>
                  </a:cubicBezTo>
                  <a:cubicBezTo>
                    <a:pt x="5811" y="667"/>
                    <a:pt x="6351" y="554"/>
                    <a:pt x="6824" y="554"/>
                  </a:cubicBezTo>
                  <a:cubicBezTo>
                    <a:pt x="7498" y="554"/>
                    <a:pt x="8038" y="783"/>
                    <a:pt x="8047" y="787"/>
                  </a:cubicBezTo>
                  <a:lnTo>
                    <a:pt x="8266" y="287"/>
                  </a:lnTo>
                  <a:cubicBezTo>
                    <a:pt x="8222" y="267"/>
                    <a:pt x="7606" y="1"/>
                    <a:pt x="6825"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8" name="Google Shape;409;p31"/>
            <p:cNvSpPr/>
            <p:nvPr/>
          </p:nvSpPr>
          <p:spPr>
            <a:xfrm>
              <a:off x="3548425" y="3156275"/>
              <a:ext cx="55800" cy="52625"/>
            </a:xfrm>
            <a:custGeom>
              <a:avLst/>
              <a:gdLst/>
              <a:ahLst/>
              <a:cxnLst/>
              <a:rect l="l" t="t" r="r" b="b"/>
              <a:pathLst>
                <a:path w="2232" h="2105" extrusionOk="0">
                  <a:moveTo>
                    <a:pt x="2231" y="1"/>
                  </a:moveTo>
                  <a:cubicBezTo>
                    <a:pt x="2231" y="1"/>
                    <a:pt x="132" y="1432"/>
                    <a:pt x="0" y="2104"/>
                  </a:cubicBezTo>
                  <a:lnTo>
                    <a:pt x="2231" y="1"/>
                  </a:lnTo>
                  <a:close/>
                </a:path>
              </a:pathLst>
            </a:custGeom>
            <a:solidFill>
              <a:srgbClr val="D2D7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19" name="Google Shape;410;p31"/>
            <p:cNvSpPr/>
            <p:nvPr/>
          </p:nvSpPr>
          <p:spPr>
            <a:xfrm>
              <a:off x="3540900" y="3149450"/>
              <a:ext cx="71075" cy="66325"/>
            </a:xfrm>
            <a:custGeom>
              <a:avLst/>
              <a:gdLst/>
              <a:ahLst/>
              <a:cxnLst/>
              <a:rect l="l" t="t" r="r" b="b"/>
              <a:pathLst>
                <a:path w="2843" h="2653" extrusionOk="0">
                  <a:moveTo>
                    <a:pt x="2536" y="0"/>
                  </a:moveTo>
                  <a:cubicBezTo>
                    <a:pt x="2482" y="0"/>
                    <a:pt x="2428" y="16"/>
                    <a:pt x="2379" y="49"/>
                  </a:cubicBezTo>
                  <a:cubicBezTo>
                    <a:pt x="2013" y="299"/>
                    <a:pt x="179" y="1583"/>
                    <a:pt x="31" y="2326"/>
                  </a:cubicBezTo>
                  <a:cubicBezTo>
                    <a:pt x="1" y="2474"/>
                    <a:pt x="97" y="2616"/>
                    <a:pt x="245" y="2646"/>
                  </a:cubicBezTo>
                  <a:cubicBezTo>
                    <a:pt x="266" y="2652"/>
                    <a:pt x="280" y="2652"/>
                    <a:pt x="301" y="2652"/>
                  </a:cubicBezTo>
                  <a:cubicBezTo>
                    <a:pt x="428" y="2652"/>
                    <a:pt x="541" y="2561"/>
                    <a:pt x="566" y="2432"/>
                  </a:cubicBezTo>
                  <a:cubicBezTo>
                    <a:pt x="637" y="2086"/>
                    <a:pt x="1723" y="1160"/>
                    <a:pt x="2690" y="497"/>
                  </a:cubicBezTo>
                  <a:cubicBezTo>
                    <a:pt x="2812" y="415"/>
                    <a:pt x="2843" y="243"/>
                    <a:pt x="2762" y="121"/>
                  </a:cubicBezTo>
                  <a:cubicBezTo>
                    <a:pt x="2708" y="42"/>
                    <a:pt x="2623" y="0"/>
                    <a:pt x="2536"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0" name="Google Shape;411;p31"/>
            <p:cNvSpPr/>
            <p:nvPr/>
          </p:nvSpPr>
          <p:spPr>
            <a:xfrm>
              <a:off x="3578225" y="3154750"/>
              <a:ext cx="59350" cy="69425"/>
            </a:xfrm>
            <a:custGeom>
              <a:avLst/>
              <a:gdLst/>
              <a:ahLst/>
              <a:cxnLst/>
              <a:rect l="l" t="t" r="r" b="b"/>
              <a:pathLst>
                <a:path w="2374" h="2777" extrusionOk="0">
                  <a:moveTo>
                    <a:pt x="2374" y="1"/>
                  </a:moveTo>
                  <a:cubicBezTo>
                    <a:pt x="2373" y="1"/>
                    <a:pt x="453" y="1757"/>
                    <a:pt x="0" y="2777"/>
                  </a:cubicBezTo>
                  <a:lnTo>
                    <a:pt x="2374" y="1"/>
                  </a:lnTo>
                  <a:close/>
                </a:path>
              </a:pathLst>
            </a:custGeom>
            <a:solidFill>
              <a:srgbClr val="D2D7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1" name="Google Shape;412;p31"/>
            <p:cNvSpPr/>
            <p:nvPr/>
          </p:nvSpPr>
          <p:spPr>
            <a:xfrm>
              <a:off x="3570450" y="3147900"/>
              <a:ext cx="74650" cy="83150"/>
            </a:xfrm>
            <a:custGeom>
              <a:avLst/>
              <a:gdLst/>
              <a:ahLst/>
              <a:cxnLst/>
              <a:rect l="l" t="t" r="r" b="b"/>
              <a:pathLst>
                <a:path w="2986" h="3326" extrusionOk="0">
                  <a:moveTo>
                    <a:pt x="2678" y="0"/>
                  </a:moveTo>
                  <a:cubicBezTo>
                    <a:pt x="2613" y="0"/>
                    <a:pt x="2548" y="23"/>
                    <a:pt x="2497" y="70"/>
                  </a:cubicBezTo>
                  <a:cubicBezTo>
                    <a:pt x="2420" y="147"/>
                    <a:pt x="535" y="1878"/>
                    <a:pt x="62" y="2943"/>
                  </a:cubicBezTo>
                  <a:cubicBezTo>
                    <a:pt x="1" y="3081"/>
                    <a:pt x="67" y="3239"/>
                    <a:pt x="205" y="3300"/>
                  </a:cubicBezTo>
                  <a:cubicBezTo>
                    <a:pt x="240" y="3315"/>
                    <a:pt x="276" y="3326"/>
                    <a:pt x="311" y="3326"/>
                  </a:cubicBezTo>
                  <a:cubicBezTo>
                    <a:pt x="419" y="3326"/>
                    <a:pt x="520" y="3264"/>
                    <a:pt x="565" y="3162"/>
                  </a:cubicBezTo>
                  <a:cubicBezTo>
                    <a:pt x="988" y="2205"/>
                    <a:pt x="2847" y="493"/>
                    <a:pt x="2868" y="473"/>
                  </a:cubicBezTo>
                  <a:cubicBezTo>
                    <a:pt x="2979" y="371"/>
                    <a:pt x="2986" y="198"/>
                    <a:pt x="2883" y="91"/>
                  </a:cubicBezTo>
                  <a:cubicBezTo>
                    <a:pt x="2829" y="31"/>
                    <a:pt x="2753" y="0"/>
                    <a:pt x="2678"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2" name="Google Shape;413;p31"/>
            <p:cNvSpPr/>
            <p:nvPr/>
          </p:nvSpPr>
          <p:spPr>
            <a:xfrm>
              <a:off x="3604200" y="3100000"/>
              <a:ext cx="137275" cy="143775"/>
            </a:xfrm>
            <a:custGeom>
              <a:avLst/>
              <a:gdLst/>
              <a:ahLst/>
              <a:cxnLst/>
              <a:rect l="l" t="t" r="r" b="b"/>
              <a:pathLst>
                <a:path w="5491" h="5751" extrusionOk="0">
                  <a:moveTo>
                    <a:pt x="5399" y="0"/>
                  </a:moveTo>
                  <a:lnTo>
                    <a:pt x="2777" y="2792"/>
                  </a:lnTo>
                  <a:lnTo>
                    <a:pt x="2777" y="2792"/>
                  </a:lnTo>
                  <a:cubicBezTo>
                    <a:pt x="3047" y="2596"/>
                    <a:pt x="3298" y="2459"/>
                    <a:pt x="3509" y="2419"/>
                  </a:cubicBezTo>
                  <a:cubicBezTo>
                    <a:pt x="3629" y="2397"/>
                    <a:pt x="3725" y="2386"/>
                    <a:pt x="3803" y="2386"/>
                  </a:cubicBezTo>
                  <a:cubicBezTo>
                    <a:pt x="4481" y="2386"/>
                    <a:pt x="3731" y="3213"/>
                    <a:pt x="3937" y="4401"/>
                  </a:cubicBezTo>
                  <a:cubicBezTo>
                    <a:pt x="4012" y="4833"/>
                    <a:pt x="4146" y="5013"/>
                    <a:pt x="4302" y="5013"/>
                  </a:cubicBezTo>
                  <a:cubicBezTo>
                    <a:pt x="4623" y="5013"/>
                    <a:pt x="5039" y="4246"/>
                    <a:pt x="5221" y="3341"/>
                  </a:cubicBezTo>
                  <a:cubicBezTo>
                    <a:pt x="5491" y="1991"/>
                    <a:pt x="5261" y="672"/>
                    <a:pt x="5399" y="0"/>
                  </a:cubicBezTo>
                  <a:close/>
                  <a:moveTo>
                    <a:pt x="2777" y="2792"/>
                  </a:moveTo>
                  <a:cubicBezTo>
                    <a:pt x="1572" y="3671"/>
                    <a:pt x="0" y="5750"/>
                    <a:pt x="0" y="5750"/>
                  </a:cubicBezTo>
                  <a:lnTo>
                    <a:pt x="2777" y="2792"/>
                  </a:lnTo>
                  <a:close/>
                </a:path>
              </a:pathLst>
            </a:custGeom>
            <a:solidFill>
              <a:srgbClr val="6D9EE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3" name="Google Shape;414;p31"/>
            <p:cNvSpPr/>
            <p:nvPr/>
          </p:nvSpPr>
          <p:spPr>
            <a:xfrm>
              <a:off x="3596425" y="3093100"/>
              <a:ext cx="150125" cy="157550"/>
            </a:xfrm>
            <a:custGeom>
              <a:avLst/>
              <a:gdLst/>
              <a:ahLst/>
              <a:cxnLst/>
              <a:rect l="l" t="t" r="r" b="b"/>
              <a:pathLst>
                <a:path w="6005" h="6302" extrusionOk="0">
                  <a:moveTo>
                    <a:pt x="5706" y="0"/>
                  </a:moveTo>
                  <a:cubicBezTo>
                    <a:pt x="5580" y="0"/>
                    <a:pt x="5467" y="90"/>
                    <a:pt x="5440" y="220"/>
                  </a:cubicBezTo>
                  <a:cubicBezTo>
                    <a:pt x="5379" y="525"/>
                    <a:pt x="5384" y="934"/>
                    <a:pt x="5394" y="1407"/>
                  </a:cubicBezTo>
                  <a:cubicBezTo>
                    <a:pt x="5405" y="2028"/>
                    <a:pt x="5414" y="2803"/>
                    <a:pt x="5262" y="3562"/>
                  </a:cubicBezTo>
                  <a:cubicBezTo>
                    <a:pt x="5088" y="4437"/>
                    <a:pt x="4737" y="4972"/>
                    <a:pt x="4650" y="5029"/>
                  </a:cubicBezTo>
                  <a:cubicBezTo>
                    <a:pt x="4650" y="5029"/>
                    <a:pt x="4575" y="4961"/>
                    <a:pt x="4518" y="4631"/>
                  </a:cubicBezTo>
                  <a:cubicBezTo>
                    <a:pt x="4432" y="4142"/>
                    <a:pt x="4528" y="3724"/>
                    <a:pt x="4605" y="3383"/>
                  </a:cubicBezTo>
                  <a:cubicBezTo>
                    <a:pt x="4681" y="3042"/>
                    <a:pt x="4747" y="2746"/>
                    <a:pt x="4544" y="2542"/>
                  </a:cubicBezTo>
                  <a:cubicBezTo>
                    <a:pt x="4430" y="2426"/>
                    <a:pt x="4274" y="2389"/>
                    <a:pt x="4106" y="2389"/>
                  </a:cubicBezTo>
                  <a:cubicBezTo>
                    <a:pt x="3996" y="2389"/>
                    <a:pt x="3880" y="2405"/>
                    <a:pt x="3769" y="2425"/>
                  </a:cubicBezTo>
                  <a:cubicBezTo>
                    <a:pt x="2547" y="2660"/>
                    <a:pt x="342" y="5537"/>
                    <a:pt x="92" y="5863"/>
                  </a:cubicBezTo>
                  <a:cubicBezTo>
                    <a:pt x="1" y="5986"/>
                    <a:pt x="26" y="6153"/>
                    <a:pt x="148" y="6245"/>
                  </a:cubicBezTo>
                  <a:cubicBezTo>
                    <a:pt x="194" y="6282"/>
                    <a:pt x="255" y="6301"/>
                    <a:pt x="311" y="6301"/>
                  </a:cubicBezTo>
                  <a:cubicBezTo>
                    <a:pt x="393" y="6301"/>
                    <a:pt x="474" y="6266"/>
                    <a:pt x="530" y="6195"/>
                  </a:cubicBezTo>
                  <a:cubicBezTo>
                    <a:pt x="1167" y="5349"/>
                    <a:pt x="3010" y="3128"/>
                    <a:pt x="3872" y="2965"/>
                  </a:cubicBezTo>
                  <a:cubicBezTo>
                    <a:pt x="4009" y="2940"/>
                    <a:pt x="4086" y="2935"/>
                    <a:pt x="4131" y="2935"/>
                  </a:cubicBezTo>
                  <a:cubicBezTo>
                    <a:pt x="4126" y="3017"/>
                    <a:pt x="4095" y="3154"/>
                    <a:pt x="4070" y="3266"/>
                  </a:cubicBezTo>
                  <a:cubicBezTo>
                    <a:pt x="3988" y="3628"/>
                    <a:pt x="3877" y="4131"/>
                    <a:pt x="3978" y="4723"/>
                  </a:cubicBezTo>
                  <a:cubicBezTo>
                    <a:pt x="4075" y="5273"/>
                    <a:pt x="4284" y="5558"/>
                    <a:pt x="4605" y="5563"/>
                  </a:cubicBezTo>
                  <a:cubicBezTo>
                    <a:pt x="4608" y="5563"/>
                    <a:pt x="4610" y="5563"/>
                    <a:pt x="4612" y="5563"/>
                  </a:cubicBezTo>
                  <a:cubicBezTo>
                    <a:pt x="5234" y="5563"/>
                    <a:pt x="5669" y="4323"/>
                    <a:pt x="5802" y="3668"/>
                  </a:cubicBezTo>
                  <a:cubicBezTo>
                    <a:pt x="5964" y="2853"/>
                    <a:pt x="5950" y="2044"/>
                    <a:pt x="5939" y="1397"/>
                  </a:cubicBezTo>
                  <a:cubicBezTo>
                    <a:pt x="5934" y="958"/>
                    <a:pt x="5924" y="577"/>
                    <a:pt x="5974" y="327"/>
                  </a:cubicBezTo>
                  <a:cubicBezTo>
                    <a:pt x="6005" y="180"/>
                    <a:pt x="5908" y="37"/>
                    <a:pt x="5760" y="6"/>
                  </a:cubicBezTo>
                  <a:cubicBezTo>
                    <a:pt x="5742" y="2"/>
                    <a:pt x="5724" y="0"/>
                    <a:pt x="5706"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4" name="Google Shape;415;p31"/>
            <p:cNvSpPr/>
            <p:nvPr/>
          </p:nvSpPr>
          <p:spPr>
            <a:xfrm>
              <a:off x="3933450" y="2771600"/>
              <a:ext cx="52750" cy="119200"/>
            </a:xfrm>
            <a:custGeom>
              <a:avLst/>
              <a:gdLst/>
              <a:ahLst/>
              <a:cxnLst/>
              <a:rect l="l" t="t" r="r" b="b"/>
              <a:pathLst>
                <a:path w="2110" h="4768" extrusionOk="0">
                  <a:moveTo>
                    <a:pt x="2110" y="1"/>
                  </a:moveTo>
                  <a:lnTo>
                    <a:pt x="1" y="4768"/>
                  </a:lnTo>
                  <a:cubicBezTo>
                    <a:pt x="2089" y="3169"/>
                    <a:pt x="2110" y="1"/>
                    <a:pt x="2110" y="1"/>
                  </a:cubicBezTo>
                  <a:close/>
                </a:path>
              </a:pathLst>
            </a:custGeom>
            <a:solidFill>
              <a:srgbClr val="D2D7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5" name="Google Shape;416;p31"/>
            <p:cNvSpPr/>
            <p:nvPr/>
          </p:nvSpPr>
          <p:spPr>
            <a:xfrm>
              <a:off x="3925700" y="2764850"/>
              <a:ext cx="67375" cy="132825"/>
            </a:xfrm>
            <a:custGeom>
              <a:avLst/>
              <a:gdLst/>
              <a:ahLst/>
              <a:cxnLst/>
              <a:rect l="l" t="t" r="r" b="b"/>
              <a:pathLst>
                <a:path w="2695" h="5313" extrusionOk="0">
                  <a:moveTo>
                    <a:pt x="2420" y="1"/>
                  </a:moveTo>
                  <a:cubicBezTo>
                    <a:pt x="2267" y="1"/>
                    <a:pt x="2144" y="123"/>
                    <a:pt x="2144" y="271"/>
                  </a:cubicBezTo>
                  <a:cubicBezTo>
                    <a:pt x="2144" y="301"/>
                    <a:pt x="2104" y="3327"/>
                    <a:pt x="143" y="4819"/>
                  </a:cubicBezTo>
                  <a:cubicBezTo>
                    <a:pt x="26" y="4911"/>
                    <a:pt x="0" y="5084"/>
                    <a:pt x="92" y="5207"/>
                  </a:cubicBezTo>
                  <a:cubicBezTo>
                    <a:pt x="148" y="5277"/>
                    <a:pt x="229" y="5313"/>
                    <a:pt x="311" y="5313"/>
                  </a:cubicBezTo>
                  <a:cubicBezTo>
                    <a:pt x="367" y="5313"/>
                    <a:pt x="428" y="5293"/>
                    <a:pt x="474" y="5257"/>
                  </a:cubicBezTo>
                  <a:cubicBezTo>
                    <a:pt x="2649" y="3597"/>
                    <a:pt x="2690" y="409"/>
                    <a:pt x="2695" y="276"/>
                  </a:cubicBezTo>
                  <a:cubicBezTo>
                    <a:pt x="2695" y="123"/>
                    <a:pt x="2572" y="1"/>
                    <a:pt x="2420"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6" name="Google Shape;417;p31"/>
            <p:cNvSpPr/>
            <p:nvPr/>
          </p:nvSpPr>
          <p:spPr>
            <a:xfrm>
              <a:off x="3410525" y="1579450"/>
              <a:ext cx="297700" cy="212900"/>
            </a:xfrm>
            <a:custGeom>
              <a:avLst/>
              <a:gdLst/>
              <a:ahLst/>
              <a:cxnLst/>
              <a:rect l="l" t="t" r="r" b="b"/>
              <a:pathLst>
                <a:path w="11908" h="8516" extrusionOk="0">
                  <a:moveTo>
                    <a:pt x="11872" y="0"/>
                  </a:moveTo>
                  <a:cubicBezTo>
                    <a:pt x="11837" y="5"/>
                    <a:pt x="8532" y="473"/>
                    <a:pt x="7065" y="3376"/>
                  </a:cubicBezTo>
                  <a:cubicBezTo>
                    <a:pt x="6790" y="3912"/>
                    <a:pt x="6637" y="4538"/>
                    <a:pt x="6489" y="5144"/>
                  </a:cubicBezTo>
                  <a:cubicBezTo>
                    <a:pt x="6280" y="5990"/>
                    <a:pt x="6066" y="6860"/>
                    <a:pt x="5526" y="7502"/>
                  </a:cubicBezTo>
                  <a:cubicBezTo>
                    <a:pt x="5065" y="8053"/>
                    <a:pt x="4412" y="8249"/>
                    <a:pt x="3718" y="8249"/>
                  </a:cubicBezTo>
                  <a:cubicBezTo>
                    <a:pt x="2167" y="8249"/>
                    <a:pt x="412" y="7273"/>
                    <a:pt x="138" y="7116"/>
                  </a:cubicBezTo>
                  <a:lnTo>
                    <a:pt x="1" y="7354"/>
                  </a:lnTo>
                  <a:cubicBezTo>
                    <a:pt x="1116" y="7996"/>
                    <a:pt x="2501" y="8515"/>
                    <a:pt x="3699" y="8515"/>
                  </a:cubicBezTo>
                  <a:cubicBezTo>
                    <a:pt x="4508" y="8515"/>
                    <a:pt x="5236" y="8277"/>
                    <a:pt x="5735" y="7680"/>
                  </a:cubicBezTo>
                  <a:cubicBezTo>
                    <a:pt x="6316" y="6987"/>
                    <a:pt x="6541" y="6081"/>
                    <a:pt x="6754" y="5205"/>
                  </a:cubicBezTo>
                  <a:cubicBezTo>
                    <a:pt x="6907" y="4589"/>
                    <a:pt x="7049" y="4008"/>
                    <a:pt x="7305" y="3503"/>
                  </a:cubicBezTo>
                  <a:cubicBezTo>
                    <a:pt x="8710" y="729"/>
                    <a:pt x="11877" y="275"/>
                    <a:pt x="11908" y="270"/>
                  </a:cubicBezTo>
                  <a:lnTo>
                    <a:pt x="11872" y="0"/>
                  </a:ln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7" name="Google Shape;418;p31"/>
            <p:cNvSpPr/>
            <p:nvPr/>
          </p:nvSpPr>
          <p:spPr>
            <a:xfrm>
              <a:off x="3117775" y="1735350"/>
              <a:ext cx="699350" cy="534475"/>
            </a:xfrm>
            <a:custGeom>
              <a:avLst/>
              <a:gdLst/>
              <a:ahLst/>
              <a:cxnLst/>
              <a:rect l="l" t="t" r="r" b="b"/>
              <a:pathLst>
                <a:path w="27974" h="21379" extrusionOk="0">
                  <a:moveTo>
                    <a:pt x="27784" y="1"/>
                  </a:moveTo>
                  <a:cubicBezTo>
                    <a:pt x="26989" y="1"/>
                    <a:pt x="23990" y="90"/>
                    <a:pt x="23068" y="1362"/>
                  </a:cubicBezTo>
                  <a:cubicBezTo>
                    <a:pt x="22574" y="2046"/>
                    <a:pt x="22767" y="3431"/>
                    <a:pt x="22992" y="5036"/>
                  </a:cubicBezTo>
                  <a:cubicBezTo>
                    <a:pt x="23237" y="6761"/>
                    <a:pt x="23507" y="8722"/>
                    <a:pt x="22788" y="9731"/>
                  </a:cubicBezTo>
                  <a:cubicBezTo>
                    <a:pt x="22496" y="10139"/>
                    <a:pt x="22052" y="10288"/>
                    <a:pt x="21503" y="10288"/>
                  </a:cubicBezTo>
                  <a:cubicBezTo>
                    <a:pt x="20827" y="10288"/>
                    <a:pt x="19993" y="10062"/>
                    <a:pt x="19090" y="9817"/>
                  </a:cubicBezTo>
                  <a:cubicBezTo>
                    <a:pt x="18039" y="9532"/>
                    <a:pt x="16897" y="9220"/>
                    <a:pt x="15807" y="9220"/>
                  </a:cubicBezTo>
                  <a:cubicBezTo>
                    <a:pt x="15208" y="9220"/>
                    <a:pt x="14624" y="9314"/>
                    <a:pt x="14079" y="9558"/>
                  </a:cubicBezTo>
                  <a:cubicBezTo>
                    <a:pt x="12505" y="10261"/>
                    <a:pt x="11787" y="12130"/>
                    <a:pt x="11023" y="14105"/>
                  </a:cubicBezTo>
                  <a:cubicBezTo>
                    <a:pt x="10280" y="16046"/>
                    <a:pt x="9434" y="18242"/>
                    <a:pt x="7651" y="19714"/>
                  </a:cubicBezTo>
                  <a:cubicBezTo>
                    <a:pt x="6373" y="20771"/>
                    <a:pt x="5036" y="21108"/>
                    <a:pt x="3851" y="21108"/>
                  </a:cubicBezTo>
                  <a:cubicBezTo>
                    <a:pt x="1782" y="21108"/>
                    <a:pt x="175" y="20081"/>
                    <a:pt x="149" y="20064"/>
                  </a:cubicBezTo>
                  <a:lnTo>
                    <a:pt x="1" y="20294"/>
                  </a:lnTo>
                  <a:cubicBezTo>
                    <a:pt x="26" y="20309"/>
                    <a:pt x="1697" y="21378"/>
                    <a:pt x="3857" y="21378"/>
                  </a:cubicBezTo>
                  <a:cubicBezTo>
                    <a:pt x="5094" y="21378"/>
                    <a:pt x="6490" y="21028"/>
                    <a:pt x="7824" y="19927"/>
                  </a:cubicBezTo>
                  <a:cubicBezTo>
                    <a:pt x="9663" y="18409"/>
                    <a:pt x="10524" y="16174"/>
                    <a:pt x="11283" y="14203"/>
                  </a:cubicBezTo>
                  <a:cubicBezTo>
                    <a:pt x="12052" y="12196"/>
                    <a:pt x="12719" y="10464"/>
                    <a:pt x="14191" y="9808"/>
                  </a:cubicBezTo>
                  <a:cubicBezTo>
                    <a:pt x="14696" y="9582"/>
                    <a:pt x="15243" y="9495"/>
                    <a:pt x="15809" y="9495"/>
                  </a:cubicBezTo>
                  <a:cubicBezTo>
                    <a:pt x="16866" y="9495"/>
                    <a:pt x="17988" y="9799"/>
                    <a:pt x="19019" y="10078"/>
                  </a:cubicBezTo>
                  <a:cubicBezTo>
                    <a:pt x="19944" y="10330"/>
                    <a:pt x="20802" y="10564"/>
                    <a:pt x="21517" y="10564"/>
                  </a:cubicBezTo>
                  <a:cubicBezTo>
                    <a:pt x="22141" y="10564"/>
                    <a:pt x="22656" y="10386"/>
                    <a:pt x="23012" y="9888"/>
                  </a:cubicBezTo>
                  <a:cubicBezTo>
                    <a:pt x="23796" y="8788"/>
                    <a:pt x="23521" y="6863"/>
                    <a:pt x="23262" y="4999"/>
                  </a:cubicBezTo>
                  <a:cubicBezTo>
                    <a:pt x="23053" y="3517"/>
                    <a:pt x="22859" y="2117"/>
                    <a:pt x="23293" y="1521"/>
                  </a:cubicBezTo>
                  <a:cubicBezTo>
                    <a:pt x="24250" y="201"/>
                    <a:pt x="27932" y="278"/>
                    <a:pt x="27968" y="273"/>
                  </a:cubicBezTo>
                  <a:lnTo>
                    <a:pt x="27973" y="3"/>
                  </a:lnTo>
                  <a:cubicBezTo>
                    <a:pt x="27955" y="3"/>
                    <a:pt x="27889" y="1"/>
                    <a:pt x="27784" y="1"/>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8" name="Google Shape;419;p31"/>
            <p:cNvSpPr/>
            <p:nvPr/>
          </p:nvSpPr>
          <p:spPr>
            <a:xfrm>
              <a:off x="3026250" y="1638975"/>
              <a:ext cx="869425" cy="482275"/>
            </a:xfrm>
            <a:custGeom>
              <a:avLst/>
              <a:gdLst/>
              <a:ahLst/>
              <a:cxnLst/>
              <a:rect l="l" t="t" r="r" b="b"/>
              <a:pathLst>
                <a:path w="34777" h="19291" extrusionOk="0">
                  <a:moveTo>
                    <a:pt x="28912" y="0"/>
                  </a:moveTo>
                  <a:cubicBezTo>
                    <a:pt x="28517" y="0"/>
                    <a:pt x="28109" y="66"/>
                    <a:pt x="27702" y="201"/>
                  </a:cubicBezTo>
                  <a:cubicBezTo>
                    <a:pt x="26428" y="624"/>
                    <a:pt x="25415" y="1632"/>
                    <a:pt x="24987" y="2906"/>
                  </a:cubicBezTo>
                  <a:cubicBezTo>
                    <a:pt x="24667" y="3863"/>
                    <a:pt x="24646" y="4907"/>
                    <a:pt x="24631" y="5910"/>
                  </a:cubicBezTo>
                  <a:cubicBezTo>
                    <a:pt x="24601" y="7515"/>
                    <a:pt x="24580" y="8905"/>
                    <a:pt x="23348" y="9511"/>
                  </a:cubicBezTo>
                  <a:cubicBezTo>
                    <a:pt x="23097" y="9636"/>
                    <a:pt x="22818" y="9690"/>
                    <a:pt x="22511" y="9690"/>
                  </a:cubicBezTo>
                  <a:cubicBezTo>
                    <a:pt x="21699" y="9690"/>
                    <a:pt x="20695" y="9311"/>
                    <a:pt x="19512" y="8860"/>
                  </a:cubicBezTo>
                  <a:cubicBezTo>
                    <a:pt x="17897" y="8248"/>
                    <a:pt x="15945" y="7508"/>
                    <a:pt x="13744" y="7508"/>
                  </a:cubicBezTo>
                  <a:cubicBezTo>
                    <a:pt x="13344" y="7508"/>
                    <a:pt x="12935" y="7532"/>
                    <a:pt x="12519" y="7586"/>
                  </a:cubicBezTo>
                  <a:cubicBezTo>
                    <a:pt x="8134" y="8146"/>
                    <a:pt x="7141" y="10877"/>
                    <a:pt x="6183" y="13520"/>
                  </a:cubicBezTo>
                  <a:cubicBezTo>
                    <a:pt x="6040" y="13922"/>
                    <a:pt x="5893" y="14324"/>
                    <a:pt x="5735" y="14721"/>
                  </a:cubicBezTo>
                  <a:cubicBezTo>
                    <a:pt x="4874" y="16871"/>
                    <a:pt x="3015" y="18792"/>
                    <a:pt x="1584" y="18995"/>
                  </a:cubicBezTo>
                  <a:cubicBezTo>
                    <a:pt x="1495" y="19007"/>
                    <a:pt x="1409" y="19014"/>
                    <a:pt x="1325" y="19014"/>
                  </a:cubicBezTo>
                  <a:cubicBezTo>
                    <a:pt x="878" y="19014"/>
                    <a:pt x="506" y="18829"/>
                    <a:pt x="215" y="18460"/>
                  </a:cubicBezTo>
                  <a:lnTo>
                    <a:pt x="1" y="18628"/>
                  </a:lnTo>
                  <a:cubicBezTo>
                    <a:pt x="342" y="19067"/>
                    <a:pt x="800" y="19290"/>
                    <a:pt x="1329" y="19290"/>
                  </a:cubicBezTo>
                  <a:cubicBezTo>
                    <a:pt x="1426" y="19290"/>
                    <a:pt x="1523" y="19281"/>
                    <a:pt x="1620" y="19265"/>
                  </a:cubicBezTo>
                  <a:cubicBezTo>
                    <a:pt x="3163" y="19046"/>
                    <a:pt x="5083" y="17090"/>
                    <a:pt x="5990" y="14824"/>
                  </a:cubicBezTo>
                  <a:cubicBezTo>
                    <a:pt x="6148" y="14422"/>
                    <a:pt x="6296" y="14018"/>
                    <a:pt x="6443" y="13611"/>
                  </a:cubicBezTo>
                  <a:cubicBezTo>
                    <a:pt x="7416" y="10932"/>
                    <a:pt x="8332" y="8395"/>
                    <a:pt x="12554" y="7856"/>
                  </a:cubicBezTo>
                  <a:cubicBezTo>
                    <a:pt x="12954" y="7805"/>
                    <a:pt x="13348" y="7781"/>
                    <a:pt x="13733" y="7781"/>
                  </a:cubicBezTo>
                  <a:cubicBezTo>
                    <a:pt x="15892" y="7781"/>
                    <a:pt x="17816" y="8514"/>
                    <a:pt x="19415" y="9114"/>
                  </a:cubicBezTo>
                  <a:cubicBezTo>
                    <a:pt x="20623" y="9573"/>
                    <a:pt x="21650" y="9964"/>
                    <a:pt x="22513" y="9964"/>
                  </a:cubicBezTo>
                  <a:cubicBezTo>
                    <a:pt x="22858" y="9964"/>
                    <a:pt x="23176" y="9901"/>
                    <a:pt x="23470" y="9756"/>
                  </a:cubicBezTo>
                  <a:cubicBezTo>
                    <a:pt x="24850" y="9074"/>
                    <a:pt x="24876" y="7540"/>
                    <a:pt x="24900" y="5915"/>
                  </a:cubicBezTo>
                  <a:cubicBezTo>
                    <a:pt x="24921" y="4933"/>
                    <a:pt x="24937" y="3909"/>
                    <a:pt x="25242" y="2998"/>
                  </a:cubicBezTo>
                  <a:cubicBezTo>
                    <a:pt x="25645" y="1801"/>
                    <a:pt x="26597" y="854"/>
                    <a:pt x="27789" y="461"/>
                  </a:cubicBezTo>
                  <a:cubicBezTo>
                    <a:pt x="28166" y="337"/>
                    <a:pt x="28545" y="276"/>
                    <a:pt x="28913" y="276"/>
                  </a:cubicBezTo>
                  <a:cubicBezTo>
                    <a:pt x="29527" y="276"/>
                    <a:pt x="30108" y="447"/>
                    <a:pt x="30590" y="781"/>
                  </a:cubicBezTo>
                  <a:cubicBezTo>
                    <a:pt x="31302" y="1278"/>
                    <a:pt x="32071" y="1434"/>
                    <a:pt x="32753" y="1434"/>
                  </a:cubicBezTo>
                  <a:cubicBezTo>
                    <a:pt x="33848" y="1434"/>
                    <a:pt x="34720" y="1034"/>
                    <a:pt x="34777" y="1006"/>
                  </a:cubicBezTo>
                  <a:lnTo>
                    <a:pt x="34664" y="756"/>
                  </a:lnTo>
                  <a:cubicBezTo>
                    <a:pt x="34648" y="766"/>
                    <a:pt x="33802" y="1153"/>
                    <a:pt x="32749" y="1153"/>
                  </a:cubicBezTo>
                  <a:cubicBezTo>
                    <a:pt x="32112" y="1153"/>
                    <a:pt x="31399" y="1011"/>
                    <a:pt x="30748" y="558"/>
                  </a:cubicBezTo>
                  <a:cubicBezTo>
                    <a:pt x="30216" y="190"/>
                    <a:pt x="29582" y="0"/>
                    <a:pt x="28912" y="0"/>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9" name="Google Shape;420;p31"/>
            <p:cNvSpPr/>
            <p:nvPr/>
          </p:nvSpPr>
          <p:spPr>
            <a:xfrm>
              <a:off x="4749150" y="852150"/>
              <a:ext cx="200050" cy="309200"/>
            </a:xfrm>
            <a:custGeom>
              <a:avLst/>
              <a:gdLst/>
              <a:ahLst/>
              <a:cxnLst/>
              <a:rect l="l" t="t" r="r" b="b"/>
              <a:pathLst>
                <a:path w="8002" h="12368" extrusionOk="0">
                  <a:moveTo>
                    <a:pt x="1014" y="0"/>
                  </a:moveTo>
                  <a:lnTo>
                    <a:pt x="0" y="11042"/>
                  </a:lnTo>
                  <a:cubicBezTo>
                    <a:pt x="1101" y="12021"/>
                    <a:pt x="2456" y="12368"/>
                    <a:pt x="3734" y="12368"/>
                  </a:cubicBezTo>
                  <a:cubicBezTo>
                    <a:pt x="5938" y="12368"/>
                    <a:pt x="7910" y="11336"/>
                    <a:pt x="7946" y="10736"/>
                  </a:cubicBezTo>
                  <a:cubicBezTo>
                    <a:pt x="8002" y="9789"/>
                    <a:pt x="6926" y="7360"/>
                    <a:pt x="6926" y="7360"/>
                  </a:cubicBezTo>
                  <a:lnTo>
                    <a:pt x="6443" y="6397"/>
                  </a:lnTo>
                  <a:lnTo>
                    <a:pt x="7064" y="5592"/>
                  </a:lnTo>
                  <a:lnTo>
                    <a:pt x="6952" y="5083"/>
                  </a:lnTo>
                  <a:cubicBezTo>
                    <a:pt x="6865" y="4685"/>
                    <a:pt x="6285" y="4642"/>
                    <a:pt x="6034" y="4642"/>
                  </a:cubicBezTo>
                  <a:cubicBezTo>
                    <a:pt x="5963" y="4642"/>
                    <a:pt x="5918" y="4645"/>
                    <a:pt x="5918" y="4645"/>
                  </a:cubicBezTo>
                  <a:cubicBezTo>
                    <a:pt x="5918" y="4645"/>
                    <a:pt x="4166" y="3968"/>
                    <a:pt x="3021" y="1818"/>
                  </a:cubicBezTo>
                  <a:cubicBezTo>
                    <a:pt x="2445" y="748"/>
                    <a:pt x="1726" y="203"/>
                    <a:pt x="1014" y="0"/>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0" name="Google Shape;421;p31"/>
            <p:cNvSpPr/>
            <p:nvPr/>
          </p:nvSpPr>
          <p:spPr>
            <a:xfrm>
              <a:off x="4741500" y="845250"/>
              <a:ext cx="214575" cy="323075"/>
            </a:xfrm>
            <a:custGeom>
              <a:avLst/>
              <a:gdLst/>
              <a:ahLst/>
              <a:cxnLst/>
              <a:rect l="l" t="t" r="r" b="b"/>
              <a:pathLst>
                <a:path w="8583" h="12923" extrusionOk="0">
                  <a:moveTo>
                    <a:pt x="1316" y="1"/>
                  </a:moveTo>
                  <a:cubicBezTo>
                    <a:pt x="1199" y="1"/>
                    <a:pt x="1089" y="77"/>
                    <a:pt x="1054" y="199"/>
                  </a:cubicBezTo>
                  <a:cubicBezTo>
                    <a:pt x="1014" y="342"/>
                    <a:pt x="1096" y="495"/>
                    <a:pt x="1243" y="535"/>
                  </a:cubicBezTo>
                  <a:cubicBezTo>
                    <a:pt x="1982" y="754"/>
                    <a:pt x="2603" y="1320"/>
                    <a:pt x="3087" y="2227"/>
                  </a:cubicBezTo>
                  <a:cubicBezTo>
                    <a:pt x="4263" y="4437"/>
                    <a:pt x="6051" y="5150"/>
                    <a:pt x="6127" y="5175"/>
                  </a:cubicBezTo>
                  <a:cubicBezTo>
                    <a:pt x="6163" y="5191"/>
                    <a:pt x="6204" y="5196"/>
                    <a:pt x="6244" y="5196"/>
                  </a:cubicBezTo>
                  <a:cubicBezTo>
                    <a:pt x="6277" y="5193"/>
                    <a:pt x="6313" y="5192"/>
                    <a:pt x="6352" y="5192"/>
                  </a:cubicBezTo>
                  <a:cubicBezTo>
                    <a:pt x="6602" y="5192"/>
                    <a:pt x="6954" y="5253"/>
                    <a:pt x="6994" y="5420"/>
                  </a:cubicBezTo>
                  <a:lnTo>
                    <a:pt x="7074" y="5802"/>
                  </a:lnTo>
                  <a:lnTo>
                    <a:pt x="6535" y="6510"/>
                  </a:lnTo>
                  <a:cubicBezTo>
                    <a:pt x="6468" y="6591"/>
                    <a:pt x="6458" y="6703"/>
                    <a:pt x="6505" y="6795"/>
                  </a:cubicBezTo>
                  <a:lnTo>
                    <a:pt x="6983" y="7747"/>
                  </a:lnTo>
                  <a:cubicBezTo>
                    <a:pt x="7274" y="8405"/>
                    <a:pt x="8022" y="10274"/>
                    <a:pt x="7977" y="10997"/>
                  </a:cubicBezTo>
                  <a:cubicBezTo>
                    <a:pt x="7972" y="11089"/>
                    <a:pt x="7676" y="11461"/>
                    <a:pt x="6774" y="11837"/>
                  </a:cubicBezTo>
                  <a:cubicBezTo>
                    <a:pt x="6114" y="12108"/>
                    <a:pt x="5118" y="12362"/>
                    <a:pt x="4039" y="12362"/>
                  </a:cubicBezTo>
                  <a:cubicBezTo>
                    <a:pt x="2844" y="12362"/>
                    <a:pt x="1547" y="12051"/>
                    <a:pt x="490" y="11109"/>
                  </a:cubicBezTo>
                  <a:cubicBezTo>
                    <a:pt x="438" y="11064"/>
                    <a:pt x="374" y="11043"/>
                    <a:pt x="310" y="11043"/>
                  </a:cubicBezTo>
                  <a:cubicBezTo>
                    <a:pt x="233" y="11043"/>
                    <a:pt x="157" y="11073"/>
                    <a:pt x="102" y="11134"/>
                  </a:cubicBezTo>
                  <a:cubicBezTo>
                    <a:pt x="1" y="11247"/>
                    <a:pt x="10" y="11419"/>
                    <a:pt x="123" y="11522"/>
                  </a:cubicBezTo>
                  <a:cubicBezTo>
                    <a:pt x="1279" y="12545"/>
                    <a:pt x="2690" y="12923"/>
                    <a:pt x="4039" y="12923"/>
                  </a:cubicBezTo>
                  <a:cubicBezTo>
                    <a:pt x="5119" y="12923"/>
                    <a:pt x="6153" y="12683"/>
                    <a:pt x="6983" y="12342"/>
                  </a:cubicBezTo>
                  <a:cubicBezTo>
                    <a:pt x="7431" y="12153"/>
                    <a:pt x="8485" y="11654"/>
                    <a:pt x="8522" y="11028"/>
                  </a:cubicBezTo>
                  <a:cubicBezTo>
                    <a:pt x="8583" y="10044"/>
                    <a:pt x="7594" y="7778"/>
                    <a:pt x="7477" y="7514"/>
                  </a:cubicBezTo>
                  <a:lnTo>
                    <a:pt x="7070" y="6703"/>
                  </a:lnTo>
                  <a:lnTo>
                    <a:pt x="7589" y="6036"/>
                  </a:lnTo>
                  <a:cubicBezTo>
                    <a:pt x="7635" y="5970"/>
                    <a:pt x="7655" y="5888"/>
                    <a:pt x="7640" y="5807"/>
                  </a:cubicBezTo>
                  <a:lnTo>
                    <a:pt x="7523" y="5302"/>
                  </a:lnTo>
                  <a:cubicBezTo>
                    <a:pt x="7393" y="4717"/>
                    <a:pt x="6683" y="4644"/>
                    <a:pt x="6358" y="4644"/>
                  </a:cubicBezTo>
                  <a:cubicBezTo>
                    <a:pt x="6326" y="4644"/>
                    <a:pt x="6298" y="4645"/>
                    <a:pt x="6275" y="4646"/>
                  </a:cubicBezTo>
                  <a:cubicBezTo>
                    <a:pt x="5990" y="4519"/>
                    <a:pt x="4549" y="3805"/>
                    <a:pt x="3565" y="1967"/>
                  </a:cubicBezTo>
                  <a:cubicBezTo>
                    <a:pt x="3010" y="928"/>
                    <a:pt x="2282" y="271"/>
                    <a:pt x="1390" y="11"/>
                  </a:cubicBezTo>
                  <a:cubicBezTo>
                    <a:pt x="1366" y="4"/>
                    <a:pt x="1341" y="1"/>
                    <a:pt x="1316"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1" name="Google Shape;422;p31"/>
            <p:cNvSpPr/>
            <p:nvPr/>
          </p:nvSpPr>
          <p:spPr>
            <a:xfrm>
              <a:off x="4491925" y="712125"/>
              <a:ext cx="335650" cy="407700"/>
            </a:xfrm>
            <a:custGeom>
              <a:avLst/>
              <a:gdLst/>
              <a:ahLst/>
              <a:cxnLst/>
              <a:rect l="l" t="t" r="r" b="b"/>
              <a:pathLst>
                <a:path w="13426" h="16308" extrusionOk="0">
                  <a:moveTo>
                    <a:pt x="8895" y="0"/>
                  </a:moveTo>
                  <a:cubicBezTo>
                    <a:pt x="8093" y="0"/>
                    <a:pt x="7475" y="335"/>
                    <a:pt x="6876" y="1067"/>
                  </a:cubicBezTo>
                  <a:cubicBezTo>
                    <a:pt x="5914" y="2245"/>
                    <a:pt x="6148" y="3013"/>
                    <a:pt x="4936" y="3345"/>
                  </a:cubicBezTo>
                  <a:cubicBezTo>
                    <a:pt x="3724" y="3671"/>
                    <a:pt x="2003" y="4847"/>
                    <a:pt x="1004" y="6803"/>
                  </a:cubicBezTo>
                  <a:cubicBezTo>
                    <a:pt x="1" y="8763"/>
                    <a:pt x="964" y="11723"/>
                    <a:pt x="2537" y="13286"/>
                  </a:cubicBezTo>
                  <a:cubicBezTo>
                    <a:pt x="3553" y="14295"/>
                    <a:pt x="6208" y="16307"/>
                    <a:pt x="7537" y="16307"/>
                  </a:cubicBezTo>
                  <a:cubicBezTo>
                    <a:pt x="8267" y="16307"/>
                    <a:pt x="8596" y="15700"/>
                    <a:pt x="8033" y="13984"/>
                  </a:cubicBezTo>
                  <a:cubicBezTo>
                    <a:pt x="8033" y="13984"/>
                    <a:pt x="9347" y="12966"/>
                    <a:pt x="9331" y="12558"/>
                  </a:cubicBezTo>
                  <a:cubicBezTo>
                    <a:pt x="9311" y="12151"/>
                    <a:pt x="9031" y="12023"/>
                    <a:pt x="9011" y="11616"/>
                  </a:cubicBezTo>
                  <a:cubicBezTo>
                    <a:pt x="8990" y="11208"/>
                    <a:pt x="11160" y="10832"/>
                    <a:pt x="10162" y="9925"/>
                  </a:cubicBezTo>
                  <a:cubicBezTo>
                    <a:pt x="9163" y="9013"/>
                    <a:pt x="8481" y="9049"/>
                    <a:pt x="8425" y="7821"/>
                  </a:cubicBezTo>
                  <a:cubicBezTo>
                    <a:pt x="8369" y="6594"/>
                    <a:pt x="11919" y="6701"/>
                    <a:pt x="12673" y="5300"/>
                  </a:cubicBezTo>
                  <a:cubicBezTo>
                    <a:pt x="13426" y="3900"/>
                    <a:pt x="13238" y="1481"/>
                    <a:pt x="11782" y="834"/>
                  </a:cubicBezTo>
                  <a:cubicBezTo>
                    <a:pt x="10565" y="296"/>
                    <a:pt x="9648" y="0"/>
                    <a:pt x="8895"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2" name="Google Shape;423;p31"/>
            <p:cNvSpPr/>
            <p:nvPr/>
          </p:nvSpPr>
          <p:spPr>
            <a:xfrm>
              <a:off x="4644600" y="1024725"/>
              <a:ext cx="89175" cy="74600"/>
            </a:xfrm>
            <a:custGeom>
              <a:avLst/>
              <a:gdLst/>
              <a:ahLst/>
              <a:cxnLst/>
              <a:rect l="l" t="t" r="r" b="b"/>
              <a:pathLst>
                <a:path w="3567" h="2984" extrusionOk="0">
                  <a:moveTo>
                    <a:pt x="1371" y="0"/>
                  </a:moveTo>
                  <a:cubicBezTo>
                    <a:pt x="1205" y="0"/>
                    <a:pt x="1046" y="49"/>
                    <a:pt x="901" y="166"/>
                  </a:cubicBezTo>
                  <a:cubicBezTo>
                    <a:pt x="1" y="904"/>
                    <a:pt x="988" y="2952"/>
                    <a:pt x="2063" y="2982"/>
                  </a:cubicBezTo>
                  <a:cubicBezTo>
                    <a:pt x="2090" y="2983"/>
                    <a:pt x="2117" y="2983"/>
                    <a:pt x="2143" y="2983"/>
                  </a:cubicBezTo>
                  <a:cubicBezTo>
                    <a:pt x="3160" y="2983"/>
                    <a:pt x="3566" y="2514"/>
                    <a:pt x="3566" y="2514"/>
                  </a:cubicBezTo>
                  <a:lnTo>
                    <a:pt x="3306" y="1368"/>
                  </a:lnTo>
                  <a:cubicBezTo>
                    <a:pt x="3306" y="1368"/>
                    <a:pt x="2248" y="0"/>
                    <a:pt x="1371" y="0"/>
                  </a:cubicBezTo>
                  <a:close/>
                </a:path>
              </a:pathLst>
            </a:custGeom>
            <a:solidFill>
              <a:srgbClr val="6D9EE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3" name="Google Shape;424;p31"/>
            <p:cNvSpPr/>
            <p:nvPr/>
          </p:nvSpPr>
          <p:spPr>
            <a:xfrm>
              <a:off x="4648425" y="1017950"/>
              <a:ext cx="92825" cy="88225"/>
            </a:xfrm>
            <a:custGeom>
              <a:avLst/>
              <a:gdLst/>
              <a:ahLst/>
              <a:cxnLst/>
              <a:rect l="l" t="t" r="r" b="b"/>
              <a:pathLst>
                <a:path w="3713" h="3529" extrusionOk="0">
                  <a:moveTo>
                    <a:pt x="1216" y="1"/>
                  </a:moveTo>
                  <a:cubicBezTo>
                    <a:pt x="978" y="1"/>
                    <a:pt x="765" y="78"/>
                    <a:pt x="581" y="228"/>
                  </a:cubicBezTo>
                  <a:cubicBezTo>
                    <a:pt x="123" y="600"/>
                    <a:pt x="0" y="1262"/>
                    <a:pt x="250" y="1996"/>
                  </a:cubicBezTo>
                  <a:cubicBezTo>
                    <a:pt x="504" y="2745"/>
                    <a:pt x="1157" y="3509"/>
                    <a:pt x="1905" y="3523"/>
                  </a:cubicBezTo>
                  <a:cubicBezTo>
                    <a:pt x="1935" y="3523"/>
                    <a:pt x="1966" y="3528"/>
                    <a:pt x="1996" y="3528"/>
                  </a:cubicBezTo>
                  <a:cubicBezTo>
                    <a:pt x="3122" y="3528"/>
                    <a:pt x="3596" y="2983"/>
                    <a:pt x="3616" y="2964"/>
                  </a:cubicBezTo>
                  <a:cubicBezTo>
                    <a:pt x="3713" y="2851"/>
                    <a:pt x="3703" y="2678"/>
                    <a:pt x="3590" y="2581"/>
                  </a:cubicBezTo>
                  <a:cubicBezTo>
                    <a:pt x="3539" y="2535"/>
                    <a:pt x="3475" y="2512"/>
                    <a:pt x="3411" y="2512"/>
                  </a:cubicBezTo>
                  <a:cubicBezTo>
                    <a:pt x="3335" y="2512"/>
                    <a:pt x="3259" y="2543"/>
                    <a:pt x="3204" y="2602"/>
                  </a:cubicBezTo>
                  <a:cubicBezTo>
                    <a:pt x="3189" y="2622"/>
                    <a:pt x="2864" y="2980"/>
                    <a:pt x="2023" y="2980"/>
                  </a:cubicBezTo>
                  <a:cubicBezTo>
                    <a:pt x="1990" y="2980"/>
                    <a:pt x="1955" y="2979"/>
                    <a:pt x="1921" y="2978"/>
                  </a:cubicBezTo>
                  <a:cubicBezTo>
                    <a:pt x="1493" y="2969"/>
                    <a:pt x="988" y="2459"/>
                    <a:pt x="769" y="1822"/>
                  </a:cubicBezTo>
                  <a:cubicBezTo>
                    <a:pt x="703" y="1629"/>
                    <a:pt x="520" y="977"/>
                    <a:pt x="922" y="651"/>
                  </a:cubicBezTo>
                  <a:cubicBezTo>
                    <a:pt x="1011" y="579"/>
                    <a:pt x="1107" y="545"/>
                    <a:pt x="1222" y="545"/>
                  </a:cubicBezTo>
                  <a:cubicBezTo>
                    <a:pt x="1245" y="545"/>
                    <a:pt x="1269" y="547"/>
                    <a:pt x="1294" y="549"/>
                  </a:cubicBezTo>
                  <a:cubicBezTo>
                    <a:pt x="1895" y="620"/>
                    <a:pt x="2685" y="1481"/>
                    <a:pt x="2939" y="1807"/>
                  </a:cubicBezTo>
                  <a:cubicBezTo>
                    <a:pt x="2992" y="1876"/>
                    <a:pt x="3073" y="1913"/>
                    <a:pt x="3155" y="1913"/>
                  </a:cubicBezTo>
                  <a:cubicBezTo>
                    <a:pt x="3213" y="1913"/>
                    <a:pt x="3272" y="1893"/>
                    <a:pt x="3321" y="1853"/>
                  </a:cubicBezTo>
                  <a:cubicBezTo>
                    <a:pt x="3444" y="1761"/>
                    <a:pt x="3463" y="1593"/>
                    <a:pt x="3372" y="1471"/>
                  </a:cubicBezTo>
                  <a:cubicBezTo>
                    <a:pt x="3265" y="1333"/>
                    <a:pt x="2297" y="117"/>
                    <a:pt x="1355" y="9"/>
                  </a:cubicBezTo>
                  <a:cubicBezTo>
                    <a:pt x="1307" y="4"/>
                    <a:pt x="1261" y="1"/>
                    <a:pt x="1216"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4" name="Google Shape;425;p31"/>
            <p:cNvSpPr/>
            <p:nvPr/>
          </p:nvSpPr>
          <p:spPr>
            <a:xfrm>
              <a:off x="4809625" y="936875"/>
              <a:ext cx="29425" cy="38575"/>
            </a:xfrm>
            <a:custGeom>
              <a:avLst/>
              <a:gdLst/>
              <a:ahLst/>
              <a:cxnLst/>
              <a:rect l="l" t="t" r="r" b="b"/>
              <a:pathLst>
                <a:path w="1177" h="1543" extrusionOk="0">
                  <a:moveTo>
                    <a:pt x="286" y="0"/>
                  </a:moveTo>
                  <a:cubicBezTo>
                    <a:pt x="253" y="0"/>
                    <a:pt x="221" y="8"/>
                    <a:pt x="193" y="23"/>
                  </a:cubicBezTo>
                  <a:cubicBezTo>
                    <a:pt x="0" y="125"/>
                    <a:pt x="26" y="537"/>
                    <a:pt x="245" y="955"/>
                  </a:cubicBezTo>
                  <a:cubicBezTo>
                    <a:pt x="431" y="1306"/>
                    <a:pt x="698" y="1543"/>
                    <a:pt x="890" y="1543"/>
                  </a:cubicBezTo>
                  <a:cubicBezTo>
                    <a:pt x="923" y="1543"/>
                    <a:pt x="955" y="1535"/>
                    <a:pt x="983" y="1520"/>
                  </a:cubicBezTo>
                  <a:cubicBezTo>
                    <a:pt x="1176" y="1419"/>
                    <a:pt x="1152" y="1001"/>
                    <a:pt x="932" y="589"/>
                  </a:cubicBezTo>
                  <a:cubicBezTo>
                    <a:pt x="745" y="237"/>
                    <a:pt x="478" y="0"/>
                    <a:pt x="286"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5" name="Google Shape;426;p31"/>
            <p:cNvSpPr/>
            <p:nvPr/>
          </p:nvSpPr>
          <p:spPr>
            <a:xfrm>
              <a:off x="4867925" y="1054775"/>
              <a:ext cx="67775" cy="23400"/>
            </a:xfrm>
            <a:custGeom>
              <a:avLst/>
              <a:gdLst/>
              <a:ahLst/>
              <a:cxnLst/>
              <a:rect l="l" t="t" r="r" b="b"/>
              <a:pathLst>
                <a:path w="2711" h="936" extrusionOk="0">
                  <a:moveTo>
                    <a:pt x="2399" y="1"/>
                  </a:moveTo>
                  <a:cubicBezTo>
                    <a:pt x="2358" y="1"/>
                    <a:pt x="2317" y="10"/>
                    <a:pt x="2278" y="29"/>
                  </a:cubicBezTo>
                  <a:cubicBezTo>
                    <a:pt x="2039" y="146"/>
                    <a:pt x="1428" y="387"/>
                    <a:pt x="948" y="387"/>
                  </a:cubicBezTo>
                  <a:cubicBezTo>
                    <a:pt x="762" y="387"/>
                    <a:pt x="596" y="351"/>
                    <a:pt x="480" y="257"/>
                  </a:cubicBezTo>
                  <a:cubicBezTo>
                    <a:pt x="429" y="218"/>
                    <a:pt x="368" y="198"/>
                    <a:pt x="307" y="198"/>
                  </a:cubicBezTo>
                  <a:cubicBezTo>
                    <a:pt x="228" y="198"/>
                    <a:pt x="149" y="232"/>
                    <a:pt x="97" y="299"/>
                  </a:cubicBezTo>
                  <a:cubicBezTo>
                    <a:pt x="1" y="416"/>
                    <a:pt x="21" y="589"/>
                    <a:pt x="139" y="685"/>
                  </a:cubicBezTo>
                  <a:cubicBezTo>
                    <a:pt x="367" y="868"/>
                    <a:pt x="658" y="936"/>
                    <a:pt x="959" y="936"/>
                  </a:cubicBezTo>
                  <a:cubicBezTo>
                    <a:pt x="1662" y="936"/>
                    <a:pt x="2410" y="574"/>
                    <a:pt x="2522" y="518"/>
                  </a:cubicBezTo>
                  <a:cubicBezTo>
                    <a:pt x="2659" y="452"/>
                    <a:pt x="2710" y="283"/>
                    <a:pt x="2644" y="151"/>
                  </a:cubicBezTo>
                  <a:cubicBezTo>
                    <a:pt x="2597" y="57"/>
                    <a:pt x="2500" y="1"/>
                    <a:pt x="2399"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6" name="Google Shape;427;p31"/>
            <p:cNvSpPr/>
            <p:nvPr/>
          </p:nvSpPr>
          <p:spPr>
            <a:xfrm>
              <a:off x="4680000" y="1129450"/>
              <a:ext cx="169250" cy="105200"/>
            </a:xfrm>
            <a:custGeom>
              <a:avLst/>
              <a:gdLst/>
              <a:ahLst/>
              <a:cxnLst/>
              <a:rect l="l" t="t" r="r" b="b"/>
              <a:pathLst>
                <a:path w="6770" h="4208" extrusionOk="0">
                  <a:moveTo>
                    <a:pt x="284" y="0"/>
                  </a:moveTo>
                  <a:cubicBezTo>
                    <a:pt x="278" y="0"/>
                    <a:pt x="272" y="1"/>
                    <a:pt x="265" y="1"/>
                  </a:cubicBezTo>
                  <a:cubicBezTo>
                    <a:pt x="117" y="6"/>
                    <a:pt x="0" y="133"/>
                    <a:pt x="5" y="286"/>
                  </a:cubicBezTo>
                  <a:lnTo>
                    <a:pt x="133" y="2980"/>
                  </a:lnTo>
                  <a:cubicBezTo>
                    <a:pt x="138" y="3097"/>
                    <a:pt x="214" y="3199"/>
                    <a:pt x="326" y="3229"/>
                  </a:cubicBezTo>
                  <a:cubicBezTo>
                    <a:pt x="999" y="3428"/>
                    <a:pt x="3780" y="4207"/>
                    <a:pt x="5389" y="4207"/>
                  </a:cubicBezTo>
                  <a:cubicBezTo>
                    <a:pt x="5842" y="4207"/>
                    <a:pt x="6203" y="4146"/>
                    <a:pt x="6398" y="3993"/>
                  </a:cubicBezTo>
                  <a:cubicBezTo>
                    <a:pt x="6545" y="3877"/>
                    <a:pt x="6622" y="3708"/>
                    <a:pt x="6617" y="3520"/>
                  </a:cubicBezTo>
                  <a:cubicBezTo>
                    <a:pt x="6560" y="2394"/>
                    <a:pt x="6739" y="1513"/>
                    <a:pt x="6739" y="1503"/>
                  </a:cubicBezTo>
                  <a:cubicBezTo>
                    <a:pt x="6769" y="1355"/>
                    <a:pt x="6678" y="1212"/>
                    <a:pt x="6525" y="1182"/>
                  </a:cubicBezTo>
                  <a:cubicBezTo>
                    <a:pt x="6507" y="1178"/>
                    <a:pt x="6488" y="1176"/>
                    <a:pt x="6470" y="1176"/>
                  </a:cubicBezTo>
                  <a:cubicBezTo>
                    <a:pt x="6343" y="1176"/>
                    <a:pt x="6230" y="1267"/>
                    <a:pt x="6203" y="1396"/>
                  </a:cubicBezTo>
                  <a:cubicBezTo>
                    <a:pt x="6199" y="1432"/>
                    <a:pt x="6010" y="2349"/>
                    <a:pt x="6071" y="3551"/>
                  </a:cubicBezTo>
                  <a:cubicBezTo>
                    <a:pt x="6014" y="3639"/>
                    <a:pt x="5808" y="3681"/>
                    <a:pt x="5488" y="3681"/>
                  </a:cubicBezTo>
                  <a:cubicBezTo>
                    <a:pt x="4556" y="3681"/>
                    <a:pt x="2661" y="3330"/>
                    <a:pt x="667" y="2761"/>
                  </a:cubicBezTo>
                  <a:lnTo>
                    <a:pt x="550" y="260"/>
                  </a:lnTo>
                  <a:cubicBezTo>
                    <a:pt x="545" y="114"/>
                    <a:pt x="424" y="0"/>
                    <a:pt x="284"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7" name="Google Shape;428;p31"/>
            <p:cNvSpPr/>
            <p:nvPr/>
          </p:nvSpPr>
          <p:spPr>
            <a:xfrm>
              <a:off x="4660900" y="1203700"/>
              <a:ext cx="227550" cy="87750"/>
            </a:xfrm>
            <a:custGeom>
              <a:avLst/>
              <a:gdLst/>
              <a:ahLst/>
              <a:cxnLst/>
              <a:rect l="l" t="t" r="r" b="b"/>
              <a:pathLst>
                <a:path w="9102" h="3510" extrusionOk="0">
                  <a:moveTo>
                    <a:pt x="1166" y="0"/>
                  </a:moveTo>
                  <a:lnTo>
                    <a:pt x="0" y="1493"/>
                  </a:lnTo>
                  <a:lnTo>
                    <a:pt x="9102" y="3509"/>
                  </a:lnTo>
                  <a:lnTo>
                    <a:pt x="8140" y="1023"/>
                  </a:lnTo>
                  <a:lnTo>
                    <a:pt x="1166" y="0"/>
                  </a:lnTo>
                  <a:close/>
                </a:path>
              </a:pathLst>
            </a:custGeom>
            <a:solidFill>
              <a:srgbClr val="6D9EE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8" name="Google Shape;429;p31"/>
            <p:cNvSpPr/>
            <p:nvPr/>
          </p:nvSpPr>
          <p:spPr>
            <a:xfrm>
              <a:off x="4653525" y="1196850"/>
              <a:ext cx="242200" cy="101475"/>
            </a:xfrm>
            <a:custGeom>
              <a:avLst/>
              <a:gdLst/>
              <a:ahLst/>
              <a:cxnLst/>
              <a:rect l="l" t="t" r="r" b="b"/>
              <a:pathLst>
                <a:path w="9688" h="4059" extrusionOk="0">
                  <a:moveTo>
                    <a:pt x="1459" y="0"/>
                  </a:moveTo>
                  <a:cubicBezTo>
                    <a:pt x="1328" y="0"/>
                    <a:pt x="1214" y="101"/>
                    <a:pt x="1192" y="234"/>
                  </a:cubicBezTo>
                  <a:cubicBezTo>
                    <a:pt x="1171" y="380"/>
                    <a:pt x="1273" y="523"/>
                    <a:pt x="1426" y="544"/>
                  </a:cubicBezTo>
                  <a:lnTo>
                    <a:pt x="8235" y="1542"/>
                  </a:lnTo>
                  <a:lnTo>
                    <a:pt x="8959" y="3406"/>
                  </a:lnTo>
                  <a:lnTo>
                    <a:pt x="8959" y="3406"/>
                  </a:lnTo>
                  <a:lnTo>
                    <a:pt x="356" y="1496"/>
                  </a:lnTo>
                  <a:cubicBezTo>
                    <a:pt x="337" y="1493"/>
                    <a:pt x="318" y="1491"/>
                    <a:pt x="299" y="1491"/>
                  </a:cubicBezTo>
                  <a:cubicBezTo>
                    <a:pt x="172" y="1491"/>
                    <a:pt x="58" y="1577"/>
                    <a:pt x="31" y="1705"/>
                  </a:cubicBezTo>
                  <a:cubicBezTo>
                    <a:pt x="0" y="1853"/>
                    <a:pt x="92" y="2000"/>
                    <a:pt x="239" y="2031"/>
                  </a:cubicBezTo>
                  <a:lnTo>
                    <a:pt x="9336" y="4054"/>
                  </a:lnTo>
                  <a:cubicBezTo>
                    <a:pt x="9356" y="4054"/>
                    <a:pt x="9376" y="4059"/>
                    <a:pt x="9397" y="4059"/>
                  </a:cubicBezTo>
                  <a:cubicBezTo>
                    <a:pt x="9474" y="4059"/>
                    <a:pt x="9550" y="4023"/>
                    <a:pt x="9606" y="3962"/>
                  </a:cubicBezTo>
                  <a:cubicBezTo>
                    <a:pt x="9667" y="3885"/>
                    <a:pt x="9688" y="3779"/>
                    <a:pt x="9651" y="3687"/>
                  </a:cubicBezTo>
                  <a:lnTo>
                    <a:pt x="8689" y="1196"/>
                  </a:lnTo>
                  <a:cubicBezTo>
                    <a:pt x="8654" y="1104"/>
                    <a:pt x="8572" y="1038"/>
                    <a:pt x="8475" y="1028"/>
                  </a:cubicBezTo>
                  <a:lnTo>
                    <a:pt x="1503" y="4"/>
                  </a:lnTo>
                  <a:cubicBezTo>
                    <a:pt x="1488" y="1"/>
                    <a:pt x="1473" y="0"/>
                    <a:pt x="1459"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39" name="Google Shape;430;p31"/>
            <p:cNvSpPr/>
            <p:nvPr/>
          </p:nvSpPr>
          <p:spPr>
            <a:xfrm>
              <a:off x="5005725" y="1588775"/>
              <a:ext cx="399300" cy="281125"/>
            </a:xfrm>
            <a:custGeom>
              <a:avLst/>
              <a:gdLst/>
              <a:ahLst/>
              <a:cxnLst/>
              <a:rect l="l" t="t" r="r" b="b"/>
              <a:pathLst>
                <a:path w="15972" h="11245" extrusionOk="0">
                  <a:moveTo>
                    <a:pt x="12481" y="0"/>
                  </a:moveTo>
                  <a:cubicBezTo>
                    <a:pt x="11914" y="0"/>
                    <a:pt x="11266" y="105"/>
                    <a:pt x="10532" y="361"/>
                  </a:cubicBezTo>
                  <a:cubicBezTo>
                    <a:pt x="6493" y="1766"/>
                    <a:pt x="0" y="11244"/>
                    <a:pt x="0" y="11244"/>
                  </a:cubicBezTo>
                  <a:lnTo>
                    <a:pt x="15972" y="2117"/>
                  </a:lnTo>
                  <a:cubicBezTo>
                    <a:pt x="15972" y="2117"/>
                    <a:pt x="15034" y="0"/>
                    <a:pt x="12481" y="0"/>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40" name="Google Shape;431;p31"/>
            <p:cNvSpPr/>
            <p:nvPr/>
          </p:nvSpPr>
          <p:spPr>
            <a:xfrm>
              <a:off x="5000100" y="1581950"/>
              <a:ext cx="411150" cy="291775"/>
            </a:xfrm>
            <a:custGeom>
              <a:avLst/>
              <a:gdLst/>
              <a:ahLst/>
              <a:cxnLst/>
              <a:rect l="l" t="t" r="r" b="b"/>
              <a:pathLst>
                <a:path w="16446" h="11671" extrusionOk="0">
                  <a:moveTo>
                    <a:pt x="12695" y="1"/>
                  </a:moveTo>
                  <a:cubicBezTo>
                    <a:pt x="12101" y="1"/>
                    <a:pt x="11427" y="109"/>
                    <a:pt x="10665" y="373"/>
                  </a:cubicBezTo>
                  <a:cubicBezTo>
                    <a:pt x="6591" y="1795"/>
                    <a:pt x="265" y="10972"/>
                    <a:pt x="0" y="11365"/>
                  </a:cubicBezTo>
                  <a:lnTo>
                    <a:pt x="449" y="11670"/>
                  </a:lnTo>
                  <a:cubicBezTo>
                    <a:pt x="515" y="11579"/>
                    <a:pt x="6942" y="2253"/>
                    <a:pt x="10849" y="893"/>
                  </a:cubicBezTo>
                  <a:cubicBezTo>
                    <a:pt x="11554" y="647"/>
                    <a:pt x="12172" y="547"/>
                    <a:pt x="12712" y="547"/>
                  </a:cubicBezTo>
                  <a:cubicBezTo>
                    <a:pt x="15036" y="547"/>
                    <a:pt x="15906" y="2403"/>
                    <a:pt x="15952" y="2503"/>
                  </a:cubicBezTo>
                  <a:lnTo>
                    <a:pt x="16446" y="2279"/>
                  </a:lnTo>
                  <a:cubicBezTo>
                    <a:pt x="16438" y="2249"/>
                    <a:pt x="15399" y="1"/>
                    <a:pt x="12695"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41" name="Google Shape;432;p31"/>
            <p:cNvSpPr/>
            <p:nvPr/>
          </p:nvSpPr>
          <p:spPr>
            <a:xfrm>
              <a:off x="4708000" y="1611200"/>
              <a:ext cx="934825" cy="881325"/>
            </a:xfrm>
            <a:custGeom>
              <a:avLst/>
              <a:gdLst/>
              <a:ahLst/>
              <a:cxnLst/>
              <a:rect l="l" t="t" r="r" b="b"/>
              <a:pathLst>
                <a:path w="37393" h="35253" extrusionOk="0">
                  <a:moveTo>
                    <a:pt x="31491" y="0"/>
                  </a:moveTo>
                  <a:cubicBezTo>
                    <a:pt x="31254" y="0"/>
                    <a:pt x="31034" y="37"/>
                    <a:pt x="30840" y="115"/>
                  </a:cubicBezTo>
                  <a:cubicBezTo>
                    <a:pt x="18382" y="5122"/>
                    <a:pt x="13125" y="11732"/>
                    <a:pt x="13125" y="11732"/>
                  </a:cubicBezTo>
                  <a:lnTo>
                    <a:pt x="1" y="18201"/>
                  </a:lnTo>
                  <a:cubicBezTo>
                    <a:pt x="1" y="18201"/>
                    <a:pt x="1249" y="23819"/>
                    <a:pt x="4025" y="25378"/>
                  </a:cubicBezTo>
                  <a:cubicBezTo>
                    <a:pt x="5425" y="26164"/>
                    <a:pt x="6887" y="26648"/>
                    <a:pt x="8542" y="26648"/>
                  </a:cubicBezTo>
                  <a:cubicBezTo>
                    <a:pt x="10166" y="26648"/>
                    <a:pt x="11977" y="26182"/>
                    <a:pt x="14098" y="25077"/>
                  </a:cubicBezTo>
                  <a:cubicBezTo>
                    <a:pt x="18388" y="22851"/>
                    <a:pt x="28028" y="10974"/>
                    <a:pt x="28028" y="10973"/>
                  </a:cubicBezTo>
                  <a:lnTo>
                    <a:pt x="28028" y="10973"/>
                  </a:lnTo>
                  <a:cubicBezTo>
                    <a:pt x="28028" y="10974"/>
                    <a:pt x="22793" y="33516"/>
                    <a:pt x="22497" y="34372"/>
                  </a:cubicBezTo>
                  <a:lnTo>
                    <a:pt x="26016" y="35253"/>
                  </a:lnTo>
                  <a:cubicBezTo>
                    <a:pt x="26016" y="35253"/>
                    <a:pt x="36453" y="10576"/>
                    <a:pt x="36947" y="6671"/>
                  </a:cubicBezTo>
                  <a:cubicBezTo>
                    <a:pt x="37392" y="3147"/>
                    <a:pt x="33678" y="0"/>
                    <a:pt x="31491" y="0"/>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42" name="Google Shape;433;p31"/>
            <p:cNvSpPr/>
            <p:nvPr/>
          </p:nvSpPr>
          <p:spPr>
            <a:xfrm>
              <a:off x="4701375" y="1604350"/>
              <a:ext cx="944700" cy="896200"/>
            </a:xfrm>
            <a:custGeom>
              <a:avLst/>
              <a:gdLst/>
              <a:ahLst/>
              <a:cxnLst/>
              <a:rect l="l" t="t" r="r" b="b"/>
              <a:pathLst>
                <a:path w="37788" h="35848" extrusionOk="0">
                  <a:moveTo>
                    <a:pt x="31761" y="1"/>
                  </a:moveTo>
                  <a:cubicBezTo>
                    <a:pt x="31485" y="1"/>
                    <a:pt x="31230" y="45"/>
                    <a:pt x="31003" y="135"/>
                  </a:cubicBezTo>
                  <a:cubicBezTo>
                    <a:pt x="18622" y="5111"/>
                    <a:pt x="13228" y="11767"/>
                    <a:pt x="13176" y="11834"/>
                  </a:cubicBezTo>
                  <a:lnTo>
                    <a:pt x="13604" y="12175"/>
                  </a:lnTo>
                  <a:cubicBezTo>
                    <a:pt x="13656" y="12109"/>
                    <a:pt x="18968" y="5563"/>
                    <a:pt x="31206" y="643"/>
                  </a:cubicBezTo>
                  <a:cubicBezTo>
                    <a:pt x="31370" y="577"/>
                    <a:pt x="31559" y="545"/>
                    <a:pt x="31766" y="545"/>
                  </a:cubicBezTo>
                  <a:cubicBezTo>
                    <a:pt x="32493" y="545"/>
                    <a:pt x="33449" y="942"/>
                    <a:pt x="34365" y="1647"/>
                  </a:cubicBezTo>
                  <a:cubicBezTo>
                    <a:pt x="35790" y="2747"/>
                    <a:pt x="37217" y="4708"/>
                    <a:pt x="36942" y="6908"/>
                  </a:cubicBezTo>
                  <a:cubicBezTo>
                    <a:pt x="36483" y="10544"/>
                    <a:pt x="27148" y="32761"/>
                    <a:pt x="26124" y="35201"/>
                  </a:cubicBezTo>
                  <a:lnTo>
                    <a:pt x="23103" y="34452"/>
                  </a:lnTo>
                  <a:cubicBezTo>
                    <a:pt x="23817" y="31728"/>
                    <a:pt x="28359" y="12185"/>
                    <a:pt x="28564" y="11308"/>
                  </a:cubicBezTo>
                  <a:lnTo>
                    <a:pt x="28829" y="10158"/>
                  </a:lnTo>
                  <a:lnTo>
                    <a:pt x="28084" y="11075"/>
                  </a:lnTo>
                  <a:cubicBezTo>
                    <a:pt x="27988" y="11192"/>
                    <a:pt x="18423" y="22932"/>
                    <a:pt x="14236" y="25111"/>
                  </a:cubicBezTo>
                  <a:cubicBezTo>
                    <a:pt x="12252" y="26141"/>
                    <a:pt x="10499" y="26654"/>
                    <a:pt x="8830" y="26654"/>
                  </a:cubicBezTo>
                  <a:cubicBezTo>
                    <a:pt x="7329" y="26654"/>
                    <a:pt x="5896" y="26239"/>
                    <a:pt x="4422" y="25412"/>
                  </a:cubicBezTo>
                  <a:cubicBezTo>
                    <a:pt x="1789" y="23935"/>
                    <a:pt x="546" y="18470"/>
                    <a:pt x="531" y="18414"/>
                  </a:cubicBezTo>
                  <a:lnTo>
                    <a:pt x="1" y="18536"/>
                  </a:lnTo>
                  <a:cubicBezTo>
                    <a:pt x="52" y="18771"/>
                    <a:pt x="1310" y="24291"/>
                    <a:pt x="4157" y="25891"/>
                  </a:cubicBezTo>
                  <a:cubicBezTo>
                    <a:pt x="5700" y="26756"/>
                    <a:pt x="7228" y="27190"/>
                    <a:pt x="8825" y="27190"/>
                  </a:cubicBezTo>
                  <a:cubicBezTo>
                    <a:pt x="10592" y="27190"/>
                    <a:pt x="12442" y="26660"/>
                    <a:pt x="14491" y="25595"/>
                  </a:cubicBezTo>
                  <a:cubicBezTo>
                    <a:pt x="18133" y="23701"/>
                    <a:pt x="25411" y="15154"/>
                    <a:pt x="27764" y="12323"/>
                  </a:cubicBezTo>
                  <a:lnTo>
                    <a:pt x="27764" y="12323"/>
                  </a:lnTo>
                  <a:cubicBezTo>
                    <a:pt x="25900" y="20339"/>
                    <a:pt x="22727" y="33922"/>
                    <a:pt x="22503" y="34559"/>
                  </a:cubicBezTo>
                  <a:lnTo>
                    <a:pt x="22405" y="34839"/>
                  </a:lnTo>
                  <a:lnTo>
                    <a:pt x="26445" y="35847"/>
                  </a:lnTo>
                  <a:lnTo>
                    <a:pt x="26537" y="35633"/>
                  </a:lnTo>
                  <a:cubicBezTo>
                    <a:pt x="26959" y="34620"/>
                    <a:pt x="36993" y="10876"/>
                    <a:pt x="37482" y="6980"/>
                  </a:cubicBezTo>
                  <a:cubicBezTo>
                    <a:pt x="37787" y="4550"/>
                    <a:pt x="36244" y="2411"/>
                    <a:pt x="34701" y="1214"/>
                  </a:cubicBezTo>
                  <a:cubicBezTo>
                    <a:pt x="33679" y="428"/>
                    <a:pt x="32619" y="1"/>
                    <a:pt x="31761"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43" name="Google Shape;434;p31"/>
            <p:cNvSpPr/>
            <p:nvPr/>
          </p:nvSpPr>
          <p:spPr>
            <a:xfrm>
              <a:off x="4980100" y="1987650"/>
              <a:ext cx="53500" cy="120725"/>
            </a:xfrm>
            <a:custGeom>
              <a:avLst/>
              <a:gdLst/>
              <a:ahLst/>
              <a:cxnLst/>
              <a:rect l="l" t="t" r="r" b="b"/>
              <a:pathLst>
                <a:path w="2140" h="4829" extrusionOk="0">
                  <a:moveTo>
                    <a:pt x="2140" y="0"/>
                  </a:moveTo>
                  <a:lnTo>
                    <a:pt x="1" y="4829"/>
                  </a:lnTo>
                  <a:cubicBezTo>
                    <a:pt x="2125" y="3209"/>
                    <a:pt x="2140" y="1"/>
                    <a:pt x="2140" y="0"/>
                  </a:cubicBezTo>
                  <a:close/>
                </a:path>
              </a:pathLst>
            </a:custGeom>
            <a:solidFill>
              <a:srgbClr val="D2D7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44" name="Google Shape;435;p31"/>
            <p:cNvSpPr/>
            <p:nvPr/>
          </p:nvSpPr>
          <p:spPr>
            <a:xfrm>
              <a:off x="4972475" y="1980775"/>
              <a:ext cx="68000" cy="134350"/>
            </a:xfrm>
            <a:custGeom>
              <a:avLst/>
              <a:gdLst/>
              <a:ahLst/>
              <a:cxnLst/>
              <a:rect l="l" t="t" r="r" b="b"/>
              <a:pathLst>
                <a:path w="2720" h="5374" extrusionOk="0">
                  <a:moveTo>
                    <a:pt x="2445" y="0"/>
                  </a:moveTo>
                  <a:cubicBezTo>
                    <a:pt x="2297" y="0"/>
                    <a:pt x="2175" y="123"/>
                    <a:pt x="2170" y="271"/>
                  </a:cubicBezTo>
                  <a:cubicBezTo>
                    <a:pt x="2170" y="301"/>
                    <a:pt x="2130" y="3367"/>
                    <a:pt x="143" y="4885"/>
                  </a:cubicBezTo>
                  <a:cubicBezTo>
                    <a:pt x="21" y="4977"/>
                    <a:pt x="0" y="5150"/>
                    <a:pt x="92" y="5266"/>
                  </a:cubicBezTo>
                  <a:cubicBezTo>
                    <a:pt x="143" y="5338"/>
                    <a:pt x="224" y="5374"/>
                    <a:pt x="306" y="5374"/>
                  </a:cubicBezTo>
                  <a:cubicBezTo>
                    <a:pt x="367" y="5374"/>
                    <a:pt x="423" y="5358"/>
                    <a:pt x="474" y="5318"/>
                  </a:cubicBezTo>
                  <a:cubicBezTo>
                    <a:pt x="2675" y="3637"/>
                    <a:pt x="2720" y="414"/>
                    <a:pt x="2720" y="275"/>
                  </a:cubicBezTo>
                  <a:cubicBezTo>
                    <a:pt x="2720" y="123"/>
                    <a:pt x="2598" y="0"/>
                    <a:pt x="2445"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45" name="Google Shape;436;p31"/>
            <p:cNvSpPr/>
            <p:nvPr/>
          </p:nvSpPr>
          <p:spPr>
            <a:xfrm>
              <a:off x="4587550" y="1258250"/>
              <a:ext cx="433950" cy="812050"/>
            </a:xfrm>
            <a:custGeom>
              <a:avLst/>
              <a:gdLst/>
              <a:ahLst/>
              <a:cxnLst/>
              <a:rect l="l" t="t" r="r" b="b"/>
              <a:pathLst>
                <a:path w="17358" h="32482" extrusionOk="0">
                  <a:moveTo>
                    <a:pt x="2487" y="1"/>
                  </a:moveTo>
                  <a:cubicBezTo>
                    <a:pt x="2369" y="1"/>
                    <a:pt x="2265" y="81"/>
                    <a:pt x="2231" y="202"/>
                  </a:cubicBezTo>
                  <a:cubicBezTo>
                    <a:pt x="2217" y="247"/>
                    <a:pt x="928" y="4816"/>
                    <a:pt x="459" y="9435"/>
                  </a:cubicBezTo>
                  <a:cubicBezTo>
                    <a:pt x="0" y="13998"/>
                    <a:pt x="2139" y="28617"/>
                    <a:pt x="3260" y="30292"/>
                  </a:cubicBezTo>
                  <a:cubicBezTo>
                    <a:pt x="4345" y="31917"/>
                    <a:pt x="6387" y="32482"/>
                    <a:pt x="8364" y="32482"/>
                  </a:cubicBezTo>
                  <a:cubicBezTo>
                    <a:pt x="9168" y="32482"/>
                    <a:pt x="9963" y="32390"/>
                    <a:pt x="10676" y="32237"/>
                  </a:cubicBezTo>
                  <a:cubicBezTo>
                    <a:pt x="12240" y="31896"/>
                    <a:pt x="17200" y="29742"/>
                    <a:pt x="17322" y="27206"/>
                  </a:cubicBezTo>
                  <a:cubicBezTo>
                    <a:pt x="17358" y="26416"/>
                    <a:pt x="16798" y="24771"/>
                    <a:pt x="16147" y="22867"/>
                  </a:cubicBezTo>
                  <a:cubicBezTo>
                    <a:pt x="15555" y="21149"/>
                    <a:pt x="14887" y="19200"/>
                    <a:pt x="14694" y="17879"/>
                  </a:cubicBezTo>
                  <a:cubicBezTo>
                    <a:pt x="14562" y="17004"/>
                    <a:pt x="14450" y="15608"/>
                    <a:pt x="14323" y="13989"/>
                  </a:cubicBezTo>
                  <a:cubicBezTo>
                    <a:pt x="14053" y="10648"/>
                    <a:pt x="13691" y="6069"/>
                    <a:pt x="12882" y="2769"/>
                  </a:cubicBezTo>
                  <a:cubicBezTo>
                    <a:pt x="12851" y="2643"/>
                    <a:pt x="12740" y="2561"/>
                    <a:pt x="12617" y="2561"/>
                  </a:cubicBezTo>
                  <a:cubicBezTo>
                    <a:pt x="12595" y="2561"/>
                    <a:pt x="12573" y="2564"/>
                    <a:pt x="12550" y="2569"/>
                  </a:cubicBezTo>
                  <a:cubicBezTo>
                    <a:pt x="12402" y="2606"/>
                    <a:pt x="12316" y="2753"/>
                    <a:pt x="12351" y="2896"/>
                  </a:cubicBezTo>
                  <a:cubicBezTo>
                    <a:pt x="13146" y="6161"/>
                    <a:pt x="13512" y="10709"/>
                    <a:pt x="13778" y="14035"/>
                  </a:cubicBezTo>
                  <a:cubicBezTo>
                    <a:pt x="13905" y="15660"/>
                    <a:pt x="14017" y="17070"/>
                    <a:pt x="14149" y="17961"/>
                  </a:cubicBezTo>
                  <a:cubicBezTo>
                    <a:pt x="14353" y="19332"/>
                    <a:pt x="15000" y="21221"/>
                    <a:pt x="15627" y="23044"/>
                  </a:cubicBezTo>
                  <a:cubicBezTo>
                    <a:pt x="16232" y="24822"/>
                    <a:pt x="16808" y="26497"/>
                    <a:pt x="16777" y="27180"/>
                  </a:cubicBezTo>
                  <a:cubicBezTo>
                    <a:pt x="16681" y="29176"/>
                    <a:pt x="12412" y="31301"/>
                    <a:pt x="10564" y="31703"/>
                  </a:cubicBezTo>
                  <a:cubicBezTo>
                    <a:pt x="9881" y="31850"/>
                    <a:pt x="9120" y="31940"/>
                    <a:pt x="8351" y="31940"/>
                  </a:cubicBezTo>
                  <a:cubicBezTo>
                    <a:pt x="6536" y="31940"/>
                    <a:pt x="4680" y="31437"/>
                    <a:pt x="3714" y="29992"/>
                  </a:cubicBezTo>
                  <a:cubicBezTo>
                    <a:pt x="2762" y="28565"/>
                    <a:pt x="536" y="14167"/>
                    <a:pt x="1004" y="9487"/>
                  </a:cubicBezTo>
                  <a:cubicBezTo>
                    <a:pt x="1462" y="4922"/>
                    <a:pt x="2741" y="395"/>
                    <a:pt x="2756" y="350"/>
                  </a:cubicBezTo>
                  <a:cubicBezTo>
                    <a:pt x="2797" y="207"/>
                    <a:pt x="2715" y="54"/>
                    <a:pt x="2567" y="13"/>
                  </a:cubicBezTo>
                  <a:cubicBezTo>
                    <a:pt x="2540" y="5"/>
                    <a:pt x="2513" y="1"/>
                    <a:pt x="2487"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46" name="Google Shape;437;p31"/>
            <p:cNvSpPr/>
            <p:nvPr/>
          </p:nvSpPr>
          <p:spPr>
            <a:xfrm>
              <a:off x="4633500" y="698550"/>
              <a:ext cx="215625" cy="150800"/>
            </a:xfrm>
            <a:custGeom>
              <a:avLst/>
              <a:gdLst/>
              <a:ahLst/>
              <a:cxnLst/>
              <a:rect l="l" t="t" r="r" b="b"/>
              <a:pathLst>
                <a:path w="8625" h="6032" extrusionOk="0">
                  <a:moveTo>
                    <a:pt x="3039" y="0"/>
                  </a:moveTo>
                  <a:cubicBezTo>
                    <a:pt x="1503" y="0"/>
                    <a:pt x="403" y="830"/>
                    <a:pt x="1" y="1453"/>
                  </a:cubicBezTo>
                  <a:lnTo>
                    <a:pt x="231" y="1601"/>
                  </a:lnTo>
                  <a:cubicBezTo>
                    <a:pt x="599" y="1030"/>
                    <a:pt x="1611" y="272"/>
                    <a:pt x="3033" y="272"/>
                  </a:cubicBezTo>
                  <a:cubicBezTo>
                    <a:pt x="3754" y="272"/>
                    <a:pt x="4580" y="467"/>
                    <a:pt x="5482" y="980"/>
                  </a:cubicBezTo>
                  <a:cubicBezTo>
                    <a:pt x="8013" y="2416"/>
                    <a:pt x="6892" y="5766"/>
                    <a:pt x="6883" y="5797"/>
                  </a:cubicBezTo>
                  <a:lnTo>
                    <a:pt x="6801" y="6032"/>
                  </a:lnTo>
                  <a:lnTo>
                    <a:pt x="7045" y="5975"/>
                  </a:lnTo>
                  <a:cubicBezTo>
                    <a:pt x="7071" y="5971"/>
                    <a:pt x="7732" y="5808"/>
                    <a:pt x="8160" y="5059"/>
                  </a:cubicBezTo>
                  <a:cubicBezTo>
                    <a:pt x="8618" y="4249"/>
                    <a:pt x="8625" y="3108"/>
                    <a:pt x="8176" y="1657"/>
                  </a:cubicBezTo>
                  <a:lnTo>
                    <a:pt x="8176" y="1657"/>
                  </a:lnTo>
                  <a:lnTo>
                    <a:pt x="7916" y="1739"/>
                  </a:lnTo>
                  <a:cubicBezTo>
                    <a:pt x="8339" y="3108"/>
                    <a:pt x="8343" y="4177"/>
                    <a:pt x="7927" y="4917"/>
                  </a:cubicBezTo>
                  <a:cubicBezTo>
                    <a:pt x="7713" y="5298"/>
                    <a:pt x="7422" y="5502"/>
                    <a:pt x="7219" y="5609"/>
                  </a:cubicBezTo>
                  <a:cubicBezTo>
                    <a:pt x="7438" y="4738"/>
                    <a:pt x="7901" y="2038"/>
                    <a:pt x="5614" y="740"/>
                  </a:cubicBezTo>
                  <a:cubicBezTo>
                    <a:pt x="4670" y="205"/>
                    <a:pt x="3801" y="0"/>
                    <a:pt x="3039"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47" name="Google Shape;438;p31"/>
            <p:cNvSpPr/>
            <p:nvPr/>
          </p:nvSpPr>
          <p:spPr>
            <a:xfrm>
              <a:off x="4660250" y="740725"/>
              <a:ext cx="144300" cy="124675"/>
            </a:xfrm>
            <a:custGeom>
              <a:avLst/>
              <a:gdLst/>
              <a:ahLst/>
              <a:cxnLst/>
              <a:rect l="l" t="t" r="r" b="b"/>
              <a:pathLst>
                <a:path w="5772" h="4987" extrusionOk="0">
                  <a:moveTo>
                    <a:pt x="3412" y="0"/>
                  </a:moveTo>
                  <a:cubicBezTo>
                    <a:pt x="1858" y="0"/>
                    <a:pt x="78" y="1394"/>
                    <a:pt x="0" y="1457"/>
                  </a:cubicBezTo>
                  <a:lnTo>
                    <a:pt x="169" y="1671"/>
                  </a:lnTo>
                  <a:cubicBezTo>
                    <a:pt x="189" y="1656"/>
                    <a:pt x="1933" y="271"/>
                    <a:pt x="3402" y="271"/>
                  </a:cubicBezTo>
                  <a:cubicBezTo>
                    <a:pt x="3487" y="271"/>
                    <a:pt x="3570" y="276"/>
                    <a:pt x="3653" y="285"/>
                  </a:cubicBezTo>
                  <a:cubicBezTo>
                    <a:pt x="4090" y="337"/>
                    <a:pt x="4452" y="535"/>
                    <a:pt x="4722" y="882"/>
                  </a:cubicBezTo>
                  <a:cubicBezTo>
                    <a:pt x="5287" y="1599"/>
                    <a:pt x="5481" y="2307"/>
                    <a:pt x="5277" y="2913"/>
                  </a:cubicBezTo>
                  <a:cubicBezTo>
                    <a:pt x="5007" y="3713"/>
                    <a:pt x="4081" y="4354"/>
                    <a:pt x="2665" y="4721"/>
                  </a:cubicBezTo>
                  <a:lnTo>
                    <a:pt x="2731" y="4986"/>
                  </a:lnTo>
                  <a:cubicBezTo>
                    <a:pt x="4238" y="4594"/>
                    <a:pt x="5237" y="3891"/>
                    <a:pt x="5532" y="3005"/>
                  </a:cubicBezTo>
                  <a:cubicBezTo>
                    <a:pt x="5771" y="2302"/>
                    <a:pt x="5562" y="1508"/>
                    <a:pt x="4936" y="708"/>
                  </a:cubicBezTo>
                  <a:cubicBezTo>
                    <a:pt x="4621" y="311"/>
                    <a:pt x="4198" y="76"/>
                    <a:pt x="3683" y="15"/>
                  </a:cubicBezTo>
                  <a:cubicBezTo>
                    <a:pt x="3594" y="5"/>
                    <a:pt x="3503" y="0"/>
                    <a:pt x="3412" y="0"/>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48" name="Google Shape;439;p31"/>
            <p:cNvSpPr/>
            <p:nvPr/>
          </p:nvSpPr>
          <p:spPr>
            <a:xfrm>
              <a:off x="4588200" y="796700"/>
              <a:ext cx="174325" cy="73275"/>
            </a:xfrm>
            <a:custGeom>
              <a:avLst/>
              <a:gdLst/>
              <a:ahLst/>
              <a:cxnLst/>
              <a:rect l="l" t="t" r="r" b="b"/>
              <a:pathLst>
                <a:path w="6973" h="2931" extrusionOk="0">
                  <a:moveTo>
                    <a:pt x="4671" y="1"/>
                  </a:moveTo>
                  <a:cubicBezTo>
                    <a:pt x="3161" y="1"/>
                    <a:pt x="1205" y="875"/>
                    <a:pt x="0" y="2096"/>
                  </a:cubicBezTo>
                  <a:lnTo>
                    <a:pt x="193" y="2284"/>
                  </a:lnTo>
                  <a:cubicBezTo>
                    <a:pt x="1354" y="1113"/>
                    <a:pt x="3230" y="272"/>
                    <a:pt x="4680" y="272"/>
                  </a:cubicBezTo>
                  <a:cubicBezTo>
                    <a:pt x="4711" y="272"/>
                    <a:pt x="4737" y="272"/>
                    <a:pt x="4767" y="277"/>
                  </a:cubicBezTo>
                  <a:cubicBezTo>
                    <a:pt x="5465" y="293"/>
                    <a:pt x="5994" y="496"/>
                    <a:pt x="6347" y="888"/>
                  </a:cubicBezTo>
                  <a:cubicBezTo>
                    <a:pt x="6591" y="1163"/>
                    <a:pt x="6678" y="1408"/>
                    <a:pt x="6601" y="1627"/>
                  </a:cubicBezTo>
                  <a:cubicBezTo>
                    <a:pt x="6397" y="2218"/>
                    <a:pt x="5094" y="2574"/>
                    <a:pt x="4610" y="2661"/>
                  </a:cubicBezTo>
                  <a:lnTo>
                    <a:pt x="4655" y="2931"/>
                  </a:lnTo>
                  <a:cubicBezTo>
                    <a:pt x="4737" y="2916"/>
                    <a:pt x="6565" y="2580"/>
                    <a:pt x="6861" y="1713"/>
                  </a:cubicBezTo>
                  <a:cubicBezTo>
                    <a:pt x="6972" y="1398"/>
                    <a:pt x="6866" y="1057"/>
                    <a:pt x="6549" y="710"/>
                  </a:cubicBezTo>
                  <a:cubicBezTo>
                    <a:pt x="6152" y="262"/>
                    <a:pt x="5536" y="18"/>
                    <a:pt x="4772" y="2"/>
                  </a:cubicBezTo>
                  <a:cubicBezTo>
                    <a:pt x="4739" y="1"/>
                    <a:pt x="4705" y="1"/>
                    <a:pt x="4671" y="1"/>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49" name="Google Shape;440;p31"/>
            <p:cNvSpPr/>
            <p:nvPr/>
          </p:nvSpPr>
          <p:spPr>
            <a:xfrm>
              <a:off x="4629950" y="905225"/>
              <a:ext cx="75025" cy="129125"/>
            </a:xfrm>
            <a:custGeom>
              <a:avLst/>
              <a:gdLst/>
              <a:ahLst/>
              <a:cxnLst/>
              <a:rect l="l" t="t" r="r" b="b"/>
              <a:pathLst>
                <a:path w="3001" h="5165" extrusionOk="0">
                  <a:moveTo>
                    <a:pt x="2808" y="0"/>
                  </a:moveTo>
                  <a:cubicBezTo>
                    <a:pt x="2705" y="103"/>
                    <a:pt x="429" y="2496"/>
                    <a:pt x="1" y="5120"/>
                  </a:cubicBezTo>
                  <a:lnTo>
                    <a:pt x="271" y="5165"/>
                  </a:lnTo>
                  <a:cubicBezTo>
                    <a:pt x="683" y="2624"/>
                    <a:pt x="2980" y="214"/>
                    <a:pt x="3001" y="189"/>
                  </a:cubicBezTo>
                  <a:lnTo>
                    <a:pt x="2808" y="0"/>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0" name="Google Shape;441;p31"/>
            <p:cNvSpPr/>
            <p:nvPr/>
          </p:nvSpPr>
          <p:spPr>
            <a:xfrm>
              <a:off x="4579150" y="934900"/>
              <a:ext cx="65225" cy="131675"/>
            </a:xfrm>
            <a:custGeom>
              <a:avLst/>
              <a:gdLst/>
              <a:ahLst/>
              <a:cxnLst/>
              <a:rect l="l" t="t" r="r" b="b"/>
              <a:pathLst>
                <a:path w="2609" h="5267" extrusionOk="0">
                  <a:moveTo>
                    <a:pt x="2461" y="0"/>
                  </a:moveTo>
                  <a:cubicBezTo>
                    <a:pt x="2435" y="16"/>
                    <a:pt x="0" y="1575"/>
                    <a:pt x="1004" y="5266"/>
                  </a:cubicBezTo>
                  <a:lnTo>
                    <a:pt x="1269" y="5195"/>
                  </a:lnTo>
                  <a:cubicBezTo>
                    <a:pt x="317" y="1707"/>
                    <a:pt x="2511" y="291"/>
                    <a:pt x="2609" y="230"/>
                  </a:cubicBezTo>
                  <a:lnTo>
                    <a:pt x="2461" y="0"/>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1" name="Google Shape;442;p31"/>
            <p:cNvSpPr/>
            <p:nvPr/>
          </p:nvSpPr>
          <p:spPr>
            <a:xfrm>
              <a:off x="4663300" y="1329775"/>
              <a:ext cx="234725" cy="996100"/>
            </a:xfrm>
            <a:custGeom>
              <a:avLst/>
              <a:gdLst/>
              <a:ahLst/>
              <a:cxnLst/>
              <a:rect l="l" t="t" r="r" b="b"/>
              <a:pathLst>
                <a:path w="9389" h="39844" extrusionOk="0">
                  <a:moveTo>
                    <a:pt x="4129" y="0"/>
                  </a:moveTo>
                  <a:cubicBezTo>
                    <a:pt x="3549" y="0"/>
                    <a:pt x="2844" y="144"/>
                    <a:pt x="2262" y="692"/>
                  </a:cubicBezTo>
                  <a:cubicBezTo>
                    <a:pt x="1040" y="1854"/>
                    <a:pt x="679" y="4614"/>
                    <a:pt x="1004" y="5933"/>
                  </a:cubicBezTo>
                  <a:cubicBezTo>
                    <a:pt x="1540" y="8149"/>
                    <a:pt x="933" y="11046"/>
                    <a:pt x="821" y="13288"/>
                  </a:cubicBezTo>
                  <a:cubicBezTo>
                    <a:pt x="449" y="20794"/>
                    <a:pt x="435" y="30996"/>
                    <a:pt x="1" y="39843"/>
                  </a:cubicBezTo>
                  <a:lnTo>
                    <a:pt x="3185" y="39472"/>
                  </a:lnTo>
                  <a:cubicBezTo>
                    <a:pt x="3185" y="39472"/>
                    <a:pt x="6460" y="17866"/>
                    <a:pt x="7076" y="14402"/>
                  </a:cubicBezTo>
                  <a:cubicBezTo>
                    <a:pt x="7692" y="10935"/>
                    <a:pt x="9388" y="6492"/>
                    <a:pt x="8594" y="4038"/>
                  </a:cubicBezTo>
                  <a:lnTo>
                    <a:pt x="5263" y="178"/>
                  </a:lnTo>
                  <a:cubicBezTo>
                    <a:pt x="5263" y="178"/>
                    <a:pt x="4772" y="0"/>
                    <a:pt x="4129" y="0"/>
                  </a:cubicBezTo>
                  <a:close/>
                </a:path>
              </a:pathLst>
            </a:custGeom>
            <a:solidFill>
              <a:srgbClr val="6D9EE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2" name="Google Shape;443;p31"/>
            <p:cNvSpPr/>
            <p:nvPr/>
          </p:nvSpPr>
          <p:spPr>
            <a:xfrm>
              <a:off x="4656050" y="1322875"/>
              <a:ext cx="243225" cy="1010625"/>
            </a:xfrm>
            <a:custGeom>
              <a:avLst/>
              <a:gdLst/>
              <a:ahLst/>
              <a:cxnLst/>
              <a:rect l="l" t="t" r="r" b="b"/>
              <a:pathLst>
                <a:path w="9729" h="40425" extrusionOk="0">
                  <a:moveTo>
                    <a:pt x="4417" y="1"/>
                  </a:moveTo>
                  <a:cubicBezTo>
                    <a:pt x="3784" y="1"/>
                    <a:pt x="3011" y="162"/>
                    <a:pt x="2364" y="774"/>
                  </a:cubicBezTo>
                  <a:cubicBezTo>
                    <a:pt x="1055" y="2012"/>
                    <a:pt x="694" y="4904"/>
                    <a:pt x="1024" y="6275"/>
                  </a:cubicBezTo>
                  <a:cubicBezTo>
                    <a:pt x="1402" y="7807"/>
                    <a:pt x="1207" y="9678"/>
                    <a:pt x="1019" y="11486"/>
                  </a:cubicBezTo>
                  <a:cubicBezTo>
                    <a:pt x="943" y="12214"/>
                    <a:pt x="871" y="12901"/>
                    <a:pt x="841" y="13548"/>
                  </a:cubicBezTo>
                  <a:cubicBezTo>
                    <a:pt x="657" y="17169"/>
                    <a:pt x="561" y="21382"/>
                    <a:pt x="459" y="25837"/>
                  </a:cubicBezTo>
                  <a:cubicBezTo>
                    <a:pt x="352" y="30600"/>
                    <a:pt x="240" y="35524"/>
                    <a:pt x="16" y="40103"/>
                  </a:cubicBezTo>
                  <a:lnTo>
                    <a:pt x="1" y="40425"/>
                  </a:lnTo>
                  <a:lnTo>
                    <a:pt x="1" y="40425"/>
                  </a:lnTo>
                  <a:lnTo>
                    <a:pt x="3713" y="39997"/>
                  </a:lnTo>
                  <a:lnTo>
                    <a:pt x="3744" y="39788"/>
                  </a:lnTo>
                  <a:cubicBezTo>
                    <a:pt x="3774" y="39574"/>
                    <a:pt x="7025" y="18147"/>
                    <a:pt x="7636" y="14725"/>
                  </a:cubicBezTo>
                  <a:cubicBezTo>
                    <a:pt x="7814" y="13711"/>
                    <a:pt x="8094" y="12586"/>
                    <a:pt x="8369" y="11495"/>
                  </a:cubicBezTo>
                  <a:cubicBezTo>
                    <a:pt x="9037" y="8811"/>
                    <a:pt x="9728" y="6035"/>
                    <a:pt x="9143" y="4227"/>
                  </a:cubicBezTo>
                  <a:lnTo>
                    <a:pt x="9143" y="4227"/>
                  </a:lnTo>
                  <a:lnTo>
                    <a:pt x="8623" y="4396"/>
                  </a:lnTo>
                  <a:cubicBezTo>
                    <a:pt x="9159" y="6056"/>
                    <a:pt x="8487" y="8755"/>
                    <a:pt x="7834" y="11363"/>
                  </a:cubicBezTo>
                  <a:cubicBezTo>
                    <a:pt x="7564" y="12463"/>
                    <a:pt x="7279" y="13599"/>
                    <a:pt x="7095" y="14628"/>
                  </a:cubicBezTo>
                  <a:cubicBezTo>
                    <a:pt x="6520" y="17877"/>
                    <a:pt x="3571" y="37272"/>
                    <a:pt x="3235" y="39503"/>
                  </a:cubicBezTo>
                  <a:lnTo>
                    <a:pt x="577" y="39809"/>
                  </a:lnTo>
                  <a:cubicBezTo>
                    <a:pt x="791" y="35317"/>
                    <a:pt x="902" y="30503"/>
                    <a:pt x="1009" y="25848"/>
                  </a:cubicBezTo>
                  <a:cubicBezTo>
                    <a:pt x="1111" y="21396"/>
                    <a:pt x="1207" y="17189"/>
                    <a:pt x="1386" y="13573"/>
                  </a:cubicBezTo>
                  <a:cubicBezTo>
                    <a:pt x="1416" y="12941"/>
                    <a:pt x="1489" y="12264"/>
                    <a:pt x="1559" y="11542"/>
                  </a:cubicBezTo>
                  <a:cubicBezTo>
                    <a:pt x="1753" y="9687"/>
                    <a:pt x="1957" y="7772"/>
                    <a:pt x="1559" y="6148"/>
                  </a:cubicBezTo>
                  <a:cubicBezTo>
                    <a:pt x="1249" y="4885"/>
                    <a:pt x="1611" y="2241"/>
                    <a:pt x="2741" y="1166"/>
                  </a:cubicBezTo>
                  <a:cubicBezTo>
                    <a:pt x="3257" y="680"/>
                    <a:pt x="3892" y="551"/>
                    <a:pt x="4419" y="551"/>
                  </a:cubicBezTo>
                  <a:cubicBezTo>
                    <a:pt x="4999" y="551"/>
                    <a:pt x="5447" y="708"/>
                    <a:pt x="5455" y="713"/>
                  </a:cubicBezTo>
                  <a:lnTo>
                    <a:pt x="5645" y="198"/>
                  </a:lnTo>
                  <a:cubicBezTo>
                    <a:pt x="5605" y="183"/>
                    <a:pt x="5090" y="1"/>
                    <a:pt x="4417"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3" name="Google Shape;444;p31"/>
            <p:cNvSpPr/>
            <p:nvPr/>
          </p:nvSpPr>
          <p:spPr>
            <a:xfrm>
              <a:off x="4555725" y="2325850"/>
              <a:ext cx="107600" cy="97275"/>
            </a:xfrm>
            <a:custGeom>
              <a:avLst/>
              <a:gdLst/>
              <a:ahLst/>
              <a:cxnLst/>
              <a:rect l="l" t="t" r="r" b="b"/>
              <a:pathLst>
                <a:path w="4304" h="3891" extrusionOk="0">
                  <a:moveTo>
                    <a:pt x="4304" y="0"/>
                  </a:moveTo>
                  <a:lnTo>
                    <a:pt x="2077" y="2014"/>
                  </a:lnTo>
                  <a:lnTo>
                    <a:pt x="2077" y="2014"/>
                  </a:lnTo>
                  <a:cubicBezTo>
                    <a:pt x="2195" y="1930"/>
                    <a:pt x="2324" y="1839"/>
                    <a:pt x="2465" y="1737"/>
                  </a:cubicBezTo>
                  <a:cubicBezTo>
                    <a:pt x="3876" y="729"/>
                    <a:pt x="4303" y="0"/>
                    <a:pt x="4304" y="0"/>
                  </a:cubicBezTo>
                  <a:close/>
                  <a:moveTo>
                    <a:pt x="2077" y="2014"/>
                  </a:moveTo>
                  <a:cubicBezTo>
                    <a:pt x="1014" y="2765"/>
                    <a:pt x="798" y="2882"/>
                    <a:pt x="1" y="3891"/>
                  </a:cubicBezTo>
                  <a:lnTo>
                    <a:pt x="2077" y="2014"/>
                  </a:lnTo>
                  <a:close/>
                </a:path>
              </a:pathLst>
            </a:custGeom>
            <a:solidFill>
              <a:srgbClr val="D2D7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4" name="Google Shape;445;p31"/>
            <p:cNvSpPr/>
            <p:nvPr/>
          </p:nvSpPr>
          <p:spPr>
            <a:xfrm>
              <a:off x="4547950" y="2318925"/>
              <a:ext cx="123175" cy="111075"/>
            </a:xfrm>
            <a:custGeom>
              <a:avLst/>
              <a:gdLst/>
              <a:ahLst/>
              <a:cxnLst/>
              <a:rect l="l" t="t" r="r" b="b"/>
              <a:pathLst>
                <a:path w="4927" h="4443" extrusionOk="0">
                  <a:moveTo>
                    <a:pt x="4614" y="0"/>
                  </a:moveTo>
                  <a:cubicBezTo>
                    <a:pt x="4519" y="0"/>
                    <a:pt x="4427" y="49"/>
                    <a:pt x="4376" y="134"/>
                  </a:cubicBezTo>
                  <a:cubicBezTo>
                    <a:pt x="4376" y="144"/>
                    <a:pt x="3953" y="837"/>
                    <a:pt x="2618" y="1794"/>
                  </a:cubicBezTo>
                  <a:cubicBezTo>
                    <a:pt x="2384" y="1963"/>
                    <a:pt x="2186" y="2100"/>
                    <a:pt x="2012" y="2222"/>
                  </a:cubicBezTo>
                  <a:cubicBezTo>
                    <a:pt x="1126" y="2844"/>
                    <a:pt x="862" y="3032"/>
                    <a:pt x="98" y="4000"/>
                  </a:cubicBezTo>
                  <a:cubicBezTo>
                    <a:pt x="0" y="4117"/>
                    <a:pt x="21" y="4290"/>
                    <a:pt x="138" y="4382"/>
                  </a:cubicBezTo>
                  <a:cubicBezTo>
                    <a:pt x="190" y="4422"/>
                    <a:pt x="251" y="4443"/>
                    <a:pt x="312" y="4443"/>
                  </a:cubicBezTo>
                  <a:cubicBezTo>
                    <a:pt x="388" y="4443"/>
                    <a:pt x="470" y="4408"/>
                    <a:pt x="526" y="4337"/>
                  </a:cubicBezTo>
                  <a:cubicBezTo>
                    <a:pt x="1238" y="3435"/>
                    <a:pt x="1447" y="3287"/>
                    <a:pt x="2329" y="2671"/>
                  </a:cubicBezTo>
                  <a:cubicBezTo>
                    <a:pt x="2501" y="2548"/>
                    <a:pt x="2700" y="2405"/>
                    <a:pt x="2934" y="2238"/>
                  </a:cubicBezTo>
                  <a:cubicBezTo>
                    <a:pt x="4376" y="1204"/>
                    <a:pt x="4829" y="445"/>
                    <a:pt x="4849" y="414"/>
                  </a:cubicBezTo>
                  <a:cubicBezTo>
                    <a:pt x="4926" y="282"/>
                    <a:pt x="4880" y="120"/>
                    <a:pt x="4753" y="38"/>
                  </a:cubicBezTo>
                  <a:cubicBezTo>
                    <a:pt x="4709" y="12"/>
                    <a:pt x="4661" y="0"/>
                    <a:pt x="4614"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5" name="Google Shape;446;p31"/>
            <p:cNvSpPr/>
            <p:nvPr/>
          </p:nvSpPr>
          <p:spPr>
            <a:xfrm>
              <a:off x="5501250" y="747825"/>
              <a:ext cx="202100" cy="183925"/>
            </a:xfrm>
            <a:custGeom>
              <a:avLst/>
              <a:gdLst/>
              <a:ahLst/>
              <a:cxnLst/>
              <a:rect l="l" t="t" r="r" b="b"/>
              <a:pathLst>
                <a:path w="8084" h="7357" extrusionOk="0">
                  <a:moveTo>
                    <a:pt x="7237" y="1"/>
                  </a:moveTo>
                  <a:cubicBezTo>
                    <a:pt x="7219" y="1"/>
                    <a:pt x="7208" y="1"/>
                    <a:pt x="7208" y="1"/>
                  </a:cubicBezTo>
                  <a:cubicBezTo>
                    <a:pt x="7208" y="1"/>
                    <a:pt x="4188" y="1601"/>
                    <a:pt x="3134" y="2375"/>
                  </a:cubicBezTo>
                  <a:cubicBezTo>
                    <a:pt x="2079" y="3154"/>
                    <a:pt x="1" y="5436"/>
                    <a:pt x="1" y="5436"/>
                  </a:cubicBezTo>
                  <a:lnTo>
                    <a:pt x="1728" y="7356"/>
                  </a:lnTo>
                  <a:cubicBezTo>
                    <a:pt x="1728" y="7356"/>
                    <a:pt x="4993" y="7025"/>
                    <a:pt x="6256" y="6780"/>
                  </a:cubicBezTo>
                  <a:cubicBezTo>
                    <a:pt x="7518" y="6541"/>
                    <a:pt x="7509" y="6357"/>
                    <a:pt x="7657" y="5624"/>
                  </a:cubicBezTo>
                  <a:cubicBezTo>
                    <a:pt x="7729" y="5263"/>
                    <a:pt x="7291" y="5188"/>
                    <a:pt x="6761" y="5188"/>
                  </a:cubicBezTo>
                  <a:cubicBezTo>
                    <a:pt x="6386" y="5188"/>
                    <a:pt x="5966" y="5225"/>
                    <a:pt x="5645" y="5225"/>
                  </a:cubicBezTo>
                  <a:cubicBezTo>
                    <a:pt x="5491" y="5225"/>
                    <a:pt x="5360" y="5217"/>
                    <a:pt x="5268" y="5191"/>
                  </a:cubicBezTo>
                  <a:cubicBezTo>
                    <a:pt x="4718" y="5034"/>
                    <a:pt x="4672" y="4127"/>
                    <a:pt x="4993" y="3200"/>
                  </a:cubicBezTo>
                  <a:cubicBezTo>
                    <a:pt x="5313" y="2274"/>
                    <a:pt x="7457" y="1442"/>
                    <a:pt x="7789" y="699"/>
                  </a:cubicBezTo>
                  <a:cubicBezTo>
                    <a:pt x="8084" y="37"/>
                    <a:pt x="7391" y="1"/>
                    <a:pt x="7237" y="1"/>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6" name="Google Shape;447;p31"/>
            <p:cNvSpPr/>
            <p:nvPr/>
          </p:nvSpPr>
          <p:spPr>
            <a:xfrm>
              <a:off x="4555325" y="2400075"/>
              <a:ext cx="52875" cy="57075"/>
            </a:xfrm>
            <a:custGeom>
              <a:avLst/>
              <a:gdLst/>
              <a:ahLst/>
              <a:cxnLst/>
              <a:rect l="l" t="t" r="r" b="b"/>
              <a:pathLst>
                <a:path w="2115" h="2283" extrusionOk="0">
                  <a:moveTo>
                    <a:pt x="2114" y="0"/>
                  </a:moveTo>
                  <a:cubicBezTo>
                    <a:pt x="2114" y="1"/>
                    <a:pt x="93" y="1594"/>
                    <a:pt x="1" y="2282"/>
                  </a:cubicBezTo>
                  <a:lnTo>
                    <a:pt x="2114" y="0"/>
                  </a:lnTo>
                  <a:close/>
                </a:path>
              </a:pathLst>
            </a:custGeom>
            <a:solidFill>
              <a:srgbClr val="D2D7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7" name="Google Shape;448;p31"/>
            <p:cNvSpPr/>
            <p:nvPr/>
          </p:nvSpPr>
          <p:spPr>
            <a:xfrm>
              <a:off x="4548100" y="2393300"/>
              <a:ext cx="67850" cy="70725"/>
            </a:xfrm>
            <a:custGeom>
              <a:avLst/>
              <a:gdLst/>
              <a:ahLst/>
              <a:cxnLst/>
              <a:rect l="l" t="t" r="r" b="b"/>
              <a:pathLst>
                <a:path w="2714" h="2829" extrusionOk="0">
                  <a:moveTo>
                    <a:pt x="2403" y="0"/>
                  </a:moveTo>
                  <a:cubicBezTo>
                    <a:pt x="2345" y="0"/>
                    <a:pt x="2285" y="19"/>
                    <a:pt x="2236" y="57"/>
                  </a:cubicBezTo>
                  <a:cubicBezTo>
                    <a:pt x="1884" y="332"/>
                    <a:pt x="123" y="1759"/>
                    <a:pt x="20" y="2517"/>
                  </a:cubicBezTo>
                  <a:cubicBezTo>
                    <a:pt x="0" y="2670"/>
                    <a:pt x="107" y="2803"/>
                    <a:pt x="255" y="2822"/>
                  </a:cubicBezTo>
                  <a:cubicBezTo>
                    <a:pt x="269" y="2828"/>
                    <a:pt x="280" y="2828"/>
                    <a:pt x="290" y="2828"/>
                  </a:cubicBezTo>
                  <a:cubicBezTo>
                    <a:pt x="428" y="2828"/>
                    <a:pt x="544" y="2726"/>
                    <a:pt x="560" y="2589"/>
                  </a:cubicBezTo>
                  <a:cubicBezTo>
                    <a:pt x="611" y="2232"/>
                    <a:pt x="1639" y="1219"/>
                    <a:pt x="2572" y="485"/>
                  </a:cubicBezTo>
                  <a:cubicBezTo>
                    <a:pt x="2694" y="394"/>
                    <a:pt x="2714" y="220"/>
                    <a:pt x="2617" y="103"/>
                  </a:cubicBezTo>
                  <a:cubicBezTo>
                    <a:pt x="2564" y="35"/>
                    <a:pt x="2484" y="0"/>
                    <a:pt x="2403"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8" name="Google Shape;449;p31"/>
            <p:cNvSpPr/>
            <p:nvPr/>
          </p:nvSpPr>
          <p:spPr>
            <a:xfrm>
              <a:off x="4586650" y="2396250"/>
              <a:ext cx="55050" cy="74250"/>
            </a:xfrm>
            <a:custGeom>
              <a:avLst/>
              <a:gdLst/>
              <a:ahLst/>
              <a:cxnLst/>
              <a:rect l="l" t="t" r="r" b="b"/>
              <a:pathLst>
                <a:path w="2202" h="2970" extrusionOk="0">
                  <a:moveTo>
                    <a:pt x="2201" y="1"/>
                  </a:moveTo>
                  <a:lnTo>
                    <a:pt x="2201" y="1"/>
                  </a:lnTo>
                  <a:cubicBezTo>
                    <a:pt x="2201" y="1"/>
                    <a:pt x="388" y="1905"/>
                    <a:pt x="1" y="2970"/>
                  </a:cubicBezTo>
                  <a:lnTo>
                    <a:pt x="2201" y="1"/>
                  </a:lnTo>
                  <a:close/>
                </a:path>
              </a:pathLst>
            </a:custGeom>
            <a:solidFill>
              <a:srgbClr val="D2D70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9" name="Google Shape;450;p31"/>
            <p:cNvSpPr/>
            <p:nvPr/>
          </p:nvSpPr>
          <p:spPr>
            <a:xfrm>
              <a:off x="4578900" y="2389400"/>
              <a:ext cx="70425" cy="87975"/>
            </a:xfrm>
            <a:custGeom>
              <a:avLst/>
              <a:gdLst/>
              <a:ahLst/>
              <a:cxnLst/>
              <a:rect l="l" t="t" r="r" b="b"/>
              <a:pathLst>
                <a:path w="2817" h="3519" extrusionOk="0">
                  <a:moveTo>
                    <a:pt x="2512" y="0"/>
                  </a:moveTo>
                  <a:cubicBezTo>
                    <a:pt x="2440" y="0"/>
                    <a:pt x="2368" y="29"/>
                    <a:pt x="2313" y="86"/>
                  </a:cubicBezTo>
                  <a:cubicBezTo>
                    <a:pt x="2236" y="162"/>
                    <a:pt x="454" y="2047"/>
                    <a:pt x="52" y="3152"/>
                  </a:cubicBezTo>
                  <a:cubicBezTo>
                    <a:pt x="0" y="3295"/>
                    <a:pt x="71" y="3448"/>
                    <a:pt x="214" y="3498"/>
                  </a:cubicBezTo>
                  <a:cubicBezTo>
                    <a:pt x="245" y="3514"/>
                    <a:pt x="280" y="3519"/>
                    <a:pt x="311" y="3519"/>
                  </a:cubicBezTo>
                  <a:cubicBezTo>
                    <a:pt x="423" y="3519"/>
                    <a:pt x="525" y="3448"/>
                    <a:pt x="565" y="3335"/>
                  </a:cubicBezTo>
                  <a:cubicBezTo>
                    <a:pt x="927" y="2343"/>
                    <a:pt x="2695" y="479"/>
                    <a:pt x="2710" y="463"/>
                  </a:cubicBezTo>
                  <a:cubicBezTo>
                    <a:pt x="2817" y="350"/>
                    <a:pt x="2812" y="178"/>
                    <a:pt x="2699" y="75"/>
                  </a:cubicBezTo>
                  <a:cubicBezTo>
                    <a:pt x="2648" y="26"/>
                    <a:pt x="2580" y="0"/>
                    <a:pt x="2512"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0" name="Google Shape;451;p31"/>
            <p:cNvSpPr/>
            <p:nvPr/>
          </p:nvSpPr>
          <p:spPr>
            <a:xfrm>
              <a:off x="4614175" y="2333850"/>
              <a:ext cx="132300" cy="154750"/>
            </a:xfrm>
            <a:custGeom>
              <a:avLst/>
              <a:gdLst/>
              <a:ahLst/>
              <a:cxnLst/>
              <a:rect l="l" t="t" r="r" b="b"/>
              <a:pathLst>
                <a:path w="5292" h="6190" extrusionOk="0">
                  <a:moveTo>
                    <a:pt x="5058" y="0"/>
                  </a:moveTo>
                  <a:lnTo>
                    <a:pt x="2594" y="3016"/>
                  </a:lnTo>
                  <a:lnTo>
                    <a:pt x="2594" y="3016"/>
                  </a:lnTo>
                  <a:cubicBezTo>
                    <a:pt x="2858" y="2793"/>
                    <a:pt x="3107" y="2634"/>
                    <a:pt x="3321" y="2578"/>
                  </a:cubicBezTo>
                  <a:cubicBezTo>
                    <a:pt x="3467" y="2540"/>
                    <a:pt x="3580" y="2521"/>
                    <a:pt x="3666" y="2521"/>
                  </a:cubicBezTo>
                  <a:cubicBezTo>
                    <a:pt x="4262" y="2521"/>
                    <a:pt x="3606" y="3397"/>
                    <a:pt x="3886" y="4549"/>
                  </a:cubicBezTo>
                  <a:cubicBezTo>
                    <a:pt x="3988" y="4969"/>
                    <a:pt x="4130" y="5144"/>
                    <a:pt x="4283" y="5144"/>
                  </a:cubicBezTo>
                  <a:cubicBezTo>
                    <a:pt x="4611" y="5144"/>
                    <a:pt x="4986" y="4330"/>
                    <a:pt x="5108" y="3388"/>
                  </a:cubicBezTo>
                  <a:cubicBezTo>
                    <a:pt x="5292" y="2008"/>
                    <a:pt x="4966" y="689"/>
                    <a:pt x="5058" y="0"/>
                  </a:cubicBezTo>
                  <a:close/>
                  <a:moveTo>
                    <a:pt x="2594" y="3016"/>
                  </a:moveTo>
                  <a:cubicBezTo>
                    <a:pt x="1436" y="3992"/>
                    <a:pt x="0" y="6189"/>
                    <a:pt x="0" y="6189"/>
                  </a:cubicBezTo>
                  <a:lnTo>
                    <a:pt x="2594" y="3016"/>
                  </a:lnTo>
                  <a:close/>
                </a:path>
              </a:pathLst>
            </a:custGeom>
            <a:solidFill>
              <a:srgbClr val="6D9EE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1" name="Google Shape;452;p31"/>
            <p:cNvSpPr/>
            <p:nvPr/>
          </p:nvSpPr>
          <p:spPr>
            <a:xfrm>
              <a:off x="4606400" y="2326925"/>
              <a:ext cx="145050" cy="168425"/>
            </a:xfrm>
            <a:custGeom>
              <a:avLst/>
              <a:gdLst/>
              <a:ahLst/>
              <a:cxnLst/>
              <a:rect l="l" t="t" r="r" b="b"/>
              <a:pathLst>
                <a:path w="5802" h="6737" extrusionOk="0">
                  <a:moveTo>
                    <a:pt x="5370" y="0"/>
                  </a:moveTo>
                  <a:cubicBezTo>
                    <a:pt x="5235" y="0"/>
                    <a:pt x="5117" y="101"/>
                    <a:pt x="5099" y="242"/>
                  </a:cubicBezTo>
                  <a:cubicBezTo>
                    <a:pt x="5057" y="557"/>
                    <a:pt x="5094" y="966"/>
                    <a:pt x="5134" y="1439"/>
                  </a:cubicBezTo>
                  <a:cubicBezTo>
                    <a:pt x="5186" y="2071"/>
                    <a:pt x="5252" y="2849"/>
                    <a:pt x="5149" y="3629"/>
                  </a:cubicBezTo>
                  <a:cubicBezTo>
                    <a:pt x="5033" y="4515"/>
                    <a:pt x="4712" y="5101"/>
                    <a:pt x="4630" y="5157"/>
                  </a:cubicBezTo>
                  <a:cubicBezTo>
                    <a:pt x="4630" y="5157"/>
                    <a:pt x="4544" y="5096"/>
                    <a:pt x="4462" y="4760"/>
                  </a:cubicBezTo>
                  <a:cubicBezTo>
                    <a:pt x="4345" y="4276"/>
                    <a:pt x="4411" y="3843"/>
                    <a:pt x="4462" y="3497"/>
                  </a:cubicBezTo>
                  <a:cubicBezTo>
                    <a:pt x="4518" y="3145"/>
                    <a:pt x="4564" y="2844"/>
                    <a:pt x="4350" y="2651"/>
                  </a:cubicBezTo>
                  <a:cubicBezTo>
                    <a:pt x="4246" y="2558"/>
                    <a:pt x="4115" y="2525"/>
                    <a:pt x="3974" y="2525"/>
                  </a:cubicBezTo>
                  <a:cubicBezTo>
                    <a:pt x="3839" y="2525"/>
                    <a:pt x="3695" y="2555"/>
                    <a:pt x="3560" y="2590"/>
                  </a:cubicBezTo>
                  <a:cubicBezTo>
                    <a:pt x="2338" y="2910"/>
                    <a:pt x="311" y="5966"/>
                    <a:pt x="82" y="6313"/>
                  </a:cubicBezTo>
                  <a:cubicBezTo>
                    <a:pt x="1" y="6441"/>
                    <a:pt x="36" y="6608"/>
                    <a:pt x="163" y="6695"/>
                  </a:cubicBezTo>
                  <a:cubicBezTo>
                    <a:pt x="210" y="6725"/>
                    <a:pt x="260" y="6736"/>
                    <a:pt x="311" y="6736"/>
                  </a:cubicBezTo>
                  <a:cubicBezTo>
                    <a:pt x="398" y="6736"/>
                    <a:pt x="490" y="6695"/>
                    <a:pt x="541" y="6614"/>
                  </a:cubicBezTo>
                  <a:cubicBezTo>
                    <a:pt x="1126" y="5717"/>
                    <a:pt x="2838" y="3344"/>
                    <a:pt x="3698" y="3119"/>
                  </a:cubicBezTo>
                  <a:cubicBezTo>
                    <a:pt x="3841" y="3084"/>
                    <a:pt x="3917" y="3074"/>
                    <a:pt x="3963" y="3069"/>
                  </a:cubicBezTo>
                  <a:lnTo>
                    <a:pt x="3963" y="3069"/>
                  </a:lnTo>
                  <a:cubicBezTo>
                    <a:pt x="3963" y="3150"/>
                    <a:pt x="3943" y="3298"/>
                    <a:pt x="3922" y="3415"/>
                  </a:cubicBezTo>
                  <a:cubicBezTo>
                    <a:pt x="3866" y="3787"/>
                    <a:pt x="3790" y="4301"/>
                    <a:pt x="3933" y="4892"/>
                  </a:cubicBezTo>
                  <a:cubicBezTo>
                    <a:pt x="4061" y="5426"/>
                    <a:pt x="4286" y="5692"/>
                    <a:pt x="4593" y="5692"/>
                  </a:cubicBezTo>
                  <a:cubicBezTo>
                    <a:pt x="4602" y="5692"/>
                    <a:pt x="4611" y="5692"/>
                    <a:pt x="4620" y="5691"/>
                  </a:cubicBezTo>
                  <a:cubicBezTo>
                    <a:pt x="5266" y="5656"/>
                    <a:pt x="5603" y="4372"/>
                    <a:pt x="5694" y="3700"/>
                  </a:cubicBezTo>
                  <a:cubicBezTo>
                    <a:pt x="5802" y="2865"/>
                    <a:pt x="5730" y="2050"/>
                    <a:pt x="5680" y="1393"/>
                  </a:cubicBezTo>
                  <a:cubicBezTo>
                    <a:pt x="5638" y="950"/>
                    <a:pt x="5608" y="568"/>
                    <a:pt x="5638" y="313"/>
                  </a:cubicBezTo>
                  <a:cubicBezTo>
                    <a:pt x="5659" y="160"/>
                    <a:pt x="5553" y="23"/>
                    <a:pt x="5405" y="2"/>
                  </a:cubicBezTo>
                  <a:cubicBezTo>
                    <a:pt x="5393" y="1"/>
                    <a:pt x="5381" y="0"/>
                    <a:pt x="5370"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2" name="Google Shape;453;p31"/>
            <p:cNvSpPr/>
            <p:nvPr/>
          </p:nvSpPr>
          <p:spPr>
            <a:xfrm>
              <a:off x="5232750" y="2470475"/>
              <a:ext cx="222200" cy="145550"/>
            </a:xfrm>
            <a:custGeom>
              <a:avLst/>
              <a:gdLst/>
              <a:ahLst/>
              <a:cxnLst/>
              <a:rect l="l" t="t" r="r" b="b"/>
              <a:pathLst>
                <a:path w="8888" h="5822" extrusionOk="0">
                  <a:moveTo>
                    <a:pt x="1507" y="1"/>
                  </a:moveTo>
                  <a:cubicBezTo>
                    <a:pt x="1507" y="1"/>
                    <a:pt x="1456" y="41"/>
                    <a:pt x="1370" y="113"/>
                  </a:cubicBezTo>
                  <a:cubicBezTo>
                    <a:pt x="998" y="424"/>
                    <a:pt x="0" y="1324"/>
                    <a:pt x="179" y="1916"/>
                  </a:cubicBezTo>
                  <a:cubicBezTo>
                    <a:pt x="392" y="2634"/>
                    <a:pt x="784" y="3158"/>
                    <a:pt x="784" y="3158"/>
                  </a:cubicBezTo>
                  <a:lnTo>
                    <a:pt x="2995" y="3785"/>
                  </a:lnTo>
                  <a:lnTo>
                    <a:pt x="3707" y="3388"/>
                  </a:lnTo>
                  <a:lnTo>
                    <a:pt x="5037" y="4600"/>
                  </a:lnTo>
                  <a:cubicBezTo>
                    <a:pt x="5037" y="4600"/>
                    <a:pt x="7358" y="5822"/>
                    <a:pt x="8240" y="5822"/>
                  </a:cubicBezTo>
                  <a:cubicBezTo>
                    <a:pt x="8389" y="5822"/>
                    <a:pt x="8497" y="5787"/>
                    <a:pt x="8546" y="5705"/>
                  </a:cubicBezTo>
                  <a:cubicBezTo>
                    <a:pt x="8888" y="5144"/>
                    <a:pt x="5292" y="2222"/>
                    <a:pt x="5292" y="2222"/>
                  </a:cubicBezTo>
                  <a:lnTo>
                    <a:pt x="5026" y="882"/>
                  </a:lnTo>
                  <a:lnTo>
                    <a:pt x="1507" y="1"/>
                  </a:ln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3" name="Google Shape;454;p31"/>
            <p:cNvSpPr/>
            <p:nvPr/>
          </p:nvSpPr>
          <p:spPr>
            <a:xfrm>
              <a:off x="4890600" y="883700"/>
              <a:ext cx="663800" cy="545500"/>
            </a:xfrm>
            <a:custGeom>
              <a:avLst/>
              <a:gdLst/>
              <a:ahLst/>
              <a:cxnLst/>
              <a:rect l="l" t="t" r="r" b="b"/>
              <a:pathLst>
                <a:path w="26552" h="21820" extrusionOk="0">
                  <a:moveTo>
                    <a:pt x="24427" y="1"/>
                  </a:moveTo>
                  <a:lnTo>
                    <a:pt x="20179" y="2568"/>
                  </a:lnTo>
                  <a:cubicBezTo>
                    <a:pt x="20179" y="2568"/>
                    <a:pt x="10461" y="8853"/>
                    <a:pt x="8877" y="10019"/>
                  </a:cubicBezTo>
                  <a:cubicBezTo>
                    <a:pt x="7294" y="11185"/>
                    <a:pt x="1" y="14801"/>
                    <a:pt x="1" y="14801"/>
                  </a:cubicBezTo>
                  <a:lnTo>
                    <a:pt x="1788" y="21820"/>
                  </a:lnTo>
                  <a:cubicBezTo>
                    <a:pt x="1788" y="21820"/>
                    <a:pt x="10350" y="18138"/>
                    <a:pt x="12066" y="15877"/>
                  </a:cubicBezTo>
                  <a:cubicBezTo>
                    <a:pt x="13778" y="13609"/>
                    <a:pt x="26551" y="2634"/>
                    <a:pt x="26551" y="2634"/>
                  </a:cubicBezTo>
                  <a:lnTo>
                    <a:pt x="24427" y="1"/>
                  </a:lnTo>
                  <a:close/>
                </a:path>
              </a:pathLst>
            </a:custGeom>
            <a:solidFill>
              <a:srgbClr val="6D9EE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4" name="Google Shape;455;p31"/>
            <p:cNvSpPr/>
            <p:nvPr/>
          </p:nvSpPr>
          <p:spPr>
            <a:xfrm>
              <a:off x="4882850" y="876875"/>
              <a:ext cx="679175" cy="559200"/>
            </a:xfrm>
            <a:custGeom>
              <a:avLst/>
              <a:gdLst/>
              <a:ahLst/>
              <a:cxnLst/>
              <a:rect l="l" t="t" r="r" b="b"/>
              <a:pathLst>
                <a:path w="27167" h="22368" extrusionOk="0">
                  <a:moveTo>
                    <a:pt x="24734" y="1"/>
                  </a:moveTo>
                  <a:cubicBezTo>
                    <a:pt x="24686" y="1"/>
                    <a:pt x="24638" y="13"/>
                    <a:pt x="24595" y="39"/>
                  </a:cubicBezTo>
                  <a:lnTo>
                    <a:pt x="20341" y="2612"/>
                  </a:lnTo>
                  <a:cubicBezTo>
                    <a:pt x="19944" y="2866"/>
                    <a:pt x="10599" y="8912"/>
                    <a:pt x="9025" y="10069"/>
                  </a:cubicBezTo>
                  <a:cubicBezTo>
                    <a:pt x="7476" y="11209"/>
                    <a:pt x="259" y="14794"/>
                    <a:pt x="188" y="14830"/>
                  </a:cubicBezTo>
                  <a:cubicBezTo>
                    <a:pt x="56" y="14902"/>
                    <a:pt x="0" y="15064"/>
                    <a:pt x="66" y="15196"/>
                  </a:cubicBezTo>
                  <a:cubicBezTo>
                    <a:pt x="112" y="15293"/>
                    <a:pt x="207" y="15350"/>
                    <a:pt x="306" y="15350"/>
                  </a:cubicBezTo>
                  <a:cubicBezTo>
                    <a:pt x="349" y="15350"/>
                    <a:pt x="392" y="15340"/>
                    <a:pt x="433" y="15319"/>
                  </a:cubicBezTo>
                  <a:cubicBezTo>
                    <a:pt x="729" y="15172"/>
                    <a:pt x="7767" y="11677"/>
                    <a:pt x="9351" y="10511"/>
                  </a:cubicBezTo>
                  <a:cubicBezTo>
                    <a:pt x="10910" y="9360"/>
                    <a:pt x="20541" y="3132"/>
                    <a:pt x="20632" y="3075"/>
                  </a:cubicBezTo>
                  <a:lnTo>
                    <a:pt x="24676" y="631"/>
                  </a:lnTo>
                  <a:lnTo>
                    <a:pt x="26484" y="2871"/>
                  </a:lnTo>
                  <a:cubicBezTo>
                    <a:pt x="24793" y="4328"/>
                    <a:pt x="13771" y="13852"/>
                    <a:pt x="12158" y="15981"/>
                  </a:cubicBezTo>
                  <a:cubicBezTo>
                    <a:pt x="10507" y="18167"/>
                    <a:pt x="2073" y="21803"/>
                    <a:pt x="1986" y="21844"/>
                  </a:cubicBezTo>
                  <a:cubicBezTo>
                    <a:pt x="1848" y="21900"/>
                    <a:pt x="1787" y="22062"/>
                    <a:pt x="1843" y="22200"/>
                  </a:cubicBezTo>
                  <a:cubicBezTo>
                    <a:pt x="1890" y="22302"/>
                    <a:pt x="1991" y="22368"/>
                    <a:pt x="2098" y="22368"/>
                  </a:cubicBezTo>
                  <a:cubicBezTo>
                    <a:pt x="2134" y="22368"/>
                    <a:pt x="2170" y="22358"/>
                    <a:pt x="2205" y="22342"/>
                  </a:cubicBezTo>
                  <a:cubicBezTo>
                    <a:pt x="2556" y="22189"/>
                    <a:pt x="10853" y="18609"/>
                    <a:pt x="12595" y="16312"/>
                  </a:cubicBezTo>
                  <a:cubicBezTo>
                    <a:pt x="14271" y="14096"/>
                    <a:pt x="26912" y="3223"/>
                    <a:pt x="27040" y="3111"/>
                  </a:cubicBezTo>
                  <a:cubicBezTo>
                    <a:pt x="27151" y="3019"/>
                    <a:pt x="27167" y="2851"/>
                    <a:pt x="27075" y="2734"/>
                  </a:cubicBezTo>
                  <a:lnTo>
                    <a:pt x="24951" y="100"/>
                  </a:lnTo>
                  <a:cubicBezTo>
                    <a:pt x="24896" y="36"/>
                    <a:pt x="24815" y="1"/>
                    <a:pt x="24734" y="1"/>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5" name="Google Shape;456;p31"/>
            <p:cNvSpPr/>
            <p:nvPr/>
          </p:nvSpPr>
          <p:spPr>
            <a:xfrm>
              <a:off x="5493625" y="740975"/>
              <a:ext cx="212675" cy="197650"/>
            </a:xfrm>
            <a:custGeom>
              <a:avLst/>
              <a:gdLst/>
              <a:ahLst/>
              <a:cxnLst/>
              <a:rect l="l" t="t" r="r" b="b"/>
              <a:pathLst>
                <a:path w="8507" h="7906" extrusionOk="0">
                  <a:moveTo>
                    <a:pt x="7525" y="0"/>
                  </a:moveTo>
                  <a:cubicBezTo>
                    <a:pt x="7515" y="0"/>
                    <a:pt x="7508" y="0"/>
                    <a:pt x="7503" y="0"/>
                  </a:cubicBezTo>
                  <a:cubicBezTo>
                    <a:pt x="7462" y="5"/>
                    <a:pt x="7421" y="16"/>
                    <a:pt x="7386" y="31"/>
                  </a:cubicBezTo>
                  <a:cubicBezTo>
                    <a:pt x="7264" y="97"/>
                    <a:pt x="4335" y="1650"/>
                    <a:pt x="3275" y="2430"/>
                  </a:cubicBezTo>
                  <a:cubicBezTo>
                    <a:pt x="2212" y="3214"/>
                    <a:pt x="189" y="5435"/>
                    <a:pt x="103" y="5526"/>
                  </a:cubicBezTo>
                  <a:cubicBezTo>
                    <a:pt x="0" y="5639"/>
                    <a:pt x="11" y="5811"/>
                    <a:pt x="123" y="5914"/>
                  </a:cubicBezTo>
                  <a:cubicBezTo>
                    <a:pt x="175" y="5961"/>
                    <a:pt x="240" y="5984"/>
                    <a:pt x="305" y="5984"/>
                  </a:cubicBezTo>
                  <a:cubicBezTo>
                    <a:pt x="381" y="5984"/>
                    <a:pt x="456" y="5953"/>
                    <a:pt x="510" y="5893"/>
                  </a:cubicBezTo>
                  <a:cubicBezTo>
                    <a:pt x="531" y="5872"/>
                    <a:pt x="2578" y="3622"/>
                    <a:pt x="3601" y="2873"/>
                  </a:cubicBezTo>
                  <a:cubicBezTo>
                    <a:pt x="4549" y="2175"/>
                    <a:pt x="7156" y="775"/>
                    <a:pt x="7584" y="550"/>
                  </a:cubicBezTo>
                  <a:cubicBezTo>
                    <a:pt x="7696" y="555"/>
                    <a:pt x="7844" y="586"/>
                    <a:pt x="7880" y="642"/>
                  </a:cubicBezTo>
                  <a:cubicBezTo>
                    <a:pt x="7900" y="668"/>
                    <a:pt x="7900" y="739"/>
                    <a:pt x="7844" y="867"/>
                  </a:cubicBezTo>
                  <a:cubicBezTo>
                    <a:pt x="7722" y="1136"/>
                    <a:pt x="7172" y="1509"/>
                    <a:pt x="6683" y="1834"/>
                  </a:cubicBezTo>
                  <a:cubicBezTo>
                    <a:pt x="5975" y="2308"/>
                    <a:pt x="5242" y="2802"/>
                    <a:pt x="5038" y="3382"/>
                  </a:cubicBezTo>
                  <a:cubicBezTo>
                    <a:pt x="4779" y="4146"/>
                    <a:pt x="4753" y="4859"/>
                    <a:pt x="4977" y="5292"/>
                  </a:cubicBezTo>
                  <a:cubicBezTo>
                    <a:pt x="5094" y="5512"/>
                    <a:pt x="5277" y="5665"/>
                    <a:pt x="5501" y="5726"/>
                  </a:cubicBezTo>
                  <a:cubicBezTo>
                    <a:pt x="5621" y="5761"/>
                    <a:pt x="5776" y="5771"/>
                    <a:pt x="5956" y="5771"/>
                  </a:cubicBezTo>
                  <a:cubicBezTo>
                    <a:pt x="6115" y="5771"/>
                    <a:pt x="6293" y="5763"/>
                    <a:pt x="6484" y="5756"/>
                  </a:cubicBezTo>
                  <a:cubicBezTo>
                    <a:pt x="6629" y="5750"/>
                    <a:pt x="6838" y="5740"/>
                    <a:pt x="7043" y="5740"/>
                  </a:cubicBezTo>
                  <a:cubicBezTo>
                    <a:pt x="7341" y="5740"/>
                    <a:pt x="7628" y="5761"/>
                    <a:pt x="7691" y="5842"/>
                  </a:cubicBezTo>
                  <a:lnTo>
                    <a:pt x="7676" y="5919"/>
                  </a:lnTo>
                  <a:cubicBezTo>
                    <a:pt x="7559" y="6525"/>
                    <a:pt x="7544" y="6591"/>
                    <a:pt x="6509" y="6784"/>
                  </a:cubicBezTo>
                  <a:cubicBezTo>
                    <a:pt x="5272" y="7024"/>
                    <a:pt x="2038" y="7355"/>
                    <a:pt x="2007" y="7360"/>
                  </a:cubicBezTo>
                  <a:cubicBezTo>
                    <a:pt x="1855" y="7376"/>
                    <a:pt x="1747" y="7508"/>
                    <a:pt x="1763" y="7661"/>
                  </a:cubicBezTo>
                  <a:cubicBezTo>
                    <a:pt x="1778" y="7804"/>
                    <a:pt x="1895" y="7905"/>
                    <a:pt x="2033" y="7905"/>
                  </a:cubicBezTo>
                  <a:lnTo>
                    <a:pt x="2064" y="7905"/>
                  </a:lnTo>
                  <a:cubicBezTo>
                    <a:pt x="2196" y="7889"/>
                    <a:pt x="5348" y="7564"/>
                    <a:pt x="6612" y="7325"/>
                  </a:cubicBezTo>
                  <a:cubicBezTo>
                    <a:pt x="7880" y="7080"/>
                    <a:pt x="8048" y="6861"/>
                    <a:pt x="8216" y="6025"/>
                  </a:cubicBezTo>
                  <a:lnTo>
                    <a:pt x="8226" y="5949"/>
                  </a:lnTo>
                  <a:cubicBezTo>
                    <a:pt x="8277" y="5720"/>
                    <a:pt x="8190" y="5567"/>
                    <a:pt x="8114" y="5475"/>
                  </a:cubicBezTo>
                  <a:cubicBezTo>
                    <a:pt x="7915" y="5245"/>
                    <a:pt x="7533" y="5190"/>
                    <a:pt x="7079" y="5190"/>
                  </a:cubicBezTo>
                  <a:cubicBezTo>
                    <a:pt x="6883" y="5190"/>
                    <a:pt x="6673" y="5200"/>
                    <a:pt x="6459" y="5211"/>
                  </a:cubicBezTo>
                  <a:cubicBezTo>
                    <a:pt x="6294" y="5219"/>
                    <a:pt x="6119" y="5227"/>
                    <a:pt x="5969" y="5227"/>
                  </a:cubicBezTo>
                  <a:cubicBezTo>
                    <a:pt x="5831" y="5227"/>
                    <a:pt x="5715" y="5220"/>
                    <a:pt x="5649" y="5200"/>
                  </a:cubicBezTo>
                  <a:cubicBezTo>
                    <a:pt x="5598" y="5185"/>
                    <a:pt x="5527" y="5155"/>
                    <a:pt x="5466" y="5038"/>
                  </a:cubicBezTo>
                  <a:cubicBezTo>
                    <a:pt x="5313" y="4742"/>
                    <a:pt x="5348" y="4167"/>
                    <a:pt x="5557" y="3561"/>
                  </a:cubicBezTo>
                  <a:cubicBezTo>
                    <a:pt x="5700" y="3153"/>
                    <a:pt x="6382" y="2694"/>
                    <a:pt x="6984" y="2287"/>
                  </a:cubicBezTo>
                  <a:cubicBezTo>
                    <a:pt x="7614" y="1864"/>
                    <a:pt x="8160" y="1502"/>
                    <a:pt x="8343" y="1086"/>
                  </a:cubicBezTo>
                  <a:cubicBezTo>
                    <a:pt x="8507" y="714"/>
                    <a:pt x="8430" y="474"/>
                    <a:pt x="8333" y="331"/>
                  </a:cubicBezTo>
                  <a:cubicBezTo>
                    <a:pt x="8112" y="13"/>
                    <a:pt x="7641" y="0"/>
                    <a:pt x="7525" y="0"/>
                  </a:cubicBez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6" name="Google Shape;457;p31"/>
            <p:cNvSpPr/>
            <p:nvPr/>
          </p:nvSpPr>
          <p:spPr>
            <a:xfrm>
              <a:off x="5015000" y="3888800"/>
              <a:ext cx="108000" cy="64700"/>
            </a:xfrm>
            <a:custGeom>
              <a:avLst/>
              <a:gdLst/>
              <a:ahLst/>
              <a:cxnLst/>
              <a:rect l="l" t="t" r="r" b="b"/>
              <a:pathLst>
                <a:path w="4320" h="2588" extrusionOk="0">
                  <a:moveTo>
                    <a:pt x="4070" y="1"/>
                  </a:moveTo>
                  <a:lnTo>
                    <a:pt x="1" y="2098"/>
                  </a:lnTo>
                  <a:lnTo>
                    <a:pt x="250" y="2587"/>
                  </a:lnTo>
                  <a:lnTo>
                    <a:pt x="4319" y="484"/>
                  </a:lnTo>
                  <a:lnTo>
                    <a:pt x="4070" y="1"/>
                  </a:ln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7" name="Google Shape;458;p31"/>
            <p:cNvSpPr/>
            <p:nvPr/>
          </p:nvSpPr>
          <p:spPr>
            <a:xfrm>
              <a:off x="5163450" y="3599500"/>
              <a:ext cx="519925" cy="277350"/>
            </a:xfrm>
            <a:custGeom>
              <a:avLst/>
              <a:gdLst/>
              <a:ahLst/>
              <a:cxnLst/>
              <a:rect l="l" t="t" r="r" b="b"/>
              <a:pathLst>
                <a:path w="20797" h="11094" extrusionOk="0">
                  <a:moveTo>
                    <a:pt x="20546" y="1"/>
                  </a:moveTo>
                  <a:lnTo>
                    <a:pt x="1" y="10605"/>
                  </a:lnTo>
                  <a:lnTo>
                    <a:pt x="255" y="11094"/>
                  </a:lnTo>
                  <a:lnTo>
                    <a:pt x="20797" y="490"/>
                  </a:lnTo>
                  <a:lnTo>
                    <a:pt x="20546" y="1"/>
                  </a:ln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8" name="Google Shape;459;p31"/>
            <p:cNvSpPr/>
            <p:nvPr/>
          </p:nvSpPr>
          <p:spPr>
            <a:xfrm>
              <a:off x="4456775" y="4681300"/>
              <a:ext cx="108000" cy="64700"/>
            </a:xfrm>
            <a:custGeom>
              <a:avLst/>
              <a:gdLst/>
              <a:ahLst/>
              <a:cxnLst/>
              <a:rect l="l" t="t" r="r" b="b"/>
              <a:pathLst>
                <a:path w="4320" h="2588" extrusionOk="0">
                  <a:moveTo>
                    <a:pt x="4070" y="0"/>
                  </a:moveTo>
                  <a:lnTo>
                    <a:pt x="1" y="2104"/>
                  </a:lnTo>
                  <a:lnTo>
                    <a:pt x="250" y="2588"/>
                  </a:lnTo>
                  <a:lnTo>
                    <a:pt x="4319" y="489"/>
                  </a:lnTo>
                  <a:lnTo>
                    <a:pt x="4070" y="0"/>
                  </a:ln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9" name="Google Shape;460;p31"/>
            <p:cNvSpPr/>
            <p:nvPr/>
          </p:nvSpPr>
          <p:spPr>
            <a:xfrm>
              <a:off x="4605250" y="4392100"/>
              <a:ext cx="519925" cy="277225"/>
            </a:xfrm>
            <a:custGeom>
              <a:avLst/>
              <a:gdLst/>
              <a:ahLst/>
              <a:cxnLst/>
              <a:rect l="l" t="t" r="r" b="b"/>
              <a:pathLst>
                <a:path w="20797" h="11089" extrusionOk="0">
                  <a:moveTo>
                    <a:pt x="20547" y="1"/>
                  </a:moveTo>
                  <a:lnTo>
                    <a:pt x="0" y="10605"/>
                  </a:lnTo>
                  <a:lnTo>
                    <a:pt x="256" y="11089"/>
                  </a:lnTo>
                  <a:lnTo>
                    <a:pt x="20796" y="485"/>
                  </a:lnTo>
                  <a:lnTo>
                    <a:pt x="20547" y="1"/>
                  </a:ln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0" name="Google Shape;461;p31"/>
            <p:cNvSpPr/>
            <p:nvPr/>
          </p:nvSpPr>
          <p:spPr>
            <a:xfrm>
              <a:off x="3605200" y="1218725"/>
              <a:ext cx="108025" cy="64700"/>
            </a:xfrm>
            <a:custGeom>
              <a:avLst/>
              <a:gdLst/>
              <a:ahLst/>
              <a:cxnLst/>
              <a:rect l="l" t="t" r="r" b="b"/>
              <a:pathLst>
                <a:path w="4321" h="2588" extrusionOk="0">
                  <a:moveTo>
                    <a:pt x="4071" y="1"/>
                  </a:moveTo>
                  <a:lnTo>
                    <a:pt x="0" y="2103"/>
                  </a:lnTo>
                  <a:lnTo>
                    <a:pt x="251" y="2587"/>
                  </a:lnTo>
                  <a:lnTo>
                    <a:pt x="4320" y="489"/>
                  </a:lnTo>
                  <a:lnTo>
                    <a:pt x="4071" y="1"/>
                  </a:ln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1" name="Google Shape;462;p31"/>
            <p:cNvSpPr/>
            <p:nvPr/>
          </p:nvSpPr>
          <p:spPr>
            <a:xfrm>
              <a:off x="3753675" y="929550"/>
              <a:ext cx="519900" cy="277225"/>
            </a:xfrm>
            <a:custGeom>
              <a:avLst/>
              <a:gdLst/>
              <a:ahLst/>
              <a:cxnLst/>
              <a:rect l="l" t="t" r="r" b="b"/>
              <a:pathLst>
                <a:path w="20796" h="11089" extrusionOk="0">
                  <a:moveTo>
                    <a:pt x="20546" y="0"/>
                  </a:moveTo>
                  <a:lnTo>
                    <a:pt x="1" y="10604"/>
                  </a:lnTo>
                  <a:lnTo>
                    <a:pt x="255" y="11088"/>
                  </a:lnTo>
                  <a:lnTo>
                    <a:pt x="20796" y="484"/>
                  </a:lnTo>
                  <a:lnTo>
                    <a:pt x="20546" y="0"/>
                  </a:ln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2" name="Google Shape;463;p31"/>
            <p:cNvSpPr/>
            <p:nvPr/>
          </p:nvSpPr>
          <p:spPr>
            <a:xfrm>
              <a:off x="6093625" y="4038275"/>
              <a:ext cx="108100" cy="64725"/>
            </a:xfrm>
            <a:custGeom>
              <a:avLst/>
              <a:gdLst/>
              <a:ahLst/>
              <a:cxnLst/>
              <a:rect l="l" t="t" r="r" b="b"/>
              <a:pathLst>
                <a:path w="4324" h="2589" extrusionOk="0">
                  <a:moveTo>
                    <a:pt x="4074" y="0"/>
                  </a:moveTo>
                  <a:lnTo>
                    <a:pt x="0" y="2104"/>
                  </a:lnTo>
                  <a:lnTo>
                    <a:pt x="254" y="2588"/>
                  </a:lnTo>
                  <a:lnTo>
                    <a:pt x="4324" y="489"/>
                  </a:lnTo>
                  <a:lnTo>
                    <a:pt x="4074" y="0"/>
                  </a:ln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3" name="Google Shape;464;p31"/>
            <p:cNvSpPr/>
            <p:nvPr/>
          </p:nvSpPr>
          <p:spPr>
            <a:xfrm>
              <a:off x="6242200" y="3749125"/>
              <a:ext cx="519925" cy="277225"/>
            </a:xfrm>
            <a:custGeom>
              <a:avLst/>
              <a:gdLst/>
              <a:ahLst/>
              <a:cxnLst/>
              <a:rect l="l" t="t" r="r" b="b"/>
              <a:pathLst>
                <a:path w="20797" h="11089" extrusionOk="0">
                  <a:moveTo>
                    <a:pt x="20546" y="0"/>
                  </a:moveTo>
                  <a:lnTo>
                    <a:pt x="0" y="10604"/>
                  </a:lnTo>
                  <a:lnTo>
                    <a:pt x="250" y="11088"/>
                  </a:lnTo>
                  <a:lnTo>
                    <a:pt x="20796" y="484"/>
                  </a:lnTo>
                  <a:lnTo>
                    <a:pt x="20546" y="0"/>
                  </a:ln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4" name="Google Shape;465;p31"/>
            <p:cNvSpPr/>
            <p:nvPr/>
          </p:nvSpPr>
          <p:spPr>
            <a:xfrm>
              <a:off x="1928425" y="3429500"/>
              <a:ext cx="108000" cy="64725"/>
            </a:xfrm>
            <a:custGeom>
              <a:avLst/>
              <a:gdLst/>
              <a:ahLst/>
              <a:cxnLst/>
              <a:rect l="l" t="t" r="r" b="b"/>
              <a:pathLst>
                <a:path w="4320" h="2589" extrusionOk="0">
                  <a:moveTo>
                    <a:pt x="4070" y="1"/>
                  </a:moveTo>
                  <a:lnTo>
                    <a:pt x="0" y="2104"/>
                  </a:lnTo>
                  <a:lnTo>
                    <a:pt x="250" y="2588"/>
                  </a:lnTo>
                  <a:lnTo>
                    <a:pt x="4319" y="490"/>
                  </a:lnTo>
                  <a:lnTo>
                    <a:pt x="4070" y="1"/>
                  </a:ln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5" name="Google Shape;466;p31"/>
            <p:cNvSpPr/>
            <p:nvPr/>
          </p:nvSpPr>
          <p:spPr>
            <a:xfrm>
              <a:off x="2076875" y="3140350"/>
              <a:ext cx="519900" cy="277225"/>
            </a:xfrm>
            <a:custGeom>
              <a:avLst/>
              <a:gdLst/>
              <a:ahLst/>
              <a:cxnLst/>
              <a:rect l="l" t="t" r="r" b="b"/>
              <a:pathLst>
                <a:path w="20796" h="11089" extrusionOk="0">
                  <a:moveTo>
                    <a:pt x="20546" y="1"/>
                  </a:moveTo>
                  <a:lnTo>
                    <a:pt x="1" y="10605"/>
                  </a:lnTo>
                  <a:lnTo>
                    <a:pt x="255" y="11089"/>
                  </a:lnTo>
                  <a:lnTo>
                    <a:pt x="20795" y="485"/>
                  </a:lnTo>
                  <a:lnTo>
                    <a:pt x="20546" y="1"/>
                  </a:lnTo>
                  <a:close/>
                </a:path>
              </a:pathLst>
            </a:custGeom>
            <a:solidFill>
              <a:srgbClr val="36363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6" name="Google Shape;467;p31"/>
            <p:cNvSpPr/>
            <p:nvPr/>
          </p:nvSpPr>
          <p:spPr>
            <a:xfrm>
              <a:off x="6131950" y="1092925"/>
              <a:ext cx="107975" cy="64700"/>
            </a:xfrm>
            <a:custGeom>
              <a:avLst/>
              <a:gdLst/>
              <a:ahLst/>
              <a:cxnLst/>
              <a:rect l="l" t="t" r="r" b="b"/>
              <a:pathLst>
                <a:path w="4319" h="2588" extrusionOk="0">
                  <a:moveTo>
                    <a:pt x="4069" y="0"/>
                  </a:moveTo>
                  <a:lnTo>
                    <a:pt x="0" y="2099"/>
                  </a:lnTo>
                  <a:lnTo>
                    <a:pt x="249" y="2588"/>
                  </a:lnTo>
                  <a:lnTo>
                    <a:pt x="4319" y="484"/>
                  </a:lnTo>
                  <a:lnTo>
                    <a:pt x="4069" y="0"/>
                  </a:ln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7" name="Google Shape;468;p31"/>
            <p:cNvSpPr/>
            <p:nvPr/>
          </p:nvSpPr>
          <p:spPr>
            <a:xfrm>
              <a:off x="6280525" y="803625"/>
              <a:ext cx="519925" cy="277225"/>
            </a:xfrm>
            <a:custGeom>
              <a:avLst/>
              <a:gdLst/>
              <a:ahLst/>
              <a:cxnLst/>
              <a:rect l="l" t="t" r="r" b="b"/>
              <a:pathLst>
                <a:path w="20797" h="11089" extrusionOk="0">
                  <a:moveTo>
                    <a:pt x="20547" y="0"/>
                  </a:moveTo>
                  <a:lnTo>
                    <a:pt x="0" y="10604"/>
                  </a:lnTo>
                  <a:lnTo>
                    <a:pt x="249" y="11088"/>
                  </a:lnTo>
                  <a:lnTo>
                    <a:pt x="20796" y="484"/>
                  </a:lnTo>
                  <a:lnTo>
                    <a:pt x="20547" y="0"/>
                  </a:lnTo>
                  <a:close/>
                </a:path>
              </a:pathLst>
            </a:custGeom>
            <a:solidFill>
              <a:srgbClr val="434343"/>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8" name="Google Shape;469;p31"/>
            <p:cNvSpPr/>
            <p:nvPr/>
          </p:nvSpPr>
          <p:spPr>
            <a:xfrm>
              <a:off x="5678900" y="2838725"/>
              <a:ext cx="1702650" cy="1193575"/>
            </a:xfrm>
            <a:custGeom>
              <a:avLst/>
              <a:gdLst/>
              <a:ahLst/>
              <a:cxnLst/>
              <a:rect l="l" t="t" r="r" b="b"/>
              <a:pathLst>
                <a:path w="68106" h="47743" extrusionOk="0">
                  <a:moveTo>
                    <a:pt x="52914" y="1"/>
                  </a:moveTo>
                  <a:cubicBezTo>
                    <a:pt x="52339" y="1"/>
                    <a:pt x="51759" y="90"/>
                    <a:pt x="51176" y="285"/>
                  </a:cubicBezTo>
                  <a:cubicBezTo>
                    <a:pt x="43878" y="2729"/>
                    <a:pt x="51008" y="10966"/>
                    <a:pt x="45406" y="13864"/>
                  </a:cubicBezTo>
                  <a:cubicBezTo>
                    <a:pt x="44025" y="14580"/>
                    <a:pt x="42703" y="14803"/>
                    <a:pt x="41470" y="14803"/>
                  </a:cubicBezTo>
                  <a:cubicBezTo>
                    <a:pt x="39425" y="14803"/>
                    <a:pt x="37622" y="14190"/>
                    <a:pt x="36185" y="14190"/>
                  </a:cubicBezTo>
                  <a:cubicBezTo>
                    <a:pt x="34972" y="14190"/>
                    <a:pt x="34021" y="14626"/>
                    <a:pt x="33406" y="16237"/>
                  </a:cubicBezTo>
                  <a:cubicBezTo>
                    <a:pt x="31618" y="20907"/>
                    <a:pt x="34975" y="24804"/>
                    <a:pt x="30243" y="26866"/>
                  </a:cubicBezTo>
                  <a:cubicBezTo>
                    <a:pt x="28928" y="27440"/>
                    <a:pt x="27619" y="27584"/>
                    <a:pt x="26367" y="27584"/>
                  </a:cubicBezTo>
                  <a:cubicBezTo>
                    <a:pt x="25106" y="27584"/>
                    <a:pt x="23902" y="27438"/>
                    <a:pt x="22809" y="27438"/>
                  </a:cubicBezTo>
                  <a:cubicBezTo>
                    <a:pt x="21086" y="27438"/>
                    <a:pt x="19636" y="27801"/>
                    <a:pt x="18661" y="29673"/>
                  </a:cubicBezTo>
                  <a:cubicBezTo>
                    <a:pt x="16456" y="33911"/>
                    <a:pt x="16416" y="36473"/>
                    <a:pt x="14261" y="37719"/>
                  </a:cubicBezTo>
                  <a:cubicBezTo>
                    <a:pt x="13920" y="37916"/>
                    <a:pt x="13571" y="37985"/>
                    <a:pt x="13211" y="37985"/>
                  </a:cubicBezTo>
                  <a:cubicBezTo>
                    <a:pt x="12362" y="37985"/>
                    <a:pt x="11452" y="37602"/>
                    <a:pt x="10446" y="37602"/>
                  </a:cubicBezTo>
                  <a:cubicBezTo>
                    <a:pt x="9172" y="37602"/>
                    <a:pt x="7743" y="38217"/>
                    <a:pt x="6092" y="41005"/>
                  </a:cubicBezTo>
                  <a:cubicBezTo>
                    <a:pt x="3830" y="44820"/>
                    <a:pt x="1957" y="46515"/>
                    <a:pt x="909" y="47239"/>
                  </a:cubicBezTo>
                  <a:lnTo>
                    <a:pt x="909" y="47239"/>
                  </a:lnTo>
                  <a:cubicBezTo>
                    <a:pt x="8926" y="42791"/>
                    <a:pt x="67330" y="10390"/>
                    <a:pt x="68106" y="9962"/>
                  </a:cubicBezTo>
                  <a:lnTo>
                    <a:pt x="68106" y="9962"/>
                  </a:lnTo>
                  <a:cubicBezTo>
                    <a:pt x="67938" y="10055"/>
                    <a:pt x="67757" y="10098"/>
                    <a:pt x="67566" y="10098"/>
                  </a:cubicBezTo>
                  <a:cubicBezTo>
                    <a:pt x="66535" y="10098"/>
                    <a:pt x="65170" y="8844"/>
                    <a:pt x="63568" y="7217"/>
                  </a:cubicBezTo>
                  <a:cubicBezTo>
                    <a:pt x="60624" y="4232"/>
                    <a:pt x="56879" y="1"/>
                    <a:pt x="52914" y="1"/>
                  </a:cubicBezTo>
                  <a:close/>
                  <a:moveTo>
                    <a:pt x="909" y="47239"/>
                  </a:moveTo>
                  <a:lnTo>
                    <a:pt x="909" y="47239"/>
                  </a:lnTo>
                  <a:cubicBezTo>
                    <a:pt x="318" y="47567"/>
                    <a:pt x="1" y="47743"/>
                    <a:pt x="1" y="47743"/>
                  </a:cubicBezTo>
                  <a:cubicBezTo>
                    <a:pt x="1" y="47743"/>
                    <a:pt x="328" y="47640"/>
                    <a:pt x="909" y="47239"/>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9" name="Google Shape;470;p31"/>
            <p:cNvSpPr/>
            <p:nvPr/>
          </p:nvSpPr>
          <p:spPr>
            <a:xfrm>
              <a:off x="238225" y="3569850"/>
              <a:ext cx="1153750" cy="808800"/>
            </a:xfrm>
            <a:custGeom>
              <a:avLst/>
              <a:gdLst/>
              <a:ahLst/>
              <a:cxnLst/>
              <a:rect l="l" t="t" r="r" b="b"/>
              <a:pathLst>
                <a:path w="46150" h="32352" extrusionOk="0">
                  <a:moveTo>
                    <a:pt x="46150" y="6748"/>
                  </a:moveTo>
                  <a:cubicBezTo>
                    <a:pt x="46149" y="6749"/>
                    <a:pt x="46149" y="6749"/>
                    <a:pt x="46148" y="6750"/>
                  </a:cubicBezTo>
                  <a:lnTo>
                    <a:pt x="46148" y="6750"/>
                  </a:lnTo>
                  <a:cubicBezTo>
                    <a:pt x="46148" y="6749"/>
                    <a:pt x="46149" y="6749"/>
                    <a:pt x="46150" y="6748"/>
                  </a:cubicBezTo>
                  <a:close/>
                  <a:moveTo>
                    <a:pt x="35857" y="0"/>
                  </a:moveTo>
                  <a:cubicBezTo>
                    <a:pt x="35468" y="0"/>
                    <a:pt x="35075" y="61"/>
                    <a:pt x="34680" y="193"/>
                  </a:cubicBezTo>
                  <a:cubicBezTo>
                    <a:pt x="29735" y="1849"/>
                    <a:pt x="34563" y="7431"/>
                    <a:pt x="30769" y="9391"/>
                  </a:cubicBezTo>
                  <a:cubicBezTo>
                    <a:pt x="29834" y="9876"/>
                    <a:pt x="28939" y="10027"/>
                    <a:pt x="28104" y="10027"/>
                  </a:cubicBezTo>
                  <a:cubicBezTo>
                    <a:pt x="26719" y="10027"/>
                    <a:pt x="25497" y="9612"/>
                    <a:pt x="24523" y="9612"/>
                  </a:cubicBezTo>
                  <a:cubicBezTo>
                    <a:pt x="23700" y="9612"/>
                    <a:pt x="23054" y="9908"/>
                    <a:pt x="22635" y="11001"/>
                  </a:cubicBezTo>
                  <a:cubicBezTo>
                    <a:pt x="21428" y="14164"/>
                    <a:pt x="23700" y="16807"/>
                    <a:pt x="20496" y="18203"/>
                  </a:cubicBezTo>
                  <a:cubicBezTo>
                    <a:pt x="19603" y="18593"/>
                    <a:pt x="18714" y="18691"/>
                    <a:pt x="17864" y="18691"/>
                  </a:cubicBezTo>
                  <a:cubicBezTo>
                    <a:pt x="17011" y="18691"/>
                    <a:pt x="16197" y="18592"/>
                    <a:pt x="15457" y="18592"/>
                  </a:cubicBezTo>
                  <a:cubicBezTo>
                    <a:pt x="14289" y="18592"/>
                    <a:pt x="13307" y="18838"/>
                    <a:pt x="12647" y="20108"/>
                  </a:cubicBezTo>
                  <a:cubicBezTo>
                    <a:pt x="11150" y="22975"/>
                    <a:pt x="11124" y="24712"/>
                    <a:pt x="9662" y="25557"/>
                  </a:cubicBezTo>
                  <a:cubicBezTo>
                    <a:pt x="9432" y="25690"/>
                    <a:pt x="9195" y="25737"/>
                    <a:pt x="8951" y="25737"/>
                  </a:cubicBezTo>
                  <a:cubicBezTo>
                    <a:pt x="8377" y="25737"/>
                    <a:pt x="7761" y="25478"/>
                    <a:pt x="7080" y="25478"/>
                  </a:cubicBezTo>
                  <a:cubicBezTo>
                    <a:pt x="6216" y="25478"/>
                    <a:pt x="5247" y="25895"/>
                    <a:pt x="4126" y="27788"/>
                  </a:cubicBezTo>
                  <a:cubicBezTo>
                    <a:pt x="2594" y="30373"/>
                    <a:pt x="1324" y="31522"/>
                    <a:pt x="614" y="32012"/>
                  </a:cubicBezTo>
                  <a:lnTo>
                    <a:pt x="614" y="32012"/>
                  </a:lnTo>
                  <a:cubicBezTo>
                    <a:pt x="6032" y="29006"/>
                    <a:pt x="45531" y="7092"/>
                    <a:pt x="46148" y="6750"/>
                  </a:cubicBezTo>
                  <a:lnTo>
                    <a:pt x="46148" y="6750"/>
                  </a:lnTo>
                  <a:cubicBezTo>
                    <a:pt x="46035" y="6812"/>
                    <a:pt x="45913" y="6842"/>
                    <a:pt x="45784" y="6842"/>
                  </a:cubicBezTo>
                  <a:cubicBezTo>
                    <a:pt x="45088" y="6842"/>
                    <a:pt x="44165" y="5992"/>
                    <a:pt x="43079" y="4889"/>
                  </a:cubicBezTo>
                  <a:cubicBezTo>
                    <a:pt x="41082" y="2870"/>
                    <a:pt x="38542" y="0"/>
                    <a:pt x="35857" y="0"/>
                  </a:cubicBezTo>
                  <a:close/>
                  <a:moveTo>
                    <a:pt x="614" y="32012"/>
                  </a:moveTo>
                  <a:lnTo>
                    <a:pt x="614" y="32012"/>
                  </a:lnTo>
                  <a:cubicBezTo>
                    <a:pt x="215" y="32233"/>
                    <a:pt x="1" y="32352"/>
                    <a:pt x="1" y="32352"/>
                  </a:cubicBezTo>
                  <a:cubicBezTo>
                    <a:pt x="1" y="32352"/>
                    <a:pt x="222" y="32282"/>
                    <a:pt x="614" y="32012"/>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80" name="Google Shape;471;p31"/>
            <p:cNvSpPr/>
            <p:nvPr/>
          </p:nvSpPr>
          <p:spPr>
            <a:xfrm>
              <a:off x="2931775" y="665275"/>
              <a:ext cx="1174775" cy="823525"/>
            </a:xfrm>
            <a:custGeom>
              <a:avLst/>
              <a:gdLst/>
              <a:ahLst/>
              <a:cxnLst/>
              <a:rect l="l" t="t" r="r" b="b"/>
              <a:pathLst>
                <a:path w="46991" h="32941" extrusionOk="0">
                  <a:moveTo>
                    <a:pt x="36512" y="0"/>
                  </a:moveTo>
                  <a:cubicBezTo>
                    <a:pt x="36114" y="0"/>
                    <a:pt x="35713" y="62"/>
                    <a:pt x="35311" y="197"/>
                  </a:cubicBezTo>
                  <a:cubicBezTo>
                    <a:pt x="30274" y="1883"/>
                    <a:pt x="35194" y="7562"/>
                    <a:pt x="31328" y="9563"/>
                  </a:cubicBezTo>
                  <a:cubicBezTo>
                    <a:pt x="30376" y="10057"/>
                    <a:pt x="29466" y="10210"/>
                    <a:pt x="28615" y="10210"/>
                  </a:cubicBezTo>
                  <a:cubicBezTo>
                    <a:pt x="27204" y="10210"/>
                    <a:pt x="25959" y="9787"/>
                    <a:pt x="24967" y="9787"/>
                  </a:cubicBezTo>
                  <a:cubicBezTo>
                    <a:pt x="24131" y="9787"/>
                    <a:pt x="23475" y="10088"/>
                    <a:pt x="23051" y="11198"/>
                  </a:cubicBezTo>
                  <a:cubicBezTo>
                    <a:pt x="21819" y="14422"/>
                    <a:pt x="24132" y="17111"/>
                    <a:pt x="20867" y="18537"/>
                  </a:cubicBezTo>
                  <a:cubicBezTo>
                    <a:pt x="19962" y="18931"/>
                    <a:pt x="19062" y="19030"/>
                    <a:pt x="18202" y="19030"/>
                  </a:cubicBezTo>
                  <a:cubicBezTo>
                    <a:pt x="17327" y="19030"/>
                    <a:pt x="16493" y="18928"/>
                    <a:pt x="15736" y="18928"/>
                  </a:cubicBezTo>
                  <a:cubicBezTo>
                    <a:pt x="14548" y="18928"/>
                    <a:pt x="13548" y="19180"/>
                    <a:pt x="12875" y="20472"/>
                  </a:cubicBezTo>
                  <a:cubicBezTo>
                    <a:pt x="11358" y="23391"/>
                    <a:pt x="11328" y="25164"/>
                    <a:pt x="9840" y="26024"/>
                  </a:cubicBezTo>
                  <a:cubicBezTo>
                    <a:pt x="9606" y="26160"/>
                    <a:pt x="9366" y="26207"/>
                    <a:pt x="9118" y="26207"/>
                  </a:cubicBezTo>
                  <a:cubicBezTo>
                    <a:pt x="8532" y="26207"/>
                    <a:pt x="7903" y="25942"/>
                    <a:pt x="7208" y="25942"/>
                  </a:cubicBezTo>
                  <a:cubicBezTo>
                    <a:pt x="6328" y="25942"/>
                    <a:pt x="5342" y="26367"/>
                    <a:pt x="4201" y="28291"/>
                  </a:cubicBezTo>
                  <a:cubicBezTo>
                    <a:pt x="2639" y="30927"/>
                    <a:pt x="1345" y="32097"/>
                    <a:pt x="623" y="32595"/>
                  </a:cubicBezTo>
                  <a:lnTo>
                    <a:pt x="623" y="32595"/>
                  </a:lnTo>
                  <a:cubicBezTo>
                    <a:pt x="6139" y="29535"/>
                    <a:pt x="46458" y="7167"/>
                    <a:pt x="46990" y="6869"/>
                  </a:cubicBezTo>
                  <a:lnTo>
                    <a:pt x="46990" y="6869"/>
                  </a:lnTo>
                  <a:cubicBezTo>
                    <a:pt x="46873" y="6934"/>
                    <a:pt x="46748" y="6965"/>
                    <a:pt x="46614" y="6965"/>
                  </a:cubicBezTo>
                  <a:cubicBezTo>
                    <a:pt x="45904" y="6965"/>
                    <a:pt x="44964" y="6099"/>
                    <a:pt x="43862" y="4979"/>
                  </a:cubicBezTo>
                  <a:cubicBezTo>
                    <a:pt x="41830" y="2921"/>
                    <a:pt x="39247" y="0"/>
                    <a:pt x="36512" y="0"/>
                  </a:cubicBezTo>
                  <a:close/>
                  <a:moveTo>
                    <a:pt x="623" y="32595"/>
                  </a:moveTo>
                  <a:lnTo>
                    <a:pt x="623" y="32595"/>
                  </a:lnTo>
                  <a:cubicBezTo>
                    <a:pt x="218" y="32820"/>
                    <a:pt x="0" y="32940"/>
                    <a:pt x="0" y="32940"/>
                  </a:cubicBezTo>
                  <a:cubicBezTo>
                    <a:pt x="0" y="32940"/>
                    <a:pt x="225" y="32870"/>
                    <a:pt x="623" y="32595"/>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pic>
        <p:nvPicPr>
          <p:cNvPr id="8198" name="Picture 6" descr="School Icon | Free Vectors, Stock Photos &amp; PSD"/>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16041" y="3143636"/>
            <a:ext cx="4756076" cy="37304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060636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168112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5" name="think-cell Slide" r:id="rId4" imgW="421" imgH="420" progId="TCLayout.ActiveDocument.1">
                  <p:embed/>
                </p:oleObj>
              </mc:Choice>
              <mc:Fallback>
                <p:oleObj name="think-cell Slide" r:id="rId4" imgW="421" imgH="420" progId="TCLayout.ActiveDocument.1">
                  <p:embed/>
                  <p:pic>
                    <p:nvPicPr>
                      <p:cNvPr id="15" name="Object 1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a:off x="8512402" y="648752"/>
            <a:ext cx="2763898" cy="646331"/>
          </a:xfrm>
          <a:prstGeom prst="rect">
            <a:avLst/>
          </a:prstGeom>
        </p:spPr>
        <p:txBody>
          <a:bodyPr wrap="none">
            <a:spAutoFit/>
          </a:bodyPr>
          <a:lstStyle/>
          <a:p>
            <a:pPr algn="r" rtl="1">
              <a:spcBef>
                <a:spcPts val="0"/>
              </a:spcBef>
              <a:spcAft>
                <a:spcPts val="0"/>
              </a:spcAft>
            </a:pPr>
            <a:r>
              <a:rPr lang="ar-SA" sz="3600" b="1" dirty="0" smtClean="0">
                <a:solidFill>
                  <a:schemeClr val="bg1"/>
                </a:solidFill>
                <a:latin typeface="Arial" panose="020B0604020202020204" pitchFamily="34" charset="0"/>
                <a:cs typeface="+mj-cs"/>
              </a:rPr>
              <a:t>مجالات الاستخدام</a:t>
            </a:r>
            <a:endParaRPr lang="ar-SA" sz="3600" b="1" dirty="0" smtClean="0">
              <a:solidFill>
                <a:schemeClr val="bg1"/>
              </a:solidFill>
              <a:effectLst/>
              <a:cs typeface="+mj-cs"/>
            </a:endParaRPr>
          </a:p>
        </p:txBody>
      </p:sp>
      <p:sp>
        <p:nvSpPr>
          <p:cNvPr id="3" name="Rectangle 2"/>
          <p:cNvSpPr/>
          <p:nvPr/>
        </p:nvSpPr>
        <p:spPr>
          <a:xfrm>
            <a:off x="5267245" y="2285034"/>
            <a:ext cx="5691930" cy="923330"/>
          </a:xfrm>
          <a:prstGeom prst="rect">
            <a:avLst/>
          </a:prstGeom>
        </p:spPr>
        <p:txBody>
          <a:bodyPr wrap="square">
            <a:spAutoFit/>
          </a:bodyPr>
          <a:lstStyle/>
          <a:p>
            <a:pPr marL="457200" algn="r" rtl="1">
              <a:spcBef>
                <a:spcPts val="0"/>
              </a:spcBef>
              <a:spcAft>
                <a:spcPts val="1600"/>
              </a:spcAft>
            </a:pPr>
            <a:r>
              <a:rPr lang="ar-SA" dirty="0" smtClean="0">
                <a:solidFill>
                  <a:schemeClr val="bg1"/>
                </a:solidFill>
                <a:latin typeface="Arial" panose="020B0604020202020204" pitchFamily="34" charset="0"/>
              </a:rPr>
              <a:t>بواسطة تقنية الواقع الافتراضي والواقع المعزز، يمكن للأطباء استعمالها كوسيلة تجسيدية وتدريبية لغرض الجراحات الدقيقة والجراحات بواسطة الروبوت.</a:t>
            </a:r>
          </a:p>
        </p:txBody>
      </p:sp>
      <p:grpSp>
        <p:nvGrpSpPr>
          <p:cNvPr id="7" name="Group 6"/>
          <p:cNvGrpSpPr/>
          <p:nvPr/>
        </p:nvGrpSpPr>
        <p:grpSpPr>
          <a:xfrm flipH="1">
            <a:off x="5117430" y="2236908"/>
            <a:ext cx="742282" cy="402343"/>
            <a:chOff x="7635797" y="1300969"/>
            <a:chExt cx="742282" cy="402343"/>
          </a:xfrm>
        </p:grpSpPr>
        <p:sp>
          <p:nvSpPr>
            <p:cNvPr id="5" name="Google Shape;1043;p35"/>
            <p:cNvSpPr/>
            <p:nvPr/>
          </p:nvSpPr>
          <p:spPr>
            <a:xfrm>
              <a:off x="7635797" y="1300969"/>
              <a:ext cx="680260" cy="402343"/>
            </a:xfrm>
            <a:custGeom>
              <a:avLst/>
              <a:gdLst/>
              <a:ahLst/>
              <a:cxnLst/>
              <a:rect l="l" t="t" r="r" b="b"/>
              <a:pathLst>
                <a:path w="18419" h="10894" extrusionOk="0">
                  <a:moveTo>
                    <a:pt x="1" y="1"/>
                  </a:moveTo>
                  <a:lnTo>
                    <a:pt x="1" y="291"/>
                  </a:lnTo>
                  <a:lnTo>
                    <a:pt x="13574" y="291"/>
                  </a:lnTo>
                  <a:lnTo>
                    <a:pt x="18128" y="4845"/>
                  </a:lnTo>
                  <a:lnTo>
                    <a:pt x="18128" y="10893"/>
                  </a:lnTo>
                  <a:lnTo>
                    <a:pt x="18418" y="10893"/>
                  </a:lnTo>
                  <a:lnTo>
                    <a:pt x="18418" y="4722"/>
                  </a:lnTo>
                  <a:lnTo>
                    <a:pt x="13697"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Google Shape;1044;p35"/>
            <p:cNvSpPr/>
            <p:nvPr/>
          </p:nvSpPr>
          <p:spPr>
            <a:xfrm>
              <a:off x="8199141" y="1302298"/>
              <a:ext cx="178938" cy="179233"/>
            </a:xfrm>
            <a:custGeom>
              <a:avLst/>
              <a:gdLst/>
              <a:ahLst/>
              <a:cxnLst/>
              <a:rect l="l" t="t" r="r" b="b"/>
              <a:pathLst>
                <a:path w="4845" h="4853" extrusionOk="0">
                  <a:moveTo>
                    <a:pt x="211" y="0"/>
                  </a:moveTo>
                  <a:lnTo>
                    <a:pt x="0" y="211"/>
                  </a:lnTo>
                  <a:lnTo>
                    <a:pt x="4642" y="4853"/>
                  </a:lnTo>
                  <a:lnTo>
                    <a:pt x="4844" y="4642"/>
                  </a:lnTo>
                  <a:lnTo>
                    <a:pt x="211" y="0"/>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 name="Group 11"/>
          <p:cNvGrpSpPr/>
          <p:nvPr/>
        </p:nvGrpSpPr>
        <p:grpSpPr>
          <a:xfrm>
            <a:off x="9767890" y="1746134"/>
            <a:ext cx="1469242" cy="559042"/>
            <a:chOff x="6953547" y="1331183"/>
            <a:chExt cx="1469242" cy="559042"/>
          </a:xfrm>
        </p:grpSpPr>
        <p:grpSp>
          <p:nvGrpSpPr>
            <p:cNvPr id="8" name="Google Shape;440;p27"/>
            <p:cNvGrpSpPr/>
            <p:nvPr/>
          </p:nvGrpSpPr>
          <p:grpSpPr>
            <a:xfrm flipH="1">
              <a:off x="6953547" y="1347225"/>
              <a:ext cx="1456328" cy="543000"/>
              <a:chOff x="738800" y="2578425"/>
              <a:chExt cx="1456328" cy="543000"/>
            </a:xfrm>
            <a:solidFill>
              <a:schemeClr val="bg1"/>
            </a:solidFill>
          </p:grpSpPr>
          <p:sp>
            <p:nvSpPr>
              <p:cNvPr id="9" name="Google Shape;441;p27"/>
              <p:cNvSpPr/>
              <p:nvPr/>
            </p:nvSpPr>
            <p:spPr>
              <a:xfrm>
                <a:off x="738800" y="2578425"/>
                <a:ext cx="543000" cy="543000"/>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 name="Google Shape;442;p27"/>
              <p:cNvCxnSpPr/>
              <p:nvPr/>
            </p:nvCxnSpPr>
            <p:spPr>
              <a:xfrm>
                <a:off x="914968" y="2849925"/>
                <a:ext cx="1280160" cy="0"/>
              </a:xfrm>
              <a:prstGeom prst="straightConnector1">
                <a:avLst/>
              </a:prstGeom>
              <a:grpFill/>
              <a:ln w="19050" cap="flat" cmpd="sng">
                <a:solidFill>
                  <a:schemeClr val="bg1"/>
                </a:solidFill>
                <a:prstDash val="solid"/>
                <a:round/>
                <a:headEnd type="none" w="med" len="med"/>
                <a:tailEnd type="diamond" w="med" len="med"/>
              </a:ln>
            </p:spPr>
          </p:cxnSp>
        </p:grpSp>
        <p:sp>
          <p:nvSpPr>
            <p:cNvPr id="11" name="Google Shape;447;p27"/>
            <p:cNvSpPr txBox="1">
              <a:spLocks/>
            </p:cNvSpPr>
            <p:nvPr/>
          </p:nvSpPr>
          <p:spPr>
            <a:xfrm>
              <a:off x="7866875" y="1331183"/>
              <a:ext cx="555914" cy="545423"/>
            </a:xfrm>
            <a:prstGeom prst="rect">
              <a:avLst/>
            </a:prstGeom>
          </p:spPr>
          <p:txBody>
            <a:bodyPr spcFirstLastPara="1" wrap="square" lIns="91425" tIns="91425" rIns="91425" bIns="91425"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US" sz="2400" dirty="0" smtClean="0">
                  <a:solidFill>
                    <a:srgbClr val="0C0288"/>
                  </a:solidFill>
                  <a:latin typeface="Tahoma" panose="020B0604030504040204" pitchFamily="34" charset="0"/>
                  <a:ea typeface="Tahoma" panose="020B0604030504040204" pitchFamily="34" charset="0"/>
                  <a:cs typeface="Tahoma" panose="020B0604030504040204" pitchFamily="34" charset="0"/>
                  <a:sym typeface="Teko"/>
                </a:rPr>
                <a:t>07</a:t>
              </a:r>
              <a:endParaRPr lang="en" sz="2400" dirty="0">
                <a:solidFill>
                  <a:srgbClr val="0C0288"/>
                </a:solidFill>
                <a:latin typeface="Tahoma" panose="020B0604030504040204" pitchFamily="34" charset="0"/>
                <a:ea typeface="Tahoma" panose="020B0604030504040204" pitchFamily="34" charset="0"/>
                <a:cs typeface="Tahoma" panose="020B0604030504040204" pitchFamily="34" charset="0"/>
                <a:sym typeface="Teko"/>
              </a:endParaRPr>
            </a:p>
          </p:txBody>
        </p:sp>
      </p:grpSp>
      <p:sp>
        <p:nvSpPr>
          <p:cNvPr id="13" name="Rectangle 12"/>
          <p:cNvSpPr/>
          <p:nvPr/>
        </p:nvSpPr>
        <p:spPr>
          <a:xfrm>
            <a:off x="9825333" y="1686525"/>
            <a:ext cx="760143" cy="369332"/>
          </a:xfrm>
          <a:prstGeom prst="rect">
            <a:avLst/>
          </a:prstGeom>
        </p:spPr>
        <p:txBody>
          <a:bodyPr wrap="none">
            <a:spAutoFit/>
          </a:bodyPr>
          <a:lstStyle/>
          <a:p>
            <a:pPr algn="r" rtl="1" fontAlgn="base">
              <a:spcBef>
                <a:spcPts val="0"/>
              </a:spcBef>
              <a:spcAft>
                <a:spcPts val="1600"/>
              </a:spcAft>
            </a:pPr>
            <a:r>
              <a:rPr lang="ar-SA" b="1" dirty="0" smtClean="0">
                <a:solidFill>
                  <a:schemeClr val="bg1"/>
                </a:solidFill>
                <a:latin typeface="Arial" panose="020B0604020202020204" pitchFamily="34" charset="0"/>
              </a:rPr>
              <a:t>الصحة:</a:t>
            </a:r>
            <a:endParaRPr lang="ar-SA" b="1" dirty="0">
              <a:solidFill>
                <a:schemeClr val="bg1"/>
              </a:solidFill>
              <a:latin typeface="Arial" panose="020B0604020202020204" pitchFamily="34" charset="0"/>
            </a:endParaRPr>
          </a:p>
        </p:txBody>
      </p:sp>
      <p:sp>
        <p:nvSpPr>
          <p:cNvPr id="17" name="Rectangle 16"/>
          <p:cNvSpPr/>
          <p:nvPr/>
        </p:nvSpPr>
        <p:spPr>
          <a:xfrm>
            <a:off x="5267245" y="4247994"/>
            <a:ext cx="5691930" cy="1200329"/>
          </a:xfrm>
          <a:prstGeom prst="rect">
            <a:avLst/>
          </a:prstGeom>
        </p:spPr>
        <p:txBody>
          <a:bodyPr wrap="square">
            <a:spAutoFit/>
          </a:bodyPr>
          <a:lstStyle/>
          <a:p>
            <a:pPr marL="457200" algn="r" rtl="1">
              <a:spcBef>
                <a:spcPts val="0"/>
              </a:spcBef>
              <a:spcAft>
                <a:spcPts val="1600"/>
              </a:spcAft>
            </a:pPr>
            <a:r>
              <a:rPr lang="ar-SA" dirty="0" smtClean="0">
                <a:solidFill>
                  <a:schemeClr val="bg1"/>
                </a:solidFill>
                <a:latin typeface="Arial" panose="020B0604020202020204" pitchFamily="34" charset="0"/>
              </a:rPr>
              <a:t>الإعلانات المبتكرة تزيد من قوة العلاقة مع العملاء، مما يساهم في زيادة معدل العودة للشراء. وهذا ما يمكن تحقيقه بالقليل من المساعدة بالتقنية،</a:t>
            </a:r>
            <a:r>
              <a:rPr lang="en-US" dirty="0" smtClean="0">
                <a:solidFill>
                  <a:schemeClr val="bg1"/>
                </a:solidFill>
                <a:latin typeface="Arial" panose="020B0604020202020204" pitchFamily="34" charset="0"/>
              </a:rPr>
              <a:t> </a:t>
            </a:r>
            <a:r>
              <a:rPr lang="ar-SA" dirty="0" smtClean="0">
                <a:solidFill>
                  <a:schemeClr val="bg1"/>
                </a:solidFill>
                <a:latin typeface="Arial" panose="020B0604020202020204" pitchFamily="34" charset="0"/>
              </a:rPr>
              <a:t>حيث تستطيع الشركات منح عملاءها من جميع الأعمار تجربة مميزة في التسوق.</a:t>
            </a:r>
          </a:p>
        </p:txBody>
      </p:sp>
      <p:grpSp>
        <p:nvGrpSpPr>
          <p:cNvPr id="18" name="Group 17"/>
          <p:cNvGrpSpPr/>
          <p:nvPr/>
        </p:nvGrpSpPr>
        <p:grpSpPr>
          <a:xfrm flipH="1">
            <a:off x="5117430" y="4199868"/>
            <a:ext cx="742282" cy="402343"/>
            <a:chOff x="7635797" y="1300969"/>
            <a:chExt cx="742282" cy="402343"/>
          </a:xfrm>
        </p:grpSpPr>
        <p:sp>
          <p:nvSpPr>
            <p:cNvPr id="19" name="Google Shape;1043;p35"/>
            <p:cNvSpPr/>
            <p:nvPr/>
          </p:nvSpPr>
          <p:spPr>
            <a:xfrm>
              <a:off x="7635797" y="1300969"/>
              <a:ext cx="680260" cy="402343"/>
            </a:xfrm>
            <a:custGeom>
              <a:avLst/>
              <a:gdLst/>
              <a:ahLst/>
              <a:cxnLst/>
              <a:rect l="l" t="t" r="r" b="b"/>
              <a:pathLst>
                <a:path w="18419" h="10894" extrusionOk="0">
                  <a:moveTo>
                    <a:pt x="1" y="1"/>
                  </a:moveTo>
                  <a:lnTo>
                    <a:pt x="1" y="291"/>
                  </a:lnTo>
                  <a:lnTo>
                    <a:pt x="13574" y="291"/>
                  </a:lnTo>
                  <a:lnTo>
                    <a:pt x="18128" y="4845"/>
                  </a:lnTo>
                  <a:lnTo>
                    <a:pt x="18128" y="10893"/>
                  </a:lnTo>
                  <a:lnTo>
                    <a:pt x="18418" y="10893"/>
                  </a:lnTo>
                  <a:lnTo>
                    <a:pt x="18418" y="4722"/>
                  </a:lnTo>
                  <a:lnTo>
                    <a:pt x="13697" y="1"/>
                  </a:lnTo>
                  <a:close/>
                </a:path>
              </a:pathLst>
            </a:custGeom>
            <a:solidFill>
              <a:srgbClr val="4D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044;p35"/>
            <p:cNvSpPr/>
            <p:nvPr/>
          </p:nvSpPr>
          <p:spPr>
            <a:xfrm>
              <a:off x="8199141" y="1302298"/>
              <a:ext cx="178938" cy="179233"/>
            </a:xfrm>
            <a:custGeom>
              <a:avLst/>
              <a:gdLst/>
              <a:ahLst/>
              <a:cxnLst/>
              <a:rect l="l" t="t" r="r" b="b"/>
              <a:pathLst>
                <a:path w="4845" h="4853" extrusionOk="0">
                  <a:moveTo>
                    <a:pt x="211" y="0"/>
                  </a:moveTo>
                  <a:lnTo>
                    <a:pt x="0" y="211"/>
                  </a:lnTo>
                  <a:lnTo>
                    <a:pt x="4642" y="4853"/>
                  </a:lnTo>
                  <a:lnTo>
                    <a:pt x="4844" y="4642"/>
                  </a:lnTo>
                  <a:lnTo>
                    <a:pt x="211" y="0"/>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 name="Group 21"/>
          <p:cNvGrpSpPr/>
          <p:nvPr/>
        </p:nvGrpSpPr>
        <p:grpSpPr>
          <a:xfrm>
            <a:off x="9062046" y="3709094"/>
            <a:ext cx="2175086" cy="559042"/>
            <a:chOff x="6247703" y="1331183"/>
            <a:chExt cx="2175086" cy="559042"/>
          </a:xfrm>
        </p:grpSpPr>
        <p:grpSp>
          <p:nvGrpSpPr>
            <p:cNvPr id="23" name="Google Shape;440;p27"/>
            <p:cNvGrpSpPr/>
            <p:nvPr/>
          </p:nvGrpSpPr>
          <p:grpSpPr>
            <a:xfrm flipH="1">
              <a:off x="6247703" y="1347225"/>
              <a:ext cx="2162172" cy="543000"/>
              <a:chOff x="738800" y="2578425"/>
              <a:chExt cx="2162172" cy="543000"/>
            </a:xfrm>
            <a:solidFill>
              <a:schemeClr val="bg1"/>
            </a:solidFill>
          </p:grpSpPr>
          <p:sp>
            <p:nvSpPr>
              <p:cNvPr id="26" name="Google Shape;441;p27"/>
              <p:cNvSpPr/>
              <p:nvPr/>
            </p:nvSpPr>
            <p:spPr>
              <a:xfrm>
                <a:off x="738800" y="2578425"/>
                <a:ext cx="543000" cy="543000"/>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27" name="Google Shape;442;p27"/>
              <p:cNvCxnSpPr/>
              <p:nvPr/>
            </p:nvCxnSpPr>
            <p:spPr>
              <a:xfrm>
                <a:off x="980732" y="2849925"/>
                <a:ext cx="1920240" cy="0"/>
              </a:xfrm>
              <a:prstGeom prst="straightConnector1">
                <a:avLst/>
              </a:prstGeom>
              <a:grpFill/>
              <a:ln w="19050" cap="flat" cmpd="sng">
                <a:solidFill>
                  <a:schemeClr val="bg1"/>
                </a:solidFill>
                <a:prstDash val="solid"/>
                <a:round/>
                <a:headEnd type="none" w="med" len="med"/>
                <a:tailEnd type="diamond" w="med" len="med"/>
              </a:ln>
            </p:spPr>
          </p:cxnSp>
        </p:grpSp>
        <p:sp>
          <p:nvSpPr>
            <p:cNvPr id="25" name="Google Shape;447;p27"/>
            <p:cNvSpPr txBox="1">
              <a:spLocks/>
            </p:cNvSpPr>
            <p:nvPr/>
          </p:nvSpPr>
          <p:spPr>
            <a:xfrm>
              <a:off x="7866875" y="1331183"/>
              <a:ext cx="555914" cy="545423"/>
            </a:xfrm>
            <a:prstGeom prst="rect">
              <a:avLst/>
            </a:prstGeom>
          </p:spPr>
          <p:txBody>
            <a:bodyPr spcFirstLastPara="1" wrap="square" lIns="91425" tIns="91425" rIns="91425" bIns="91425"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US" sz="2400" dirty="0" smtClean="0">
                  <a:solidFill>
                    <a:srgbClr val="0C0288"/>
                  </a:solidFill>
                  <a:latin typeface="Tahoma" panose="020B0604030504040204" pitchFamily="34" charset="0"/>
                  <a:ea typeface="Tahoma" panose="020B0604030504040204" pitchFamily="34" charset="0"/>
                  <a:cs typeface="Tahoma" panose="020B0604030504040204" pitchFamily="34" charset="0"/>
                  <a:sym typeface="Teko"/>
                </a:rPr>
                <a:t>08</a:t>
              </a:r>
              <a:endParaRPr lang="en" sz="2400" dirty="0">
                <a:solidFill>
                  <a:srgbClr val="0C0288"/>
                </a:solidFill>
                <a:latin typeface="Tahoma" panose="020B0604030504040204" pitchFamily="34" charset="0"/>
                <a:ea typeface="Tahoma" panose="020B0604030504040204" pitchFamily="34" charset="0"/>
                <a:cs typeface="Tahoma" panose="020B0604030504040204" pitchFamily="34" charset="0"/>
                <a:sym typeface="Teko"/>
              </a:endParaRPr>
            </a:p>
          </p:txBody>
        </p:sp>
      </p:grpSp>
      <p:sp>
        <p:nvSpPr>
          <p:cNvPr id="28" name="Rectangle 27"/>
          <p:cNvSpPr/>
          <p:nvPr/>
        </p:nvSpPr>
        <p:spPr>
          <a:xfrm>
            <a:off x="9097568" y="3649485"/>
            <a:ext cx="1487908" cy="369332"/>
          </a:xfrm>
          <a:prstGeom prst="rect">
            <a:avLst/>
          </a:prstGeom>
        </p:spPr>
        <p:txBody>
          <a:bodyPr wrap="none">
            <a:spAutoFit/>
          </a:bodyPr>
          <a:lstStyle/>
          <a:p>
            <a:pPr algn="r" rtl="1" fontAlgn="base">
              <a:spcBef>
                <a:spcPts val="0"/>
              </a:spcBef>
              <a:spcAft>
                <a:spcPts val="1600"/>
              </a:spcAft>
            </a:pPr>
            <a:r>
              <a:rPr lang="ar-SA" b="1" dirty="0" smtClean="0">
                <a:solidFill>
                  <a:schemeClr val="bg1"/>
                </a:solidFill>
                <a:latin typeface="Arial" panose="020B0604020202020204" pitchFamily="34" charset="0"/>
              </a:rPr>
              <a:t>الدعاية والإعلان:</a:t>
            </a:r>
            <a:endParaRPr lang="ar-SA" b="1" dirty="0">
              <a:solidFill>
                <a:schemeClr val="bg1"/>
              </a:solidFill>
              <a:latin typeface="Arial" panose="020B0604020202020204" pitchFamily="34" charset="0"/>
            </a:endParaRPr>
          </a:p>
        </p:txBody>
      </p:sp>
      <p:sp>
        <p:nvSpPr>
          <p:cNvPr id="2287" name="Google Shape;1894;p55"/>
          <p:cNvSpPr/>
          <p:nvPr/>
        </p:nvSpPr>
        <p:spPr>
          <a:xfrm rot="8781066">
            <a:off x="-46246" y="1577895"/>
            <a:ext cx="4964877" cy="4287433"/>
          </a:xfrm>
          <a:custGeom>
            <a:avLst/>
            <a:gdLst/>
            <a:ahLst/>
            <a:cxnLst/>
            <a:rect l="l" t="t" r="r" b="b"/>
            <a:pathLst>
              <a:path w="18883" h="16640" extrusionOk="0">
                <a:moveTo>
                  <a:pt x="7090" y="0"/>
                </a:moveTo>
                <a:cubicBezTo>
                  <a:pt x="5469" y="0"/>
                  <a:pt x="3995" y="425"/>
                  <a:pt x="2981" y="1439"/>
                </a:cubicBezTo>
                <a:cubicBezTo>
                  <a:pt x="1" y="4463"/>
                  <a:pt x="2112" y="11380"/>
                  <a:pt x="5093" y="14404"/>
                </a:cubicBezTo>
                <a:cubicBezTo>
                  <a:pt x="6583" y="15894"/>
                  <a:pt x="8540" y="16639"/>
                  <a:pt x="10498" y="16639"/>
                </a:cubicBezTo>
                <a:cubicBezTo>
                  <a:pt x="12455" y="16639"/>
                  <a:pt x="14413" y="15894"/>
                  <a:pt x="15903" y="14404"/>
                </a:cubicBezTo>
                <a:cubicBezTo>
                  <a:pt x="18883" y="11380"/>
                  <a:pt x="18883" y="6574"/>
                  <a:pt x="15903" y="3594"/>
                </a:cubicBezTo>
                <a:cubicBezTo>
                  <a:pt x="13936" y="1599"/>
                  <a:pt x="10236" y="0"/>
                  <a:pt x="7090" y="0"/>
                </a:cubicBezTo>
                <a:close/>
              </a:path>
            </a:pathLst>
          </a:custGeom>
          <a:solidFill>
            <a:schemeClr val="bg1">
              <a:alpha val="61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59" name="Google Shape;2654;p49"/>
          <p:cNvGrpSpPr/>
          <p:nvPr/>
        </p:nvGrpSpPr>
        <p:grpSpPr>
          <a:xfrm flipH="1">
            <a:off x="478406" y="2577260"/>
            <a:ext cx="4397614" cy="3673644"/>
            <a:chOff x="-26702025" y="7116125"/>
            <a:chExt cx="11127825" cy="9427250"/>
          </a:xfrm>
        </p:grpSpPr>
        <p:sp>
          <p:nvSpPr>
            <p:cNvPr id="1160" name="Google Shape;2655;p49"/>
            <p:cNvSpPr/>
            <p:nvPr/>
          </p:nvSpPr>
          <p:spPr>
            <a:xfrm>
              <a:off x="-20604575" y="8489875"/>
              <a:ext cx="4004475" cy="5332050"/>
            </a:xfrm>
            <a:custGeom>
              <a:avLst/>
              <a:gdLst/>
              <a:ahLst/>
              <a:cxnLst/>
              <a:rect l="l" t="t" r="r" b="b"/>
              <a:pathLst>
                <a:path w="160179" h="213282" extrusionOk="0">
                  <a:moveTo>
                    <a:pt x="5982" y="1"/>
                  </a:moveTo>
                  <a:cubicBezTo>
                    <a:pt x="5882" y="1"/>
                    <a:pt x="5781" y="34"/>
                    <a:pt x="5680" y="34"/>
                  </a:cubicBezTo>
                  <a:cubicBezTo>
                    <a:pt x="5680" y="68"/>
                    <a:pt x="5646" y="68"/>
                    <a:pt x="5646" y="68"/>
                  </a:cubicBezTo>
                  <a:cubicBezTo>
                    <a:pt x="5512" y="101"/>
                    <a:pt x="5411" y="101"/>
                    <a:pt x="5310" y="135"/>
                  </a:cubicBezTo>
                  <a:cubicBezTo>
                    <a:pt x="5310" y="169"/>
                    <a:pt x="5310" y="169"/>
                    <a:pt x="5310" y="169"/>
                  </a:cubicBezTo>
                  <a:cubicBezTo>
                    <a:pt x="5142" y="202"/>
                    <a:pt x="5008" y="270"/>
                    <a:pt x="4907" y="337"/>
                  </a:cubicBezTo>
                  <a:lnTo>
                    <a:pt x="0" y="3193"/>
                  </a:lnTo>
                  <a:cubicBezTo>
                    <a:pt x="135" y="3126"/>
                    <a:pt x="269" y="3059"/>
                    <a:pt x="403" y="3025"/>
                  </a:cubicBezTo>
                  <a:cubicBezTo>
                    <a:pt x="504" y="2958"/>
                    <a:pt x="605" y="2958"/>
                    <a:pt x="740" y="2925"/>
                  </a:cubicBezTo>
                  <a:cubicBezTo>
                    <a:pt x="740" y="2925"/>
                    <a:pt x="773" y="2891"/>
                    <a:pt x="773" y="2891"/>
                  </a:cubicBezTo>
                  <a:cubicBezTo>
                    <a:pt x="908" y="2891"/>
                    <a:pt x="1042" y="2857"/>
                    <a:pt x="1176" y="2857"/>
                  </a:cubicBezTo>
                  <a:lnTo>
                    <a:pt x="1714" y="2857"/>
                  </a:lnTo>
                  <a:cubicBezTo>
                    <a:pt x="1882" y="2857"/>
                    <a:pt x="2017" y="2891"/>
                    <a:pt x="2151" y="2925"/>
                  </a:cubicBezTo>
                  <a:lnTo>
                    <a:pt x="2218" y="2925"/>
                  </a:lnTo>
                  <a:cubicBezTo>
                    <a:pt x="2353" y="2958"/>
                    <a:pt x="2521" y="3025"/>
                    <a:pt x="2689" y="3059"/>
                  </a:cubicBezTo>
                  <a:lnTo>
                    <a:pt x="2722" y="3059"/>
                  </a:lnTo>
                  <a:cubicBezTo>
                    <a:pt x="2890" y="3126"/>
                    <a:pt x="3059" y="3193"/>
                    <a:pt x="3227" y="3261"/>
                  </a:cubicBezTo>
                  <a:cubicBezTo>
                    <a:pt x="3227" y="3261"/>
                    <a:pt x="3260" y="3294"/>
                    <a:pt x="3260" y="3294"/>
                  </a:cubicBezTo>
                  <a:cubicBezTo>
                    <a:pt x="3428" y="3362"/>
                    <a:pt x="3596" y="3462"/>
                    <a:pt x="3764" y="3563"/>
                  </a:cubicBezTo>
                  <a:lnTo>
                    <a:pt x="149995" y="87988"/>
                  </a:lnTo>
                  <a:cubicBezTo>
                    <a:pt x="150163" y="88089"/>
                    <a:pt x="150331" y="88190"/>
                    <a:pt x="150533" y="88324"/>
                  </a:cubicBezTo>
                  <a:cubicBezTo>
                    <a:pt x="150701" y="88459"/>
                    <a:pt x="150869" y="88559"/>
                    <a:pt x="151037" y="88694"/>
                  </a:cubicBezTo>
                  <a:cubicBezTo>
                    <a:pt x="151037" y="88694"/>
                    <a:pt x="151071" y="88728"/>
                    <a:pt x="151071" y="88728"/>
                  </a:cubicBezTo>
                  <a:cubicBezTo>
                    <a:pt x="151239" y="88862"/>
                    <a:pt x="151373" y="88996"/>
                    <a:pt x="151541" y="89131"/>
                  </a:cubicBezTo>
                  <a:cubicBezTo>
                    <a:pt x="151541" y="89131"/>
                    <a:pt x="151575" y="89164"/>
                    <a:pt x="151575" y="89164"/>
                  </a:cubicBezTo>
                  <a:cubicBezTo>
                    <a:pt x="151743" y="89332"/>
                    <a:pt x="151877" y="89467"/>
                    <a:pt x="152046" y="89635"/>
                  </a:cubicBezTo>
                  <a:lnTo>
                    <a:pt x="152079" y="89669"/>
                  </a:lnTo>
                  <a:cubicBezTo>
                    <a:pt x="152214" y="89837"/>
                    <a:pt x="152382" y="90005"/>
                    <a:pt x="152516" y="90173"/>
                  </a:cubicBezTo>
                  <a:cubicBezTo>
                    <a:pt x="152684" y="90341"/>
                    <a:pt x="152819" y="90542"/>
                    <a:pt x="152953" y="90744"/>
                  </a:cubicBezTo>
                  <a:cubicBezTo>
                    <a:pt x="153087" y="90912"/>
                    <a:pt x="153222" y="91080"/>
                    <a:pt x="153323" y="91248"/>
                  </a:cubicBezTo>
                  <a:cubicBezTo>
                    <a:pt x="153423" y="91383"/>
                    <a:pt x="153491" y="91517"/>
                    <a:pt x="153558" y="91651"/>
                  </a:cubicBezTo>
                  <a:cubicBezTo>
                    <a:pt x="153625" y="91752"/>
                    <a:pt x="153659" y="91820"/>
                    <a:pt x="153726" y="91887"/>
                  </a:cubicBezTo>
                  <a:cubicBezTo>
                    <a:pt x="153726" y="91954"/>
                    <a:pt x="153760" y="91988"/>
                    <a:pt x="153793" y="92021"/>
                  </a:cubicBezTo>
                  <a:cubicBezTo>
                    <a:pt x="153894" y="92189"/>
                    <a:pt x="153961" y="92357"/>
                    <a:pt x="154062" y="92525"/>
                  </a:cubicBezTo>
                  <a:cubicBezTo>
                    <a:pt x="154062" y="92525"/>
                    <a:pt x="154096" y="92559"/>
                    <a:pt x="154096" y="92593"/>
                  </a:cubicBezTo>
                  <a:cubicBezTo>
                    <a:pt x="154196" y="92794"/>
                    <a:pt x="154297" y="92996"/>
                    <a:pt x="154365" y="93197"/>
                  </a:cubicBezTo>
                  <a:cubicBezTo>
                    <a:pt x="154398" y="93197"/>
                    <a:pt x="154398" y="93231"/>
                    <a:pt x="154398" y="93231"/>
                  </a:cubicBezTo>
                  <a:cubicBezTo>
                    <a:pt x="154465" y="93433"/>
                    <a:pt x="154566" y="93634"/>
                    <a:pt x="154633" y="93836"/>
                  </a:cubicBezTo>
                  <a:cubicBezTo>
                    <a:pt x="154633" y="93836"/>
                    <a:pt x="154667" y="93870"/>
                    <a:pt x="154667" y="93870"/>
                  </a:cubicBezTo>
                  <a:cubicBezTo>
                    <a:pt x="154734" y="94105"/>
                    <a:pt x="154801" y="94307"/>
                    <a:pt x="154869" y="94508"/>
                  </a:cubicBezTo>
                  <a:lnTo>
                    <a:pt x="154869" y="94542"/>
                  </a:lnTo>
                  <a:cubicBezTo>
                    <a:pt x="154936" y="94743"/>
                    <a:pt x="155003" y="94945"/>
                    <a:pt x="155037" y="95147"/>
                  </a:cubicBezTo>
                  <a:cubicBezTo>
                    <a:pt x="155037" y="95180"/>
                    <a:pt x="155037" y="95180"/>
                    <a:pt x="155070" y="95214"/>
                  </a:cubicBezTo>
                  <a:cubicBezTo>
                    <a:pt x="155104" y="95416"/>
                    <a:pt x="155138" y="95617"/>
                    <a:pt x="155171" y="95853"/>
                  </a:cubicBezTo>
                  <a:cubicBezTo>
                    <a:pt x="155205" y="96054"/>
                    <a:pt x="155238" y="96256"/>
                    <a:pt x="155238" y="96458"/>
                  </a:cubicBezTo>
                  <a:cubicBezTo>
                    <a:pt x="155238" y="96491"/>
                    <a:pt x="155272" y="96491"/>
                    <a:pt x="155272" y="96525"/>
                  </a:cubicBezTo>
                  <a:cubicBezTo>
                    <a:pt x="155272" y="96726"/>
                    <a:pt x="155272" y="96928"/>
                    <a:pt x="155272" y="97130"/>
                  </a:cubicBezTo>
                  <a:lnTo>
                    <a:pt x="154969" y="213281"/>
                  </a:lnTo>
                  <a:lnTo>
                    <a:pt x="159843" y="210425"/>
                  </a:lnTo>
                  <a:lnTo>
                    <a:pt x="160179" y="94273"/>
                  </a:lnTo>
                  <a:cubicBezTo>
                    <a:pt x="160145" y="94206"/>
                    <a:pt x="160145" y="94139"/>
                    <a:pt x="160145" y="94071"/>
                  </a:cubicBezTo>
                  <a:cubicBezTo>
                    <a:pt x="160145" y="93970"/>
                    <a:pt x="160145" y="93903"/>
                    <a:pt x="160145" y="93802"/>
                  </a:cubicBezTo>
                  <a:cubicBezTo>
                    <a:pt x="160145" y="93769"/>
                    <a:pt x="160145" y="93735"/>
                    <a:pt x="160145" y="93702"/>
                  </a:cubicBezTo>
                  <a:cubicBezTo>
                    <a:pt x="160145" y="93668"/>
                    <a:pt x="160145" y="93668"/>
                    <a:pt x="160145" y="93634"/>
                  </a:cubicBezTo>
                  <a:cubicBezTo>
                    <a:pt x="160145" y="93601"/>
                    <a:pt x="160145" y="93567"/>
                    <a:pt x="160112" y="93534"/>
                  </a:cubicBezTo>
                  <a:cubicBezTo>
                    <a:pt x="160112" y="93466"/>
                    <a:pt x="160112" y="93366"/>
                    <a:pt x="160112" y="93298"/>
                  </a:cubicBezTo>
                  <a:lnTo>
                    <a:pt x="160044" y="93029"/>
                  </a:lnTo>
                  <a:cubicBezTo>
                    <a:pt x="160044" y="92996"/>
                    <a:pt x="160044" y="92996"/>
                    <a:pt x="160044" y="92996"/>
                  </a:cubicBezTo>
                  <a:cubicBezTo>
                    <a:pt x="160044" y="92929"/>
                    <a:pt x="160044" y="92828"/>
                    <a:pt x="160011" y="92761"/>
                  </a:cubicBezTo>
                  <a:cubicBezTo>
                    <a:pt x="160011" y="92660"/>
                    <a:pt x="159977" y="92559"/>
                    <a:pt x="159944" y="92492"/>
                  </a:cubicBezTo>
                  <a:lnTo>
                    <a:pt x="159944" y="92391"/>
                  </a:lnTo>
                  <a:cubicBezTo>
                    <a:pt x="159944" y="92357"/>
                    <a:pt x="159944" y="92324"/>
                    <a:pt x="159910" y="92324"/>
                  </a:cubicBezTo>
                  <a:cubicBezTo>
                    <a:pt x="159910" y="92290"/>
                    <a:pt x="159910" y="92223"/>
                    <a:pt x="159910" y="92189"/>
                  </a:cubicBezTo>
                  <a:cubicBezTo>
                    <a:pt x="159876" y="92122"/>
                    <a:pt x="159843" y="92021"/>
                    <a:pt x="159809" y="91920"/>
                  </a:cubicBezTo>
                  <a:cubicBezTo>
                    <a:pt x="159809" y="91853"/>
                    <a:pt x="159776" y="91786"/>
                    <a:pt x="159742" y="91719"/>
                  </a:cubicBezTo>
                  <a:cubicBezTo>
                    <a:pt x="159742" y="91685"/>
                    <a:pt x="159742" y="91685"/>
                    <a:pt x="159742" y="91685"/>
                  </a:cubicBezTo>
                  <a:cubicBezTo>
                    <a:pt x="159742" y="91651"/>
                    <a:pt x="159742" y="91651"/>
                    <a:pt x="159742" y="91651"/>
                  </a:cubicBezTo>
                  <a:cubicBezTo>
                    <a:pt x="159708" y="91551"/>
                    <a:pt x="159675" y="91450"/>
                    <a:pt x="159641" y="91383"/>
                  </a:cubicBezTo>
                  <a:cubicBezTo>
                    <a:pt x="159607" y="91282"/>
                    <a:pt x="159574" y="91181"/>
                    <a:pt x="159540" y="91114"/>
                  </a:cubicBezTo>
                  <a:cubicBezTo>
                    <a:pt x="159540" y="91080"/>
                    <a:pt x="159540" y="91047"/>
                    <a:pt x="159540" y="91047"/>
                  </a:cubicBezTo>
                  <a:cubicBezTo>
                    <a:pt x="159540" y="91047"/>
                    <a:pt x="159540" y="91013"/>
                    <a:pt x="159507" y="91013"/>
                  </a:cubicBezTo>
                  <a:lnTo>
                    <a:pt x="159439" y="90845"/>
                  </a:lnTo>
                  <a:cubicBezTo>
                    <a:pt x="159439" y="90744"/>
                    <a:pt x="159372" y="90677"/>
                    <a:pt x="159339" y="90576"/>
                  </a:cubicBezTo>
                  <a:cubicBezTo>
                    <a:pt x="159339" y="90509"/>
                    <a:pt x="159305" y="90442"/>
                    <a:pt x="159271" y="90374"/>
                  </a:cubicBezTo>
                  <a:lnTo>
                    <a:pt x="159238" y="90374"/>
                  </a:lnTo>
                  <a:cubicBezTo>
                    <a:pt x="159238" y="90341"/>
                    <a:pt x="159238" y="90341"/>
                    <a:pt x="159238" y="90341"/>
                  </a:cubicBezTo>
                  <a:cubicBezTo>
                    <a:pt x="159204" y="90240"/>
                    <a:pt x="159171" y="90139"/>
                    <a:pt x="159137" y="90072"/>
                  </a:cubicBezTo>
                  <a:cubicBezTo>
                    <a:pt x="159070" y="89971"/>
                    <a:pt x="159036" y="89870"/>
                    <a:pt x="159003" y="89803"/>
                  </a:cubicBezTo>
                  <a:cubicBezTo>
                    <a:pt x="158969" y="89769"/>
                    <a:pt x="158969" y="89769"/>
                    <a:pt x="158969" y="89736"/>
                  </a:cubicBezTo>
                  <a:cubicBezTo>
                    <a:pt x="158969" y="89736"/>
                    <a:pt x="158935" y="89702"/>
                    <a:pt x="158935" y="89669"/>
                  </a:cubicBezTo>
                  <a:cubicBezTo>
                    <a:pt x="158902" y="89601"/>
                    <a:pt x="158868" y="89534"/>
                    <a:pt x="158834" y="89467"/>
                  </a:cubicBezTo>
                  <a:cubicBezTo>
                    <a:pt x="158767" y="89366"/>
                    <a:pt x="158734" y="89265"/>
                    <a:pt x="158666" y="89164"/>
                  </a:cubicBezTo>
                  <a:lnTo>
                    <a:pt x="158599" y="89064"/>
                  </a:lnTo>
                  <a:cubicBezTo>
                    <a:pt x="158599" y="89064"/>
                    <a:pt x="158599" y="89030"/>
                    <a:pt x="158566" y="89030"/>
                  </a:cubicBezTo>
                  <a:cubicBezTo>
                    <a:pt x="158532" y="88963"/>
                    <a:pt x="158498" y="88862"/>
                    <a:pt x="158431" y="88795"/>
                  </a:cubicBezTo>
                  <a:cubicBezTo>
                    <a:pt x="158364" y="88694"/>
                    <a:pt x="158297" y="88559"/>
                    <a:pt x="158196" y="88425"/>
                  </a:cubicBezTo>
                  <a:cubicBezTo>
                    <a:pt x="158196" y="88391"/>
                    <a:pt x="158196" y="88391"/>
                    <a:pt x="158162" y="88358"/>
                  </a:cubicBezTo>
                  <a:cubicBezTo>
                    <a:pt x="158061" y="88190"/>
                    <a:pt x="157961" y="88055"/>
                    <a:pt x="157826" y="87887"/>
                  </a:cubicBezTo>
                  <a:cubicBezTo>
                    <a:pt x="157759" y="87786"/>
                    <a:pt x="157692" y="87686"/>
                    <a:pt x="157591" y="87585"/>
                  </a:cubicBezTo>
                  <a:cubicBezTo>
                    <a:pt x="157524" y="87484"/>
                    <a:pt x="157457" y="87417"/>
                    <a:pt x="157389" y="87316"/>
                  </a:cubicBezTo>
                  <a:cubicBezTo>
                    <a:pt x="157322" y="87249"/>
                    <a:pt x="157255" y="87182"/>
                    <a:pt x="157188" y="87081"/>
                  </a:cubicBezTo>
                  <a:cubicBezTo>
                    <a:pt x="157120" y="87013"/>
                    <a:pt x="157053" y="86913"/>
                    <a:pt x="156986" y="86845"/>
                  </a:cubicBezTo>
                  <a:cubicBezTo>
                    <a:pt x="156952" y="86845"/>
                    <a:pt x="156952" y="86845"/>
                    <a:pt x="156952" y="86812"/>
                  </a:cubicBezTo>
                  <a:cubicBezTo>
                    <a:pt x="156919" y="86812"/>
                    <a:pt x="156919" y="86778"/>
                    <a:pt x="156919" y="86778"/>
                  </a:cubicBezTo>
                  <a:cubicBezTo>
                    <a:pt x="156852" y="86711"/>
                    <a:pt x="156818" y="86677"/>
                    <a:pt x="156751" y="86610"/>
                  </a:cubicBezTo>
                  <a:cubicBezTo>
                    <a:pt x="156684" y="86543"/>
                    <a:pt x="156616" y="86476"/>
                    <a:pt x="156549" y="86409"/>
                  </a:cubicBezTo>
                  <a:cubicBezTo>
                    <a:pt x="156515" y="86375"/>
                    <a:pt x="156482" y="86341"/>
                    <a:pt x="156482" y="86341"/>
                  </a:cubicBezTo>
                  <a:cubicBezTo>
                    <a:pt x="156448" y="86308"/>
                    <a:pt x="156448" y="86308"/>
                    <a:pt x="156415" y="86274"/>
                  </a:cubicBezTo>
                  <a:cubicBezTo>
                    <a:pt x="156381" y="86240"/>
                    <a:pt x="156347" y="86207"/>
                    <a:pt x="156314" y="86173"/>
                  </a:cubicBezTo>
                  <a:cubicBezTo>
                    <a:pt x="156247" y="86106"/>
                    <a:pt x="156146" y="86039"/>
                    <a:pt x="156079" y="85972"/>
                  </a:cubicBezTo>
                  <a:cubicBezTo>
                    <a:pt x="156045" y="85938"/>
                    <a:pt x="156011" y="85938"/>
                    <a:pt x="155978" y="85904"/>
                  </a:cubicBezTo>
                  <a:cubicBezTo>
                    <a:pt x="155944" y="85871"/>
                    <a:pt x="155944" y="85871"/>
                    <a:pt x="155911" y="85837"/>
                  </a:cubicBezTo>
                  <a:lnTo>
                    <a:pt x="155843" y="85770"/>
                  </a:lnTo>
                  <a:cubicBezTo>
                    <a:pt x="155776" y="85736"/>
                    <a:pt x="155675" y="85669"/>
                    <a:pt x="155608" y="85602"/>
                  </a:cubicBezTo>
                  <a:cubicBezTo>
                    <a:pt x="155541" y="85568"/>
                    <a:pt x="155507" y="85535"/>
                    <a:pt x="155440" y="85501"/>
                  </a:cubicBezTo>
                  <a:cubicBezTo>
                    <a:pt x="155440" y="85467"/>
                    <a:pt x="155406" y="85467"/>
                    <a:pt x="155406" y="85467"/>
                  </a:cubicBezTo>
                  <a:cubicBezTo>
                    <a:pt x="155406" y="85467"/>
                    <a:pt x="155373" y="85467"/>
                    <a:pt x="155373" y="85434"/>
                  </a:cubicBezTo>
                  <a:lnTo>
                    <a:pt x="155138" y="85299"/>
                  </a:lnTo>
                  <a:lnTo>
                    <a:pt x="154936" y="85165"/>
                  </a:lnTo>
                  <a:cubicBezTo>
                    <a:pt x="154902" y="85165"/>
                    <a:pt x="154902" y="85131"/>
                    <a:pt x="154869" y="85131"/>
                  </a:cubicBezTo>
                  <a:lnTo>
                    <a:pt x="8671" y="706"/>
                  </a:lnTo>
                  <a:cubicBezTo>
                    <a:pt x="8604" y="673"/>
                    <a:pt x="8537" y="639"/>
                    <a:pt x="8503" y="606"/>
                  </a:cubicBezTo>
                  <a:cubicBezTo>
                    <a:pt x="8436" y="572"/>
                    <a:pt x="8335" y="538"/>
                    <a:pt x="8268" y="505"/>
                  </a:cubicBezTo>
                  <a:cubicBezTo>
                    <a:pt x="8234" y="471"/>
                    <a:pt x="8201" y="471"/>
                    <a:pt x="8133" y="438"/>
                  </a:cubicBezTo>
                  <a:lnTo>
                    <a:pt x="8100" y="438"/>
                  </a:lnTo>
                  <a:cubicBezTo>
                    <a:pt x="8100" y="404"/>
                    <a:pt x="8066" y="404"/>
                    <a:pt x="8066" y="404"/>
                  </a:cubicBezTo>
                  <a:cubicBezTo>
                    <a:pt x="7999" y="370"/>
                    <a:pt x="7932" y="337"/>
                    <a:pt x="7865" y="303"/>
                  </a:cubicBezTo>
                  <a:cubicBezTo>
                    <a:pt x="7764" y="270"/>
                    <a:pt x="7697" y="270"/>
                    <a:pt x="7629" y="236"/>
                  </a:cubicBezTo>
                  <a:cubicBezTo>
                    <a:pt x="7629" y="236"/>
                    <a:pt x="7596" y="236"/>
                    <a:pt x="7596" y="202"/>
                  </a:cubicBezTo>
                  <a:lnTo>
                    <a:pt x="7562" y="202"/>
                  </a:lnTo>
                  <a:cubicBezTo>
                    <a:pt x="7528" y="202"/>
                    <a:pt x="7461" y="169"/>
                    <a:pt x="7428" y="169"/>
                  </a:cubicBezTo>
                  <a:cubicBezTo>
                    <a:pt x="7360" y="135"/>
                    <a:pt x="7260" y="101"/>
                    <a:pt x="7192" y="101"/>
                  </a:cubicBezTo>
                  <a:cubicBezTo>
                    <a:pt x="7159" y="101"/>
                    <a:pt x="7125" y="101"/>
                    <a:pt x="7092" y="68"/>
                  </a:cubicBezTo>
                  <a:lnTo>
                    <a:pt x="6991" y="68"/>
                  </a:lnTo>
                  <a:cubicBezTo>
                    <a:pt x="6924" y="34"/>
                    <a:pt x="6823" y="34"/>
                    <a:pt x="6755" y="34"/>
                  </a:cubicBezTo>
                  <a:lnTo>
                    <a:pt x="6621" y="1"/>
                  </a:lnTo>
                  <a:close/>
                </a:path>
              </a:pathLst>
            </a:custGeom>
            <a:solidFill>
              <a:srgbClr val="220B49"/>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61" name="Google Shape;2656;p49"/>
            <p:cNvSpPr/>
            <p:nvPr/>
          </p:nvSpPr>
          <p:spPr>
            <a:xfrm>
              <a:off x="-20652475" y="8560850"/>
              <a:ext cx="3929700" cy="5261075"/>
            </a:xfrm>
            <a:custGeom>
              <a:avLst/>
              <a:gdLst/>
              <a:ahLst/>
              <a:cxnLst/>
              <a:rect l="l" t="t" r="r" b="b"/>
              <a:pathLst>
                <a:path w="157188" h="210443" extrusionOk="0">
                  <a:moveTo>
                    <a:pt x="3281" y="1"/>
                  </a:moveTo>
                  <a:cubicBezTo>
                    <a:pt x="1533" y="1"/>
                    <a:pt x="337" y="1369"/>
                    <a:pt x="337" y="3749"/>
                  </a:cubicBezTo>
                  <a:lnTo>
                    <a:pt x="0" y="119901"/>
                  </a:lnTo>
                  <a:lnTo>
                    <a:pt x="156852" y="210442"/>
                  </a:lnTo>
                  <a:lnTo>
                    <a:pt x="157188" y="94324"/>
                  </a:lnTo>
                  <a:cubicBezTo>
                    <a:pt x="157188" y="90930"/>
                    <a:pt x="154802" y="86830"/>
                    <a:pt x="151878" y="85149"/>
                  </a:cubicBezTo>
                  <a:lnTo>
                    <a:pt x="5680" y="724"/>
                  </a:lnTo>
                  <a:cubicBezTo>
                    <a:pt x="4817" y="234"/>
                    <a:pt x="4002" y="1"/>
                    <a:pt x="3281" y="1"/>
                  </a:cubicBezTo>
                  <a:close/>
                </a:path>
              </a:pathLst>
            </a:custGeom>
            <a:solidFill>
              <a:srgbClr val="A96EEC"/>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62" name="Google Shape;2657;p49"/>
            <p:cNvSpPr/>
            <p:nvPr/>
          </p:nvSpPr>
          <p:spPr>
            <a:xfrm>
              <a:off x="-20586950" y="8666300"/>
              <a:ext cx="3791925" cy="5059000"/>
            </a:xfrm>
            <a:custGeom>
              <a:avLst/>
              <a:gdLst/>
              <a:ahLst/>
              <a:cxnLst/>
              <a:rect l="l" t="t" r="r" b="b"/>
              <a:pathLst>
                <a:path w="151677" h="202360" extrusionOk="0">
                  <a:moveTo>
                    <a:pt x="1528" y="1"/>
                  </a:moveTo>
                  <a:cubicBezTo>
                    <a:pt x="826" y="1"/>
                    <a:pt x="337" y="572"/>
                    <a:pt x="337" y="1547"/>
                  </a:cubicBezTo>
                  <a:lnTo>
                    <a:pt x="1" y="114977"/>
                  </a:lnTo>
                  <a:lnTo>
                    <a:pt x="151341" y="202359"/>
                  </a:lnTo>
                  <a:lnTo>
                    <a:pt x="151677" y="88930"/>
                  </a:lnTo>
                  <a:cubicBezTo>
                    <a:pt x="151677" y="87552"/>
                    <a:pt x="150702" y="85872"/>
                    <a:pt x="149526" y="85199"/>
                  </a:cubicBezTo>
                  <a:lnTo>
                    <a:pt x="2488" y="304"/>
                  </a:lnTo>
                  <a:cubicBezTo>
                    <a:pt x="2144" y="98"/>
                    <a:pt x="1818" y="1"/>
                    <a:pt x="1528"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63" name="Google Shape;2658;p49"/>
            <p:cNvSpPr/>
            <p:nvPr/>
          </p:nvSpPr>
          <p:spPr>
            <a:xfrm>
              <a:off x="-23177325" y="12948900"/>
              <a:ext cx="6449525" cy="2340025"/>
            </a:xfrm>
            <a:custGeom>
              <a:avLst/>
              <a:gdLst/>
              <a:ahLst/>
              <a:cxnLst/>
              <a:rect l="l" t="t" r="r" b="b"/>
              <a:pathLst>
                <a:path w="257981" h="93601" extrusionOk="0">
                  <a:moveTo>
                    <a:pt x="34" y="1"/>
                  </a:moveTo>
                  <a:lnTo>
                    <a:pt x="1" y="5681"/>
                  </a:lnTo>
                  <a:cubicBezTo>
                    <a:pt x="1" y="7328"/>
                    <a:pt x="1076" y="8974"/>
                    <a:pt x="3261" y="10218"/>
                  </a:cubicBezTo>
                  <a:lnTo>
                    <a:pt x="144450" y="91752"/>
                  </a:lnTo>
                  <a:cubicBezTo>
                    <a:pt x="144719" y="91887"/>
                    <a:pt x="144988" y="92021"/>
                    <a:pt x="145257" y="92156"/>
                  </a:cubicBezTo>
                  <a:cubicBezTo>
                    <a:pt x="145358" y="92223"/>
                    <a:pt x="145459" y="92257"/>
                    <a:pt x="145526" y="92290"/>
                  </a:cubicBezTo>
                  <a:cubicBezTo>
                    <a:pt x="145694" y="92357"/>
                    <a:pt x="145862" y="92425"/>
                    <a:pt x="146030" y="92492"/>
                  </a:cubicBezTo>
                  <a:cubicBezTo>
                    <a:pt x="146064" y="92525"/>
                    <a:pt x="146097" y="92525"/>
                    <a:pt x="146097" y="92525"/>
                  </a:cubicBezTo>
                  <a:cubicBezTo>
                    <a:pt x="146501" y="92660"/>
                    <a:pt x="146870" y="92794"/>
                    <a:pt x="147274" y="92929"/>
                  </a:cubicBezTo>
                  <a:cubicBezTo>
                    <a:pt x="147307" y="92929"/>
                    <a:pt x="147341" y="92962"/>
                    <a:pt x="147374" y="92962"/>
                  </a:cubicBezTo>
                  <a:cubicBezTo>
                    <a:pt x="147475" y="92996"/>
                    <a:pt x="147576" y="92996"/>
                    <a:pt x="147677" y="93030"/>
                  </a:cubicBezTo>
                  <a:cubicBezTo>
                    <a:pt x="147878" y="93097"/>
                    <a:pt x="148114" y="93130"/>
                    <a:pt x="148349" y="93198"/>
                  </a:cubicBezTo>
                  <a:cubicBezTo>
                    <a:pt x="148416" y="93198"/>
                    <a:pt x="148483" y="93231"/>
                    <a:pt x="148551" y="93231"/>
                  </a:cubicBezTo>
                  <a:cubicBezTo>
                    <a:pt x="148618" y="93265"/>
                    <a:pt x="148719" y="93265"/>
                    <a:pt x="148820" y="93298"/>
                  </a:cubicBezTo>
                  <a:cubicBezTo>
                    <a:pt x="149021" y="93332"/>
                    <a:pt x="149189" y="93366"/>
                    <a:pt x="149391" y="93399"/>
                  </a:cubicBezTo>
                  <a:cubicBezTo>
                    <a:pt x="149492" y="93399"/>
                    <a:pt x="149559" y="93433"/>
                    <a:pt x="149626" y="93433"/>
                  </a:cubicBezTo>
                  <a:cubicBezTo>
                    <a:pt x="149727" y="93433"/>
                    <a:pt x="149794" y="93433"/>
                    <a:pt x="149895" y="93467"/>
                  </a:cubicBezTo>
                  <a:cubicBezTo>
                    <a:pt x="150063" y="93467"/>
                    <a:pt x="150265" y="93500"/>
                    <a:pt x="150433" y="93534"/>
                  </a:cubicBezTo>
                  <a:cubicBezTo>
                    <a:pt x="150534" y="93534"/>
                    <a:pt x="150601" y="93534"/>
                    <a:pt x="150702" y="93567"/>
                  </a:cubicBezTo>
                  <a:lnTo>
                    <a:pt x="150937" y="93567"/>
                  </a:lnTo>
                  <a:cubicBezTo>
                    <a:pt x="151138" y="93567"/>
                    <a:pt x="151340" y="93601"/>
                    <a:pt x="151508" y="93601"/>
                  </a:cubicBezTo>
                  <a:lnTo>
                    <a:pt x="153088" y="93601"/>
                  </a:lnTo>
                  <a:cubicBezTo>
                    <a:pt x="153357" y="93567"/>
                    <a:pt x="153592" y="93567"/>
                    <a:pt x="153861" y="93534"/>
                  </a:cubicBezTo>
                  <a:lnTo>
                    <a:pt x="154163" y="93534"/>
                  </a:lnTo>
                  <a:cubicBezTo>
                    <a:pt x="154163" y="93534"/>
                    <a:pt x="154197" y="93500"/>
                    <a:pt x="154230" y="93500"/>
                  </a:cubicBezTo>
                  <a:cubicBezTo>
                    <a:pt x="154667" y="93467"/>
                    <a:pt x="155071" y="93399"/>
                    <a:pt x="155508" y="93332"/>
                  </a:cubicBezTo>
                  <a:lnTo>
                    <a:pt x="155541" y="93332"/>
                  </a:lnTo>
                  <a:cubicBezTo>
                    <a:pt x="155676" y="93298"/>
                    <a:pt x="155810" y="93265"/>
                    <a:pt x="155911" y="93265"/>
                  </a:cubicBezTo>
                  <a:cubicBezTo>
                    <a:pt x="156113" y="93198"/>
                    <a:pt x="156314" y="93164"/>
                    <a:pt x="156516" y="93130"/>
                  </a:cubicBezTo>
                  <a:cubicBezTo>
                    <a:pt x="156650" y="93097"/>
                    <a:pt x="156818" y="93030"/>
                    <a:pt x="156953" y="92996"/>
                  </a:cubicBezTo>
                  <a:cubicBezTo>
                    <a:pt x="157154" y="92962"/>
                    <a:pt x="157322" y="92895"/>
                    <a:pt x="157524" y="92828"/>
                  </a:cubicBezTo>
                  <a:cubicBezTo>
                    <a:pt x="157558" y="92828"/>
                    <a:pt x="157591" y="92828"/>
                    <a:pt x="157625" y="92794"/>
                  </a:cubicBezTo>
                  <a:cubicBezTo>
                    <a:pt x="157726" y="92794"/>
                    <a:pt x="157759" y="92761"/>
                    <a:pt x="157827" y="92727"/>
                  </a:cubicBezTo>
                  <a:cubicBezTo>
                    <a:pt x="158129" y="92626"/>
                    <a:pt x="158432" y="92525"/>
                    <a:pt x="158700" y="92391"/>
                  </a:cubicBezTo>
                  <a:cubicBezTo>
                    <a:pt x="158801" y="92357"/>
                    <a:pt x="158902" y="92324"/>
                    <a:pt x="159003" y="92257"/>
                  </a:cubicBezTo>
                  <a:cubicBezTo>
                    <a:pt x="159373" y="92122"/>
                    <a:pt x="159742" y="91921"/>
                    <a:pt x="160045" y="91752"/>
                  </a:cubicBezTo>
                  <a:lnTo>
                    <a:pt x="257980" y="34853"/>
                  </a:lnTo>
                  <a:lnTo>
                    <a:pt x="257980" y="29173"/>
                  </a:lnTo>
                  <a:lnTo>
                    <a:pt x="160078" y="86073"/>
                  </a:lnTo>
                  <a:cubicBezTo>
                    <a:pt x="159742" y="86274"/>
                    <a:pt x="159373" y="86442"/>
                    <a:pt x="159037" y="86610"/>
                  </a:cubicBezTo>
                  <a:cubicBezTo>
                    <a:pt x="158902" y="86644"/>
                    <a:pt x="158801" y="86678"/>
                    <a:pt x="158700" y="86711"/>
                  </a:cubicBezTo>
                  <a:cubicBezTo>
                    <a:pt x="158432" y="86846"/>
                    <a:pt x="158129" y="86946"/>
                    <a:pt x="157827" y="87047"/>
                  </a:cubicBezTo>
                  <a:cubicBezTo>
                    <a:pt x="157726" y="87081"/>
                    <a:pt x="157625" y="87148"/>
                    <a:pt x="157524" y="87148"/>
                  </a:cubicBezTo>
                  <a:cubicBezTo>
                    <a:pt x="157322" y="87215"/>
                    <a:pt x="157154" y="87283"/>
                    <a:pt x="156953" y="87316"/>
                  </a:cubicBezTo>
                  <a:cubicBezTo>
                    <a:pt x="156818" y="87350"/>
                    <a:pt x="156684" y="87417"/>
                    <a:pt x="156516" y="87451"/>
                  </a:cubicBezTo>
                  <a:cubicBezTo>
                    <a:pt x="156314" y="87484"/>
                    <a:pt x="156113" y="87551"/>
                    <a:pt x="155911" y="87585"/>
                  </a:cubicBezTo>
                  <a:cubicBezTo>
                    <a:pt x="155776" y="87619"/>
                    <a:pt x="155642" y="87652"/>
                    <a:pt x="155508" y="87652"/>
                  </a:cubicBezTo>
                  <a:cubicBezTo>
                    <a:pt x="155071" y="87719"/>
                    <a:pt x="154667" y="87787"/>
                    <a:pt x="154230" y="87854"/>
                  </a:cubicBezTo>
                  <a:cubicBezTo>
                    <a:pt x="154130" y="87854"/>
                    <a:pt x="153995" y="87854"/>
                    <a:pt x="153861" y="87887"/>
                  </a:cubicBezTo>
                  <a:cubicBezTo>
                    <a:pt x="153592" y="87887"/>
                    <a:pt x="153357" y="87921"/>
                    <a:pt x="153121" y="87921"/>
                  </a:cubicBezTo>
                  <a:lnTo>
                    <a:pt x="151508" y="87921"/>
                  </a:lnTo>
                  <a:cubicBezTo>
                    <a:pt x="151340" y="87921"/>
                    <a:pt x="151138" y="87921"/>
                    <a:pt x="150970" y="87887"/>
                  </a:cubicBezTo>
                  <a:cubicBezTo>
                    <a:pt x="150802" y="87887"/>
                    <a:pt x="150634" y="87887"/>
                    <a:pt x="150466" y="87854"/>
                  </a:cubicBezTo>
                  <a:cubicBezTo>
                    <a:pt x="150265" y="87854"/>
                    <a:pt x="150097" y="87820"/>
                    <a:pt x="149895" y="87787"/>
                  </a:cubicBezTo>
                  <a:cubicBezTo>
                    <a:pt x="149727" y="87787"/>
                    <a:pt x="149559" y="87753"/>
                    <a:pt x="149424" y="87719"/>
                  </a:cubicBezTo>
                  <a:cubicBezTo>
                    <a:pt x="149223" y="87686"/>
                    <a:pt x="149021" y="87652"/>
                    <a:pt x="148820" y="87619"/>
                  </a:cubicBezTo>
                  <a:cubicBezTo>
                    <a:pt x="148685" y="87585"/>
                    <a:pt x="148517" y="87551"/>
                    <a:pt x="148383" y="87518"/>
                  </a:cubicBezTo>
                  <a:cubicBezTo>
                    <a:pt x="148147" y="87484"/>
                    <a:pt x="147912" y="87417"/>
                    <a:pt x="147677" y="87350"/>
                  </a:cubicBezTo>
                  <a:cubicBezTo>
                    <a:pt x="147542" y="87316"/>
                    <a:pt x="147442" y="87283"/>
                    <a:pt x="147307" y="87249"/>
                  </a:cubicBezTo>
                  <a:cubicBezTo>
                    <a:pt x="146904" y="87148"/>
                    <a:pt x="146501" y="87014"/>
                    <a:pt x="146131" y="86846"/>
                  </a:cubicBezTo>
                  <a:cubicBezTo>
                    <a:pt x="145929" y="86778"/>
                    <a:pt x="145761" y="86711"/>
                    <a:pt x="145559" y="86610"/>
                  </a:cubicBezTo>
                  <a:cubicBezTo>
                    <a:pt x="145459" y="86577"/>
                    <a:pt x="145358" y="86543"/>
                    <a:pt x="145291" y="86510"/>
                  </a:cubicBezTo>
                  <a:cubicBezTo>
                    <a:pt x="144988" y="86375"/>
                    <a:pt x="144719" y="86207"/>
                    <a:pt x="144484" y="86073"/>
                  </a:cubicBezTo>
                  <a:lnTo>
                    <a:pt x="3294" y="4572"/>
                  </a:lnTo>
                  <a:cubicBezTo>
                    <a:pt x="1110" y="3294"/>
                    <a:pt x="34" y="1648"/>
                    <a:pt x="34" y="1"/>
                  </a:cubicBezTo>
                  <a:close/>
                </a:path>
              </a:pathLst>
            </a:custGeom>
            <a:solidFill>
              <a:srgbClr val="220B49"/>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64" name="Google Shape;2659;p49"/>
            <p:cNvSpPr/>
            <p:nvPr/>
          </p:nvSpPr>
          <p:spPr>
            <a:xfrm>
              <a:off x="-23204200" y="11414675"/>
              <a:ext cx="6476400" cy="3732675"/>
            </a:xfrm>
            <a:custGeom>
              <a:avLst/>
              <a:gdLst/>
              <a:ahLst/>
              <a:cxnLst/>
              <a:rect l="l" t="t" r="r" b="b"/>
              <a:pathLst>
                <a:path w="259056" h="149307" extrusionOk="0">
                  <a:moveTo>
                    <a:pt x="102237" y="0"/>
                  </a:moveTo>
                  <a:lnTo>
                    <a:pt x="4302" y="56900"/>
                  </a:lnTo>
                  <a:cubicBezTo>
                    <a:pt x="0" y="59387"/>
                    <a:pt x="34" y="63420"/>
                    <a:pt x="4369" y="65907"/>
                  </a:cubicBezTo>
                  <a:lnTo>
                    <a:pt x="145559" y="147442"/>
                  </a:lnTo>
                  <a:cubicBezTo>
                    <a:pt x="147710" y="148685"/>
                    <a:pt x="150533" y="149307"/>
                    <a:pt x="153356" y="149307"/>
                  </a:cubicBezTo>
                  <a:cubicBezTo>
                    <a:pt x="156179" y="149307"/>
                    <a:pt x="159002" y="148685"/>
                    <a:pt x="161153" y="147442"/>
                  </a:cubicBezTo>
                  <a:lnTo>
                    <a:pt x="259055" y="90542"/>
                  </a:lnTo>
                  <a:lnTo>
                    <a:pt x="102237" y="0"/>
                  </a:lnTo>
                  <a:close/>
                </a:path>
              </a:pathLst>
            </a:custGeom>
            <a:solidFill>
              <a:srgbClr val="A96EEC"/>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65" name="Google Shape;2660;p49"/>
            <p:cNvSpPr/>
            <p:nvPr/>
          </p:nvSpPr>
          <p:spPr>
            <a:xfrm>
              <a:off x="-20951600" y="13016125"/>
              <a:ext cx="1551900" cy="781425"/>
            </a:xfrm>
            <a:custGeom>
              <a:avLst/>
              <a:gdLst/>
              <a:ahLst/>
              <a:cxnLst/>
              <a:rect l="l" t="t" r="r" b="b"/>
              <a:pathLst>
                <a:path w="62076" h="31257" extrusionOk="0">
                  <a:moveTo>
                    <a:pt x="1" y="1"/>
                  </a:moveTo>
                  <a:lnTo>
                    <a:pt x="1" y="1916"/>
                  </a:lnTo>
                  <a:cubicBezTo>
                    <a:pt x="1" y="2252"/>
                    <a:pt x="236" y="2588"/>
                    <a:pt x="673" y="2857"/>
                  </a:cubicBezTo>
                  <a:lnTo>
                    <a:pt x="49204" y="30887"/>
                  </a:lnTo>
                  <a:cubicBezTo>
                    <a:pt x="49305" y="30921"/>
                    <a:pt x="49405" y="30988"/>
                    <a:pt x="49540" y="31021"/>
                  </a:cubicBezTo>
                  <a:cubicBezTo>
                    <a:pt x="49573" y="31055"/>
                    <a:pt x="49573" y="31055"/>
                    <a:pt x="49607" y="31055"/>
                  </a:cubicBezTo>
                  <a:cubicBezTo>
                    <a:pt x="49674" y="31089"/>
                    <a:pt x="49742" y="31089"/>
                    <a:pt x="49809" y="31122"/>
                  </a:cubicBezTo>
                  <a:cubicBezTo>
                    <a:pt x="49842" y="31122"/>
                    <a:pt x="49876" y="31122"/>
                    <a:pt x="49910" y="31156"/>
                  </a:cubicBezTo>
                  <a:lnTo>
                    <a:pt x="49977" y="31156"/>
                  </a:lnTo>
                  <a:cubicBezTo>
                    <a:pt x="50010" y="31156"/>
                    <a:pt x="50010" y="31189"/>
                    <a:pt x="50044" y="31189"/>
                  </a:cubicBezTo>
                  <a:cubicBezTo>
                    <a:pt x="50111" y="31189"/>
                    <a:pt x="50178" y="31223"/>
                    <a:pt x="50279" y="31223"/>
                  </a:cubicBezTo>
                  <a:lnTo>
                    <a:pt x="50414" y="31223"/>
                  </a:lnTo>
                  <a:cubicBezTo>
                    <a:pt x="50414" y="31223"/>
                    <a:pt x="50447" y="31257"/>
                    <a:pt x="50481" y="31257"/>
                  </a:cubicBezTo>
                  <a:lnTo>
                    <a:pt x="50951" y="31257"/>
                  </a:lnTo>
                  <a:cubicBezTo>
                    <a:pt x="51019" y="31257"/>
                    <a:pt x="51119" y="31257"/>
                    <a:pt x="51187" y="31223"/>
                  </a:cubicBezTo>
                  <a:lnTo>
                    <a:pt x="51288" y="31223"/>
                  </a:lnTo>
                  <a:cubicBezTo>
                    <a:pt x="51355" y="31223"/>
                    <a:pt x="51422" y="31223"/>
                    <a:pt x="51489" y="31189"/>
                  </a:cubicBezTo>
                  <a:lnTo>
                    <a:pt x="51556" y="31189"/>
                  </a:lnTo>
                  <a:cubicBezTo>
                    <a:pt x="51657" y="31156"/>
                    <a:pt x="51724" y="31156"/>
                    <a:pt x="51792" y="31122"/>
                  </a:cubicBezTo>
                  <a:cubicBezTo>
                    <a:pt x="51825" y="31122"/>
                    <a:pt x="51859" y="31122"/>
                    <a:pt x="51926" y="31089"/>
                  </a:cubicBezTo>
                  <a:lnTo>
                    <a:pt x="51960" y="31089"/>
                  </a:lnTo>
                  <a:cubicBezTo>
                    <a:pt x="52128" y="31021"/>
                    <a:pt x="52262" y="30954"/>
                    <a:pt x="52397" y="30887"/>
                  </a:cubicBezTo>
                  <a:lnTo>
                    <a:pt x="61404" y="25644"/>
                  </a:lnTo>
                  <a:lnTo>
                    <a:pt x="61437" y="25644"/>
                  </a:lnTo>
                  <a:cubicBezTo>
                    <a:pt x="61471" y="25610"/>
                    <a:pt x="61505" y="25577"/>
                    <a:pt x="61538" y="25543"/>
                  </a:cubicBezTo>
                  <a:cubicBezTo>
                    <a:pt x="61605" y="25510"/>
                    <a:pt x="61673" y="25476"/>
                    <a:pt x="61706" y="25442"/>
                  </a:cubicBezTo>
                  <a:cubicBezTo>
                    <a:pt x="61706" y="25442"/>
                    <a:pt x="61706" y="25442"/>
                    <a:pt x="61706" y="25409"/>
                  </a:cubicBezTo>
                  <a:cubicBezTo>
                    <a:pt x="61773" y="25375"/>
                    <a:pt x="61807" y="25308"/>
                    <a:pt x="61874" y="25274"/>
                  </a:cubicBezTo>
                  <a:cubicBezTo>
                    <a:pt x="61874" y="25274"/>
                    <a:pt x="61874" y="25241"/>
                    <a:pt x="61874" y="25241"/>
                  </a:cubicBezTo>
                  <a:lnTo>
                    <a:pt x="61908" y="25207"/>
                  </a:lnTo>
                  <a:cubicBezTo>
                    <a:pt x="61941" y="25173"/>
                    <a:pt x="61941" y="25173"/>
                    <a:pt x="61941" y="25140"/>
                  </a:cubicBezTo>
                  <a:cubicBezTo>
                    <a:pt x="61975" y="25106"/>
                    <a:pt x="62009" y="25039"/>
                    <a:pt x="62009" y="25005"/>
                  </a:cubicBezTo>
                  <a:cubicBezTo>
                    <a:pt x="62009" y="25005"/>
                    <a:pt x="62009" y="25005"/>
                    <a:pt x="62009" y="24972"/>
                  </a:cubicBezTo>
                  <a:lnTo>
                    <a:pt x="62042" y="24972"/>
                  </a:lnTo>
                  <a:cubicBezTo>
                    <a:pt x="62042" y="24938"/>
                    <a:pt x="62042" y="24905"/>
                    <a:pt x="62042" y="24871"/>
                  </a:cubicBezTo>
                  <a:cubicBezTo>
                    <a:pt x="62076" y="24837"/>
                    <a:pt x="62076" y="24804"/>
                    <a:pt x="62076" y="24737"/>
                  </a:cubicBezTo>
                  <a:lnTo>
                    <a:pt x="62076" y="22821"/>
                  </a:lnTo>
                  <a:cubicBezTo>
                    <a:pt x="62076" y="22888"/>
                    <a:pt x="62042" y="22989"/>
                    <a:pt x="62009" y="23056"/>
                  </a:cubicBezTo>
                  <a:cubicBezTo>
                    <a:pt x="62009" y="23056"/>
                    <a:pt x="62009" y="23090"/>
                    <a:pt x="62009" y="23090"/>
                  </a:cubicBezTo>
                  <a:cubicBezTo>
                    <a:pt x="61975" y="23157"/>
                    <a:pt x="61941" y="23224"/>
                    <a:pt x="61908" y="23291"/>
                  </a:cubicBezTo>
                  <a:lnTo>
                    <a:pt x="61874" y="23325"/>
                  </a:lnTo>
                  <a:cubicBezTo>
                    <a:pt x="61841" y="23392"/>
                    <a:pt x="61773" y="23459"/>
                    <a:pt x="61706" y="23527"/>
                  </a:cubicBezTo>
                  <a:cubicBezTo>
                    <a:pt x="61673" y="23560"/>
                    <a:pt x="61605" y="23594"/>
                    <a:pt x="61538" y="23627"/>
                  </a:cubicBezTo>
                  <a:cubicBezTo>
                    <a:pt x="61505" y="23661"/>
                    <a:pt x="61437" y="23728"/>
                    <a:pt x="61404" y="23728"/>
                  </a:cubicBezTo>
                  <a:lnTo>
                    <a:pt x="52397" y="28971"/>
                  </a:lnTo>
                  <a:cubicBezTo>
                    <a:pt x="52262" y="29038"/>
                    <a:pt x="52128" y="29106"/>
                    <a:pt x="51960" y="29173"/>
                  </a:cubicBezTo>
                  <a:cubicBezTo>
                    <a:pt x="51892" y="29173"/>
                    <a:pt x="51859" y="29206"/>
                    <a:pt x="51792" y="29206"/>
                  </a:cubicBezTo>
                  <a:cubicBezTo>
                    <a:pt x="51724" y="29240"/>
                    <a:pt x="51624" y="29240"/>
                    <a:pt x="51556" y="29274"/>
                  </a:cubicBezTo>
                  <a:cubicBezTo>
                    <a:pt x="51456" y="29274"/>
                    <a:pt x="51388" y="29307"/>
                    <a:pt x="51288" y="29307"/>
                  </a:cubicBezTo>
                  <a:lnTo>
                    <a:pt x="51220" y="29307"/>
                  </a:lnTo>
                  <a:cubicBezTo>
                    <a:pt x="51086" y="29341"/>
                    <a:pt x="50985" y="29341"/>
                    <a:pt x="50851" y="29341"/>
                  </a:cubicBezTo>
                  <a:lnTo>
                    <a:pt x="50783" y="29341"/>
                  </a:lnTo>
                  <a:cubicBezTo>
                    <a:pt x="50649" y="29341"/>
                    <a:pt x="50515" y="29341"/>
                    <a:pt x="50414" y="29307"/>
                  </a:cubicBezTo>
                  <a:lnTo>
                    <a:pt x="50346" y="29307"/>
                  </a:lnTo>
                  <a:cubicBezTo>
                    <a:pt x="50212" y="29307"/>
                    <a:pt x="50111" y="29274"/>
                    <a:pt x="49977" y="29240"/>
                  </a:cubicBezTo>
                  <a:lnTo>
                    <a:pt x="49910" y="29240"/>
                  </a:lnTo>
                  <a:cubicBezTo>
                    <a:pt x="49809" y="29206"/>
                    <a:pt x="49708" y="29173"/>
                    <a:pt x="49607" y="29139"/>
                  </a:cubicBezTo>
                  <a:lnTo>
                    <a:pt x="49540" y="29139"/>
                  </a:lnTo>
                  <a:cubicBezTo>
                    <a:pt x="49439" y="29072"/>
                    <a:pt x="49305" y="29038"/>
                    <a:pt x="49204" y="28971"/>
                  </a:cubicBezTo>
                  <a:lnTo>
                    <a:pt x="673" y="942"/>
                  </a:lnTo>
                  <a:cubicBezTo>
                    <a:pt x="236" y="673"/>
                    <a:pt x="1" y="337"/>
                    <a:pt x="1" y="1"/>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66" name="Google Shape;2661;p49"/>
            <p:cNvSpPr/>
            <p:nvPr/>
          </p:nvSpPr>
          <p:spPr>
            <a:xfrm>
              <a:off x="-20956625" y="12853125"/>
              <a:ext cx="1561975" cy="896750"/>
            </a:xfrm>
            <a:custGeom>
              <a:avLst/>
              <a:gdLst/>
              <a:ahLst/>
              <a:cxnLst/>
              <a:rect l="l" t="t" r="r" b="b"/>
              <a:pathLst>
                <a:path w="62479" h="35870" extrusionOk="0">
                  <a:moveTo>
                    <a:pt x="11477" y="0"/>
                  </a:moveTo>
                  <a:cubicBezTo>
                    <a:pt x="10898" y="0"/>
                    <a:pt x="10318" y="135"/>
                    <a:pt x="9881" y="404"/>
                  </a:cubicBezTo>
                  <a:lnTo>
                    <a:pt x="874" y="5613"/>
                  </a:lnTo>
                  <a:cubicBezTo>
                    <a:pt x="0" y="6117"/>
                    <a:pt x="0" y="6957"/>
                    <a:pt x="874" y="7462"/>
                  </a:cubicBezTo>
                  <a:lnTo>
                    <a:pt x="49405" y="35491"/>
                  </a:lnTo>
                  <a:cubicBezTo>
                    <a:pt x="49859" y="35743"/>
                    <a:pt x="50438" y="35869"/>
                    <a:pt x="51018" y="35869"/>
                  </a:cubicBezTo>
                  <a:cubicBezTo>
                    <a:pt x="51598" y="35869"/>
                    <a:pt x="52178" y="35743"/>
                    <a:pt x="52631" y="35491"/>
                  </a:cubicBezTo>
                  <a:lnTo>
                    <a:pt x="61605" y="30282"/>
                  </a:lnTo>
                  <a:cubicBezTo>
                    <a:pt x="62479" y="29744"/>
                    <a:pt x="62479" y="28904"/>
                    <a:pt x="61605" y="28400"/>
                  </a:cubicBezTo>
                  <a:lnTo>
                    <a:pt x="13074" y="404"/>
                  </a:lnTo>
                  <a:cubicBezTo>
                    <a:pt x="12637" y="135"/>
                    <a:pt x="12057" y="0"/>
                    <a:pt x="11477"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67" name="Google Shape;2662;p49"/>
            <p:cNvSpPr/>
            <p:nvPr/>
          </p:nvSpPr>
          <p:spPr>
            <a:xfrm>
              <a:off x="-21864075" y="13109400"/>
              <a:ext cx="1962775" cy="1135975"/>
            </a:xfrm>
            <a:custGeom>
              <a:avLst/>
              <a:gdLst/>
              <a:ahLst/>
              <a:cxnLst/>
              <a:rect l="l" t="t" r="r" b="b"/>
              <a:pathLst>
                <a:path w="78511" h="45439" extrusionOk="0">
                  <a:moveTo>
                    <a:pt x="75923" y="29072"/>
                  </a:moveTo>
                  <a:cubicBezTo>
                    <a:pt x="78511" y="30550"/>
                    <a:pt x="78511" y="32970"/>
                    <a:pt x="75956" y="34449"/>
                  </a:cubicBezTo>
                  <a:lnTo>
                    <a:pt x="59656" y="43927"/>
                  </a:lnTo>
                  <a:cubicBezTo>
                    <a:pt x="57102" y="45439"/>
                    <a:pt x="52934" y="45439"/>
                    <a:pt x="50347" y="43927"/>
                  </a:cubicBezTo>
                  <a:lnTo>
                    <a:pt x="2589" y="16334"/>
                  </a:lnTo>
                  <a:cubicBezTo>
                    <a:pt x="1" y="14855"/>
                    <a:pt x="1" y="12435"/>
                    <a:pt x="2555" y="10957"/>
                  </a:cubicBezTo>
                  <a:lnTo>
                    <a:pt x="18855" y="1479"/>
                  </a:lnTo>
                  <a:cubicBezTo>
                    <a:pt x="21410" y="0"/>
                    <a:pt x="25577" y="0"/>
                    <a:pt x="28165" y="1479"/>
                  </a:cubicBezTo>
                  <a:close/>
                </a:path>
              </a:pathLst>
            </a:custGeom>
            <a:solidFill>
              <a:srgbClr val="C356AE"/>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68" name="Google Shape;2663;p49"/>
            <p:cNvSpPr/>
            <p:nvPr/>
          </p:nvSpPr>
          <p:spPr>
            <a:xfrm>
              <a:off x="-20564250" y="11788575"/>
              <a:ext cx="241150" cy="200825"/>
            </a:xfrm>
            <a:custGeom>
              <a:avLst/>
              <a:gdLst/>
              <a:ahLst/>
              <a:cxnLst/>
              <a:rect l="l" t="t" r="r" b="b"/>
              <a:pathLst>
                <a:path w="9646" h="8033" extrusionOk="0">
                  <a:moveTo>
                    <a:pt x="9646" y="0"/>
                  </a:moveTo>
                  <a:cubicBezTo>
                    <a:pt x="9646" y="67"/>
                    <a:pt x="9646" y="168"/>
                    <a:pt x="9612" y="236"/>
                  </a:cubicBezTo>
                  <a:cubicBezTo>
                    <a:pt x="9612" y="236"/>
                    <a:pt x="9612" y="236"/>
                    <a:pt x="9612" y="269"/>
                  </a:cubicBezTo>
                  <a:cubicBezTo>
                    <a:pt x="9579" y="336"/>
                    <a:pt x="9545" y="404"/>
                    <a:pt x="9478" y="471"/>
                  </a:cubicBezTo>
                  <a:lnTo>
                    <a:pt x="9478" y="504"/>
                  </a:lnTo>
                  <a:cubicBezTo>
                    <a:pt x="9411" y="572"/>
                    <a:pt x="9344" y="639"/>
                    <a:pt x="9276" y="706"/>
                  </a:cubicBezTo>
                  <a:cubicBezTo>
                    <a:pt x="9243" y="740"/>
                    <a:pt x="9175" y="773"/>
                    <a:pt x="9142" y="840"/>
                  </a:cubicBezTo>
                  <a:cubicBezTo>
                    <a:pt x="9075" y="874"/>
                    <a:pt x="9041" y="908"/>
                    <a:pt x="8974" y="941"/>
                  </a:cubicBezTo>
                  <a:lnTo>
                    <a:pt x="0" y="6151"/>
                  </a:lnTo>
                  <a:lnTo>
                    <a:pt x="0" y="8033"/>
                  </a:lnTo>
                  <a:lnTo>
                    <a:pt x="8974" y="2823"/>
                  </a:lnTo>
                  <a:cubicBezTo>
                    <a:pt x="9007" y="2823"/>
                    <a:pt x="9007" y="2790"/>
                    <a:pt x="9007" y="2790"/>
                  </a:cubicBezTo>
                  <a:cubicBezTo>
                    <a:pt x="9041" y="2790"/>
                    <a:pt x="9075" y="2756"/>
                    <a:pt x="9142" y="2723"/>
                  </a:cubicBezTo>
                  <a:cubicBezTo>
                    <a:pt x="9175" y="2689"/>
                    <a:pt x="9243" y="2655"/>
                    <a:pt x="9276" y="2588"/>
                  </a:cubicBezTo>
                  <a:lnTo>
                    <a:pt x="9310" y="2588"/>
                  </a:lnTo>
                  <a:cubicBezTo>
                    <a:pt x="9344" y="2555"/>
                    <a:pt x="9411" y="2487"/>
                    <a:pt x="9444" y="2454"/>
                  </a:cubicBezTo>
                  <a:cubicBezTo>
                    <a:pt x="9444" y="2420"/>
                    <a:pt x="9478" y="2420"/>
                    <a:pt x="9478" y="2420"/>
                  </a:cubicBezTo>
                  <a:lnTo>
                    <a:pt x="9512" y="2353"/>
                  </a:lnTo>
                  <a:cubicBezTo>
                    <a:pt x="9512" y="2353"/>
                    <a:pt x="9512" y="2319"/>
                    <a:pt x="9545" y="2319"/>
                  </a:cubicBezTo>
                  <a:cubicBezTo>
                    <a:pt x="9579" y="2252"/>
                    <a:pt x="9579" y="2218"/>
                    <a:pt x="9612" y="2185"/>
                  </a:cubicBezTo>
                  <a:cubicBezTo>
                    <a:pt x="9612" y="2151"/>
                    <a:pt x="9612" y="2151"/>
                    <a:pt x="9612" y="2151"/>
                  </a:cubicBezTo>
                  <a:cubicBezTo>
                    <a:pt x="9612" y="2151"/>
                    <a:pt x="9612" y="2151"/>
                    <a:pt x="9612" y="2118"/>
                  </a:cubicBezTo>
                  <a:cubicBezTo>
                    <a:pt x="9612" y="2084"/>
                    <a:pt x="9612" y="2084"/>
                    <a:pt x="9646" y="2050"/>
                  </a:cubicBezTo>
                  <a:cubicBezTo>
                    <a:pt x="9646" y="2017"/>
                    <a:pt x="9646" y="1950"/>
                    <a:pt x="9646" y="1916"/>
                  </a:cubicBezTo>
                  <a:lnTo>
                    <a:pt x="9646" y="1882"/>
                  </a:lnTo>
                  <a:lnTo>
                    <a:pt x="9646" y="0"/>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69" name="Google Shape;2664;p49"/>
            <p:cNvSpPr/>
            <p:nvPr/>
          </p:nvSpPr>
          <p:spPr>
            <a:xfrm>
              <a:off x="-20887725" y="11787725"/>
              <a:ext cx="323500" cy="210925"/>
            </a:xfrm>
            <a:custGeom>
              <a:avLst/>
              <a:gdLst/>
              <a:ahLst/>
              <a:cxnLst/>
              <a:rect l="l" t="t" r="r" b="b"/>
              <a:pathLst>
                <a:path w="12940" h="8437" extrusionOk="0">
                  <a:moveTo>
                    <a:pt x="0" y="1"/>
                  </a:moveTo>
                  <a:lnTo>
                    <a:pt x="0" y="1916"/>
                  </a:lnTo>
                  <a:cubicBezTo>
                    <a:pt x="0" y="2252"/>
                    <a:pt x="235" y="2589"/>
                    <a:pt x="672" y="2824"/>
                  </a:cubicBezTo>
                  <a:lnTo>
                    <a:pt x="9747" y="8067"/>
                  </a:lnTo>
                  <a:cubicBezTo>
                    <a:pt x="9847" y="8134"/>
                    <a:pt x="9948" y="8168"/>
                    <a:pt x="10049" y="8235"/>
                  </a:cubicBezTo>
                  <a:lnTo>
                    <a:pt x="10116" y="8235"/>
                  </a:lnTo>
                  <a:cubicBezTo>
                    <a:pt x="10183" y="8268"/>
                    <a:pt x="10251" y="8302"/>
                    <a:pt x="10351" y="8302"/>
                  </a:cubicBezTo>
                  <a:cubicBezTo>
                    <a:pt x="10385" y="8336"/>
                    <a:pt x="10419" y="8336"/>
                    <a:pt x="10452" y="8336"/>
                  </a:cubicBezTo>
                  <a:cubicBezTo>
                    <a:pt x="10486" y="8336"/>
                    <a:pt x="10486" y="8336"/>
                    <a:pt x="10520" y="8369"/>
                  </a:cubicBezTo>
                  <a:lnTo>
                    <a:pt x="10587" y="8369"/>
                  </a:lnTo>
                  <a:cubicBezTo>
                    <a:pt x="10654" y="8369"/>
                    <a:pt x="10721" y="8403"/>
                    <a:pt x="10788" y="8403"/>
                  </a:cubicBezTo>
                  <a:lnTo>
                    <a:pt x="10923" y="8403"/>
                  </a:lnTo>
                  <a:cubicBezTo>
                    <a:pt x="10956" y="8436"/>
                    <a:pt x="10990" y="8436"/>
                    <a:pt x="11024" y="8436"/>
                  </a:cubicBezTo>
                  <a:lnTo>
                    <a:pt x="11729" y="8436"/>
                  </a:lnTo>
                  <a:cubicBezTo>
                    <a:pt x="11729" y="8436"/>
                    <a:pt x="11729" y="8403"/>
                    <a:pt x="11763" y="8403"/>
                  </a:cubicBezTo>
                  <a:lnTo>
                    <a:pt x="11797" y="8403"/>
                  </a:lnTo>
                  <a:cubicBezTo>
                    <a:pt x="11864" y="8403"/>
                    <a:pt x="11965" y="8403"/>
                    <a:pt x="11998" y="8369"/>
                  </a:cubicBezTo>
                  <a:lnTo>
                    <a:pt x="12099" y="8369"/>
                  </a:lnTo>
                  <a:cubicBezTo>
                    <a:pt x="12166" y="8336"/>
                    <a:pt x="12234" y="8336"/>
                    <a:pt x="12301" y="8302"/>
                  </a:cubicBezTo>
                  <a:cubicBezTo>
                    <a:pt x="12368" y="8302"/>
                    <a:pt x="12402" y="8302"/>
                    <a:pt x="12435" y="8268"/>
                  </a:cubicBezTo>
                  <a:lnTo>
                    <a:pt x="12502" y="8268"/>
                  </a:lnTo>
                  <a:cubicBezTo>
                    <a:pt x="12637" y="8201"/>
                    <a:pt x="12805" y="8134"/>
                    <a:pt x="12939" y="8067"/>
                  </a:cubicBezTo>
                  <a:lnTo>
                    <a:pt x="12939" y="6185"/>
                  </a:lnTo>
                  <a:cubicBezTo>
                    <a:pt x="12805" y="6252"/>
                    <a:pt x="12637" y="6319"/>
                    <a:pt x="12502" y="6386"/>
                  </a:cubicBezTo>
                  <a:cubicBezTo>
                    <a:pt x="12435" y="6386"/>
                    <a:pt x="12368" y="6420"/>
                    <a:pt x="12334" y="6420"/>
                  </a:cubicBezTo>
                  <a:cubicBezTo>
                    <a:pt x="12267" y="6454"/>
                    <a:pt x="12166" y="6454"/>
                    <a:pt x="12099" y="6487"/>
                  </a:cubicBezTo>
                  <a:cubicBezTo>
                    <a:pt x="11998" y="6487"/>
                    <a:pt x="11931" y="6521"/>
                    <a:pt x="11830" y="6521"/>
                  </a:cubicBezTo>
                  <a:lnTo>
                    <a:pt x="11763" y="6521"/>
                  </a:lnTo>
                  <a:cubicBezTo>
                    <a:pt x="11629" y="6554"/>
                    <a:pt x="11494" y="6554"/>
                    <a:pt x="11393" y="6554"/>
                  </a:cubicBezTo>
                  <a:lnTo>
                    <a:pt x="11326" y="6554"/>
                  </a:lnTo>
                  <a:cubicBezTo>
                    <a:pt x="11192" y="6554"/>
                    <a:pt x="11057" y="6554"/>
                    <a:pt x="10956" y="6521"/>
                  </a:cubicBezTo>
                  <a:lnTo>
                    <a:pt x="10889" y="6521"/>
                  </a:lnTo>
                  <a:cubicBezTo>
                    <a:pt x="10755" y="6521"/>
                    <a:pt x="10654" y="6487"/>
                    <a:pt x="10520" y="6454"/>
                  </a:cubicBezTo>
                  <a:lnTo>
                    <a:pt x="10452" y="6454"/>
                  </a:lnTo>
                  <a:cubicBezTo>
                    <a:pt x="10351" y="6420"/>
                    <a:pt x="10251" y="6386"/>
                    <a:pt x="10150" y="6353"/>
                  </a:cubicBezTo>
                  <a:cubicBezTo>
                    <a:pt x="10116" y="6353"/>
                    <a:pt x="10116" y="6353"/>
                    <a:pt x="10083" y="6319"/>
                  </a:cubicBezTo>
                  <a:cubicBezTo>
                    <a:pt x="9948" y="6285"/>
                    <a:pt x="9847" y="6218"/>
                    <a:pt x="9747" y="6185"/>
                  </a:cubicBezTo>
                  <a:lnTo>
                    <a:pt x="672" y="942"/>
                  </a:lnTo>
                  <a:cubicBezTo>
                    <a:pt x="336" y="740"/>
                    <a:pt x="134" y="505"/>
                    <a:pt x="67" y="270"/>
                  </a:cubicBezTo>
                  <a:cubicBezTo>
                    <a:pt x="34" y="169"/>
                    <a:pt x="0" y="101"/>
                    <a:pt x="0" y="1"/>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70" name="Google Shape;2665;p49"/>
            <p:cNvSpPr/>
            <p:nvPr/>
          </p:nvSpPr>
          <p:spPr>
            <a:xfrm>
              <a:off x="-20892775" y="11624725"/>
              <a:ext cx="575575" cy="327075"/>
            </a:xfrm>
            <a:custGeom>
              <a:avLst/>
              <a:gdLst/>
              <a:ahLst/>
              <a:cxnLst/>
              <a:rect l="l" t="t" r="r" b="b"/>
              <a:pathLst>
                <a:path w="23023" h="13083" extrusionOk="0">
                  <a:moveTo>
                    <a:pt x="11461" y="1"/>
                  </a:moveTo>
                  <a:cubicBezTo>
                    <a:pt x="10881" y="1"/>
                    <a:pt x="10301" y="135"/>
                    <a:pt x="9848" y="404"/>
                  </a:cubicBezTo>
                  <a:lnTo>
                    <a:pt x="874" y="5613"/>
                  </a:lnTo>
                  <a:cubicBezTo>
                    <a:pt x="0" y="6117"/>
                    <a:pt x="0" y="6958"/>
                    <a:pt x="874" y="7462"/>
                  </a:cubicBezTo>
                  <a:lnTo>
                    <a:pt x="9915" y="12705"/>
                  </a:lnTo>
                  <a:cubicBezTo>
                    <a:pt x="10369" y="12957"/>
                    <a:pt x="10957" y="13083"/>
                    <a:pt x="11541" y="13083"/>
                  </a:cubicBezTo>
                  <a:cubicBezTo>
                    <a:pt x="12125" y="13083"/>
                    <a:pt x="12704" y="12957"/>
                    <a:pt x="13141" y="12705"/>
                  </a:cubicBezTo>
                  <a:lnTo>
                    <a:pt x="22115" y="7495"/>
                  </a:lnTo>
                  <a:cubicBezTo>
                    <a:pt x="23022" y="6958"/>
                    <a:pt x="23022" y="6117"/>
                    <a:pt x="22115" y="5613"/>
                  </a:cubicBezTo>
                  <a:lnTo>
                    <a:pt x="13074" y="404"/>
                  </a:lnTo>
                  <a:cubicBezTo>
                    <a:pt x="12620" y="135"/>
                    <a:pt x="12041" y="1"/>
                    <a:pt x="11461"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71" name="Google Shape;2666;p49"/>
            <p:cNvSpPr/>
            <p:nvPr/>
          </p:nvSpPr>
          <p:spPr>
            <a:xfrm>
              <a:off x="-20234900" y="11990225"/>
              <a:ext cx="242025" cy="200825"/>
            </a:xfrm>
            <a:custGeom>
              <a:avLst/>
              <a:gdLst/>
              <a:ahLst/>
              <a:cxnLst/>
              <a:rect l="l" t="t" r="r" b="b"/>
              <a:pathLst>
                <a:path w="9681" h="8033" extrusionOk="0">
                  <a:moveTo>
                    <a:pt x="9680" y="0"/>
                  </a:moveTo>
                  <a:cubicBezTo>
                    <a:pt x="9647" y="68"/>
                    <a:pt x="9647" y="168"/>
                    <a:pt x="9613" y="236"/>
                  </a:cubicBezTo>
                  <a:cubicBezTo>
                    <a:pt x="9613" y="236"/>
                    <a:pt x="9613" y="269"/>
                    <a:pt x="9613" y="269"/>
                  </a:cubicBezTo>
                  <a:cubicBezTo>
                    <a:pt x="9579" y="336"/>
                    <a:pt x="9546" y="404"/>
                    <a:pt x="9512" y="471"/>
                  </a:cubicBezTo>
                  <a:lnTo>
                    <a:pt x="9479" y="504"/>
                  </a:lnTo>
                  <a:cubicBezTo>
                    <a:pt x="9445" y="572"/>
                    <a:pt x="9378" y="639"/>
                    <a:pt x="9311" y="706"/>
                  </a:cubicBezTo>
                  <a:cubicBezTo>
                    <a:pt x="9243" y="740"/>
                    <a:pt x="9176" y="773"/>
                    <a:pt x="9142" y="807"/>
                  </a:cubicBezTo>
                  <a:cubicBezTo>
                    <a:pt x="9075" y="841"/>
                    <a:pt x="9042" y="908"/>
                    <a:pt x="9008" y="908"/>
                  </a:cubicBezTo>
                  <a:lnTo>
                    <a:pt x="1" y="6151"/>
                  </a:lnTo>
                  <a:lnTo>
                    <a:pt x="1" y="8033"/>
                  </a:lnTo>
                  <a:lnTo>
                    <a:pt x="9008" y="2823"/>
                  </a:lnTo>
                  <a:cubicBezTo>
                    <a:pt x="9008" y="2823"/>
                    <a:pt x="9008" y="2790"/>
                    <a:pt x="9008" y="2790"/>
                  </a:cubicBezTo>
                  <a:cubicBezTo>
                    <a:pt x="9075" y="2790"/>
                    <a:pt x="9109" y="2756"/>
                    <a:pt x="9142" y="2723"/>
                  </a:cubicBezTo>
                  <a:cubicBezTo>
                    <a:pt x="9176" y="2689"/>
                    <a:pt x="9243" y="2622"/>
                    <a:pt x="9311" y="2588"/>
                  </a:cubicBezTo>
                  <a:cubicBezTo>
                    <a:pt x="9378" y="2521"/>
                    <a:pt x="9411" y="2487"/>
                    <a:pt x="9445" y="2420"/>
                  </a:cubicBezTo>
                  <a:cubicBezTo>
                    <a:pt x="9479" y="2420"/>
                    <a:pt x="9479" y="2420"/>
                    <a:pt x="9479" y="2387"/>
                  </a:cubicBezTo>
                  <a:lnTo>
                    <a:pt x="9512" y="2353"/>
                  </a:lnTo>
                  <a:cubicBezTo>
                    <a:pt x="9512" y="2353"/>
                    <a:pt x="9546" y="2319"/>
                    <a:pt x="9546" y="2286"/>
                  </a:cubicBezTo>
                  <a:cubicBezTo>
                    <a:pt x="9579" y="2252"/>
                    <a:pt x="9579" y="2219"/>
                    <a:pt x="9613" y="2185"/>
                  </a:cubicBezTo>
                  <a:cubicBezTo>
                    <a:pt x="9613" y="2151"/>
                    <a:pt x="9613" y="2151"/>
                    <a:pt x="9613" y="2151"/>
                  </a:cubicBezTo>
                  <a:cubicBezTo>
                    <a:pt x="9613" y="2151"/>
                    <a:pt x="9613" y="2118"/>
                    <a:pt x="9613" y="2118"/>
                  </a:cubicBezTo>
                  <a:cubicBezTo>
                    <a:pt x="9613" y="2084"/>
                    <a:pt x="9647" y="2084"/>
                    <a:pt x="9647" y="2050"/>
                  </a:cubicBezTo>
                  <a:cubicBezTo>
                    <a:pt x="9647" y="1983"/>
                    <a:pt x="9647" y="1950"/>
                    <a:pt x="9647" y="1916"/>
                  </a:cubicBezTo>
                  <a:lnTo>
                    <a:pt x="9647" y="1882"/>
                  </a:lnTo>
                  <a:lnTo>
                    <a:pt x="9680" y="0"/>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72" name="Google Shape;2667;p49"/>
            <p:cNvSpPr/>
            <p:nvPr/>
          </p:nvSpPr>
          <p:spPr>
            <a:xfrm>
              <a:off x="-20558375" y="11989375"/>
              <a:ext cx="323500" cy="210925"/>
            </a:xfrm>
            <a:custGeom>
              <a:avLst/>
              <a:gdLst/>
              <a:ahLst/>
              <a:cxnLst/>
              <a:rect l="l" t="t" r="r" b="b"/>
              <a:pathLst>
                <a:path w="12940" h="8437" extrusionOk="0">
                  <a:moveTo>
                    <a:pt x="34" y="1"/>
                  </a:moveTo>
                  <a:lnTo>
                    <a:pt x="1" y="1916"/>
                  </a:lnTo>
                  <a:cubicBezTo>
                    <a:pt x="1" y="2253"/>
                    <a:pt x="236" y="2589"/>
                    <a:pt x="673" y="2824"/>
                  </a:cubicBezTo>
                  <a:lnTo>
                    <a:pt x="9747" y="8067"/>
                  </a:lnTo>
                  <a:cubicBezTo>
                    <a:pt x="9848" y="8134"/>
                    <a:pt x="9949" y="8168"/>
                    <a:pt x="10050" y="8201"/>
                  </a:cubicBezTo>
                  <a:cubicBezTo>
                    <a:pt x="10083" y="8235"/>
                    <a:pt x="10083" y="8235"/>
                    <a:pt x="10083" y="8235"/>
                  </a:cubicBezTo>
                  <a:lnTo>
                    <a:pt x="10150" y="8235"/>
                  </a:lnTo>
                  <a:cubicBezTo>
                    <a:pt x="10218" y="8268"/>
                    <a:pt x="10285" y="8302"/>
                    <a:pt x="10352" y="8302"/>
                  </a:cubicBezTo>
                  <a:cubicBezTo>
                    <a:pt x="10386" y="8302"/>
                    <a:pt x="10419" y="8336"/>
                    <a:pt x="10453" y="8336"/>
                  </a:cubicBezTo>
                  <a:lnTo>
                    <a:pt x="10520" y="8336"/>
                  </a:lnTo>
                  <a:cubicBezTo>
                    <a:pt x="10554" y="8369"/>
                    <a:pt x="10554" y="8369"/>
                    <a:pt x="10587" y="8369"/>
                  </a:cubicBezTo>
                  <a:cubicBezTo>
                    <a:pt x="10655" y="8369"/>
                    <a:pt x="10722" y="8403"/>
                    <a:pt x="10823" y="8403"/>
                  </a:cubicBezTo>
                  <a:lnTo>
                    <a:pt x="10957" y="8403"/>
                  </a:lnTo>
                  <a:cubicBezTo>
                    <a:pt x="10957" y="8403"/>
                    <a:pt x="10991" y="8437"/>
                    <a:pt x="11024" y="8437"/>
                  </a:cubicBezTo>
                  <a:lnTo>
                    <a:pt x="11495" y="8437"/>
                  </a:lnTo>
                  <a:cubicBezTo>
                    <a:pt x="11562" y="8437"/>
                    <a:pt x="11663" y="8437"/>
                    <a:pt x="11730" y="8403"/>
                  </a:cubicBezTo>
                  <a:lnTo>
                    <a:pt x="11831" y="8403"/>
                  </a:lnTo>
                  <a:cubicBezTo>
                    <a:pt x="11898" y="8403"/>
                    <a:pt x="11965" y="8403"/>
                    <a:pt x="12032" y="8369"/>
                  </a:cubicBezTo>
                  <a:lnTo>
                    <a:pt x="12100" y="8369"/>
                  </a:lnTo>
                  <a:cubicBezTo>
                    <a:pt x="12167" y="8336"/>
                    <a:pt x="12234" y="8336"/>
                    <a:pt x="12335" y="8302"/>
                  </a:cubicBezTo>
                  <a:cubicBezTo>
                    <a:pt x="12369" y="8302"/>
                    <a:pt x="12402" y="8268"/>
                    <a:pt x="12436" y="8268"/>
                  </a:cubicBezTo>
                  <a:cubicBezTo>
                    <a:pt x="12469" y="8268"/>
                    <a:pt x="12469" y="8268"/>
                    <a:pt x="12503" y="8235"/>
                  </a:cubicBezTo>
                  <a:cubicBezTo>
                    <a:pt x="12637" y="8201"/>
                    <a:pt x="12805" y="8134"/>
                    <a:pt x="12940" y="8067"/>
                  </a:cubicBezTo>
                  <a:lnTo>
                    <a:pt x="12940" y="6151"/>
                  </a:lnTo>
                  <a:cubicBezTo>
                    <a:pt x="12805" y="6252"/>
                    <a:pt x="12671" y="6319"/>
                    <a:pt x="12503" y="6386"/>
                  </a:cubicBezTo>
                  <a:cubicBezTo>
                    <a:pt x="12436" y="6386"/>
                    <a:pt x="12402" y="6420"/>
                    <a:pt x="12335" y="6420"/>
                  </a:cubicBezTo>
                  <a:cubicBezTo>
                    <a:pt x="12268" y="6454"/>
                    <a:pt x="12201" y="6454"/>
                    <a:pt x="12100" y="6487"/>
                  </a:cubicBezTo>
                  <a:cubicBezTo>
                    <a:pt x="11999" y="6487"/>
                    <a:pt x="11932" y="6521"/>
                    <a:pt x="11831" y="6521"/>
                  </a:cubicBezTo>
                  <a:lnTo>
                    <a:pt x="11764" y="6521"/>
                  </a:lnTo>
                  <a:cubicBezTo>
                    <a:pt x="11629" y="6554"/>
                    <a:pt x="11528" y="6554"/>
                    <a:pt x="11394" y="6554"/>
                  </a:cubicBezTo>
                  <a:lnTo>
                    <a:pt x="11327" y="6554"/>
                  </a:lnTo>
                  <a:cubicBezTo>
                    <a:pt x="11192" y="6554"/>
                    <a:pt x="11058" y="6554"/>
                    <a:pt x="10957" y="6521"/>
                  </a:cubicBezTo>
                  <a:lnTo>
                    <a:pt x="10890" y="6521"/>
                  </a:lnTo>
                  <a:cubicBezTo>
                    <a:pt x="10755" y="6521"/>
                    <a:pt x="10655" y="6487"/>
                    <a:pt x="10520" y="6454"/>
                  </a:cubicBezTo>
                  <a:lnTo>
                    <a:pt x="10453" y="6454"/>
                  </a:lnTo>
                  <a:cubicBezTo>
                    <a:pt x="10352" y="6420"/>
                    <a:pt x="10251" y="6386"/>
                    <a:pt x="10150" y="6353"/>
                  </a:cubicBezTo>
                  <a:cubicBezTo>
                    <a:pt x="10117" y="6353"/>
                    <a:pt x="10117" y="6353"/>
                    <a:pt x="10083" y="6319"/>
                  </a:cubicBezTo>
                  <a:cubicBezTo>
                    <a:pt x="9982" y="6286"/>
                    <a:pt x="9848" y="6218"/>
                    <a:pt x="9747" y="6185"/>
                  </a:cubicBezTo>
                  <a:lnTo>
                    <a:pt x="706" y="942"/>
                  </a:lnTo>
                  <a:cubicBezTo>
                    <a:pt x="370" y="740"/>
                    <a:pt x="135" y="505"/>
                    <a:pt x="68" y="270"/>
                  </a:cubicBezTo>
                  <a:cubicBezTo>
                    <a:pt x="34" y="169"/>
                    <a:pt x="34" y="102"/>
                    <a:pt x="34" y="1"/>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73" name="Google Shape;2668;p49"/>
            <p:cNvSpPr/>
            <p:nvPr/>
          </p:nvSpPr>
          <p:spPr>
            <a:xfrm>
              <a:off x="-20563425" y="11827000"/>
              <a:ext cx="575575" cy="326450"/>
            </a:xfrm>
            <a:custGeom>
              <a:avLst/>
              <a:gdLst/>
              <a:ahLst/>
              <a:cxnLst/>
              <a:rect l="l" t="t" r="r" b="b"/>
              <a:pathLst>
                <a:path w="23023" h="13058" extrusionOk="0">
                  <a:moveTo>
                    <a:pt x="11474" y="1"/>
                  </a:moveTo>
                  <a:cubicBezTo>
                    <a:pt x="10890" y="1"/>
                    <a:pt x="10302" y="127"/>
                    <a:pt x="9848" y="379"/>
                  </a:cubicBezTo>
                  <a:lnTo>
                    <a:pt x="875" y="5588"/>
                  </a:lnTo>
                  <a:cubicBezTo>
                    <a:pt x="1" y="6092"/>
                    <a:pt x="1" y="6933"/>
                    <a:pt x="875" y="7437"/>
                  </a:cubicBezTo>
                  <a:lnTo>
                    <a:pt x="9949" y="12680"/>
                  </a:lnTo>
                  <a:cubicBezTo>
                    <a:pt x="10386" y="12932"/>
                    <a:pt x="10966" y="13058"/>
                    <a:pt x="11546" y="13058"/>
                  </a:cubicBezTo>
                  <a:cubicBezTo>
                    <a:pt x="12125" y="13058"/>
                    <a:pt x="12705" y="12932"/>
                    <a:pt x="13142" y="12680"/>
                  </a:cubicBezTo>
                  <a:lnTo>
                    <a:pt x="22149" y="7470"/>
                  </a:lnTo>
                  <a:cubicBezTo>
                    <a:pt x="23023" y="6933"/>
                    <a:pt x="23023" y="6092"/>
                    <a:pt x="22115" y="5588"/>
                  </a:cubicBezTo>
                  <a:lnTo>
                    <a:pt x="13075" y="379"/>
                  </a:lnTo>
                  <a:cubicBezTo>
                    <a:pt x="12638" y="127"/>
                    <a:pt x="12058" y="1"/>
                    <a:pt x="11474"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74" name="Google Shape;2669;p49"/>
            <p:cNvSpPr/>
            <p:nvPr/>
          </p:nvSpPr>
          <p:spPr>
            <a:xfrm>
              <a:off x="-19900475" y="12177600"/>
              <a:ext cx="241150" cy="200825"/>
            </a:xfrm>
            <a:custGeom>
              <a:avLst/>
              <a:gdLst/>
              <a:ahLst/>
              <a:cxnLst/>
              <a:rect l="l" t="t" r="r" b="b"/>
              <a:pathLst>
                <a:path w="9646" h="8033" extrusionOk="0">
                  <a:moveTo>
                    <a:pt x="9646" y="0"/>
                  </a:moveTo>
                  <a:cubicBezTo>
                    <a:pt x="9646" y="67"/>
                    <a:pt x="9646" y="135"/>
                    <a:pt x="9612" y="235"/>
                  </a:cubicBezTo>
                  <a:cubicBezTo>
                    <a:pt x="9579" y="336"/>
                    <a:pt x="9545" y="403"/>
                    <a:pt x="9511" y="471"/>
                  </a:cubicBezTo>
                  <a:lnTo>
                    <a:pt x="9478" y="504"/>
                  </a:lnTo>
                  <a:cubicBezTo>
                    <a:pt x="9444" y="571"/>
                    <a:pt x="9377" y="639"/>
                    <a:pt x="9310" y="706"/>
                  </a:cubicBezTo>
                  <a:cubicBezTo>
                    <a:pt x="9243" y="739"/>
                    <a:pt x="9175" y="773"/>
                    <a:pt x="9142" y="807"/>
                  </a:cubicBezTo>
                  <a:cubicBezTo>
                    <a:pt x="9074" y="840"/>
                    <a:pt x="9041" y="874"/>
                    <a:pt x="9007" y="908"/>
                  </a:cubicBezTo>
                  <a:lnTo>
                    <a:pt x="0" y="6117"/>
                  </a:lnTo>
                  <a:lnTo>
                    <a:pt x="0" y="8033"/>
                  </a:lnTo>
                  <a:lnTo>
                    <a:pt x="8974" y="2790"/>
                  </a:lnTo>
                  <a:lnTo>
                    <a:pt x="9007" y="2790"/>
                  </a:lnTo>
                  <a:cubicBezTo>
                    <a:pt x="9074" y="2756"/>
                    <a:pt x="9108" y="2722"/>
                    <a:pt x="9142" y="2689"/>
                  </a:cubicBezTo>
                  <a:cubicBezTo>
                    <a:pt x="9175" y="2655"/>
                    <a:pt x="9243" y="2622"/>
                    <a:pt x="9276" y="2588"/>
                  </a:cubicBezTo>
                  <a:cubicBezTo>
                    <a:pt x="9310" y="2588"/>
                    <a:pt x="9310" y="2588"/>
                    <a:pt x="9310" y="2554"/>
                  </a:cubicBezTo>
                  <a:cubicBezTo>
                    <a:pt x="9377" y="2521"/>
                    <a:pt x="9411" y="2454"/>
                    <a:pt x="9444" y="2420"/>
                  </a:cubicBezTo>
                  <a:cubicBezTo>
                    <a:pt x="9444" y="2420"/>
                    <a:pt x="9478" y="2386"/>
                    <a:pt x="9478" y="2386"/>
                  </a:cubicBezTo>
                  <a:lnTo>
                    <a:pt x="9511" y="2353"/>
                  </a:lnTo>
                  <a:cubicBezTo>
                    <a:pt x="9511" y="2319"/>
                    <a:pt x="9545" y="2319"/>
                    <a:pt x="9545" y="2285"/>
                  </a:cubicBezTo>
                  <a:cubicBezTo>
                    <a:pt x="9579" y="2252"/>
                    <a:pt x="9579" y="2218"/>
                    <a:pt x="9612" y="2151"/>
                  </a:cubicBezTo>
                  <a:cubicBezTo>
                    <a:pt x="9612" y="2117"/>
                    <a:pt x="9612" y="2117"/>
                    <a:pt x="9612" y="2117"/>
                  </a:cubicBezTo>
                  <a:cubicBezTo>
                    <a:pt x="9612" y="2084"/>
                    <a:pt x="9646" y="2050"/>
                    <a:pt x="9646" y="2017"/>
                  </a:cubicBezTo>
                  <a:cubicBezTo>
                    <a:pt x="9646" y="1983"/>
                    <a:pt x="9646" y="1949"/>
                    <a:pt x="9646" y="1882"/>
                  </a:cubicBezTo>
                  <a:lnTo>
                    <a:pt x="9646" y="0"/>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75" name="Google Shape;2670;p49"/>
            <p:cNvSpPr/>
            <p:nvPr/>
          </p:nvSpPr>
          <p:spPr>
            <a:xfrm>
              <a:off x="-20223975" y="12176750"/>
              <a:ext cx="323525" cy="210925"/>
            </a:xfrm>
            <a:custGeom>
              <a:avLst/>
              <a:gdLst/>
              <a:ahLst/>
              <a:cxnLst/>
              <a:rect l="l" t="t" r="r" b="b"/>
              <a:pathLst>
                <a:path w="12941" h="8437" extrusionOk="0">
                  <a:moveTo>
                    <a:pt x="34" y="0"/>
                  </a:moveTo>
                  <a:lnTo>
                    <a:pt x="1" y="1883"/>
                  </a:lnTo>
                  <a:cubicBezTo>
                    <a:pt x="1" y="2219"/>
                    <a:pt x="236" y="2588"/>
                    <a:pt x="673" y="2824"/>
                  </a:cubicBezTo>
                  <a:lnTo>
                    <a:pt x="9747" y="8067"/>
                  </a:lnTo>
                  <a:cubicBezTo>
                    <a:pt x="9848" y="8100"/>
                    <a:pt x="9949" y="8167"/>
                    <a:pt x="10050" y="8201"/>
                  </a:cubicBezTo>
                  <a:lnTo>
                    <a:pt x="10083" y="8201"/>
                  </a:lnTo>
                  <a:cubicBezTo>
                    <a:pt x="10083" y="8235"/>
                    <a:pt x="10117" y="8235"/>
                    <a:pt x="10151" y="8235"/>
                  </a:cubicBezTo>
                  <a:cubicBezTo>
                    <a:pt x="10218" y="8268"/>
                    <a:pt x="10285" y="8268"/>
                    <a:pt x="10352" y="8302"/>
                  </a:cubicBezTo>
                  <a:cubicBezTo>
                    <a:pt x="10386" y="8302"/>
                    <a:pt x="10420" y="8302"/>
                    <a:pt x="10453" y="8335"/>
                  </a:cubicBezTo>
                  <a:lnTo>
                    <a:pt x="10520" y="8335"/>
                  </a:lnTo>
                  <a:cubicBezTo>
                    <a:pt x="10554" y="8335"/>
                    <a:pt x="10554" y="8369"/>
                    <a:pt x="10588" y="8369"/>
                  </a:cubicBezTo>
                  <a:cubicBezTo>
                    <a:pt x="10655" y="8369"/>
                    <a:pt x="10722" y="8403"/>
                    <a:pt x="10823" y="8403"/>
                  </a:cubicBezTo>
                  <a:lnTo>
                    <a:pt x="11024" y="8403"/>
                  </a:lnTo>
                  <a:cubicBezTo>
                    <a:pt x="11092" y="8436"/>
                    <a:pt x="11159" y="8436"/>
                    <a:pt x="11260" y="8436"/>
                  </a:cubicBezTo>
                  <a:lnTo>
                    <a:pt x="11495" y="8436"/>
                  </a:lnTo>
                  <a:cubicBezTo>
                    <a:pt x="11562" y="8436"/>
                    <a:pt x="11663" y="8436"/>
                    <a:pt x="11730" y="8403"/>
                  </a:cubicBezTo>
                  <a:lnTo>
                    <a:pt x="11831" y="8403"/>
                  </a:lnTo>
                  <a:cubicBezTo>
                    <a:pt x="11898" y="8403"/>
                    <a:pt x="11966" y="8369"/>
                    <a:pt x="12033" y="8369"/>
                  </a:cubicBezTo>
                  <a:cubicBezTo>
                    <a:pt x="12033" y="8369"/>
                    <a:pt x="12066" y="8369"/>
                    <a:pt x="12100" y="8335"/>
                  </a:cubicBezTo>
                  <a:cubicBezTo>
                    <a:pt x="12167" y="8335"/>
                    <a:pt x="12234" y="8302"/>
                    <a:pt x="12335" y="8302"/>
                  </a:cubicBezTo>
                  <a:cubicBezTo>
                    <a:pt x="12369" y="8268"/>
                    <a:pt x="12402" y="8268"/>
                    <a:pt x="12436" y="8268"/>
                  </a:cubicBezTo>
                  <a:cubicBezTo>
                    <a:pt x="12470" y="8268"/>
                    <a:pt x="12470" y="8235"/>
                    <a:pt x="12503" y="8235"/>
                  </a:cubicBezTo>
                  <a:cubicBezTo>
                    <a:pt x="12638" y="8201"/>
                    <a:pt x="12806" y="8134"/>
                    <a:pt x="12940" y="8067"/>
                  </a:cubicBezTo>
                  <a:lnTo>
                    <a:pt x="12940" y="6151"/>
                  </a:lnTo>
                  <a:cubicBezTo>
                    <a:pt x="12806" y="6252"/>
                    <a:pt x="12671" y="6319"/>
                    <a:pt x="12503" y="6353"/>
                  </a:cubicBezTo>
                  <a:cubicBezTo>
                    <a:pt x="12436" y="6386"/>
                    <a:pt x="12402" y="6386"/>
                    <a:pt x="12335" y="6420"/>
                  </a:cubicBezTo>
                  <a:cubicBezTo>
                    <a:pt x="12268" y="6420"/>
                    <a:pt x="12201" y="6453"/>
                    <a:pt x="12100" y="6453"/>
                  </a:cubicBezTo>
                  <a:cubicBezTo>
                    <a:pt x="11999" y="6487"/>
                    <a:pt x="11932" y="6487"/>
                    <a:pt x="11831" y="6521"/>
                  </a:cubicBezTo>
                  <a:lnTo>
                    <a:pt x="11764" y="6521"/>
                  </a:lnTo>
                  <a:cubicBezTo>
                    <a:pt x="11629" y="6521"/>
                    <a:pt x="11495" y="6554"/>
                    <a:pt x="11394" y="6554"/>
                  </a:cubicBezTo>
                  <a:lnTo>
                    <a:pt x="11327" y="6554"/>
                  </a:lnTo>
                  <a:cubicBezTo>
                    <a:pt x="11193" y="6554"/>
                    <a:pt x="11058" y="6521"/>
                    <a:pt x="10957" y="6521"/>
                  </a:cubicBezTo>
                  <a:lnTo>
                    <a:pt x="10890" y="6521"/>
                  </a:lnTo>
                  <a:cubicBezTo>
                    <a:pt x="10756" y="6487"/>
                    <a:pt x="10655" y="6487"/>
                    <a:pt x="10520" y="6453"/>
                  </a:cubicBezTo>
                  <a:lnTo>
                    <a:pt x="10453" y="6453"/>
                  </a:lnTo>
                  <a:cubicBezTo>
                    <a:pt x="10352" y="6420"/>
                    <a:pt x="10251" y="6386"/>
                    <a:pt x="10151" y="6353"/>
                  </a:cubicBezTo>
                  <a:cubicBezTo>
                    <a:pt x="10117" y="6319"/>
                    <a:pt x="10117" y="6319"/>
                    <a:pt x="10083" y="6319"/>
                  </a:cubicBezTo>
                  <a:cubicBezTo>
                    <a:pt x="9983" y="6285"/>
                    <a:pt x="9848" y="6218"/>
                    <a:pt x="9747" y="6151"/>
                  </a:cubicBezTo>
                  <a:lnTo>
                    <a:pt x="707" y="942"/>
                  </a:lnTo>
                  <a:cubicBezTo>
                    <a:pt x="371" y="740"/>
                    <a:pt x="135" y="505"/>
                    <a:pt x="68" y="269"/>
                  </a:cubicBezTo>
                  <a:cubicBezTo>
                    <a:pt x="34" y="169"/>
                    <a:pt x="34" y="101"/>
                    <a:pt x="34" y="0"/>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76" name="Google Shape;2671;p49"/>
            <p:cNvSpPr/>
            <p:nvPr/>
          </p:nvSpPr>
          <p:spPr>
            <a:xfrm>
              <a:off x="-20229000" y="12013525"/>
              <a:ext cx="575575" cy="327300"/>
            </a:xfrm>
            <a:custGeom>
              <a:avLst/>
              <a:gdLst/>
              <a:ahLst/>
              <a:cxnLst/>
              <a:rect l="l" t="t" r="r" b="b"/>
              <a:pathLst>
                <a:path w="23023" h="13092" extrusionOk="0">
                  <a:moveTo>
                    <a:pt x="11478" y="1"/>
                  </a:moveTo>
                  <a:cubicBezTo>
                    <a:pt x="10898" y="1"/>
                    <a:pt x="10318" y="127"/>
                    <a:pt x="9881" y="379"/>
                  </a:cubicBezTo>
                  <a:lnTo>
                    <a:pt x="874" y="5622"/>
                  </a:lnTo>
                  <a:cubicBezTo>
                    <a:pt x="0" y="6126"/>
                    <a:pt x="0" y="6966"/>
                    <a:pt x="908" y="7471"/>
                  </a:cubicBezTo>
                  <a:lnTo>
                    <a:pt x="9948" y="12713"/>
                  </a:lnTo>
                  <a:cubicBezTo>
                    <a:pt x="10385" y="12966"/>
                    <a:pt x="10965" y="13092"/>
                    <a:pt x="11545" y="13092"/>
                  </a:cubicBezTo>
                  <a:cubicBezTo>
                    <a:pt x="12124" y="13092"/>
                    <a:pt x="12704" y="12966"/>
                    <a:pt x="13141" y="12713"/>
                  </a:cubicBezTo>
                  <a:lnTo>
                    <a:pt x="22148" y="7471"/>
                  </a:lnTo>
                  <a:cubicBezTo>
                    <a:pt x="23022" y="6966"/>
                    <a:pt x="23022" y="6126"/>
                    <a:pt x="22115" y="5622"/>
                  </a:cubicBezTo>
                  <a:lnTo>
                    <a:pt x="13074" y="379"/>
                  </a:lnTo>
                  <a:cubicBezTo>
                    <a:pt x="12637" y="127"/>
                    <a:pt x="12057" y="1"/>
                    <a:pt x="11478"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77" name="Google Shape;2672;p49"/>
            <p:cNvSpPr/>
            <p:nvPr/>
          </p:nvSpPr>
          <p:spPr>
            <a:xfrm>
              <a:off x="-19567750" y="12364125"/>
              <a:ext cx="242000" cy="200825"/>
            </a:xfrm>
            <a:custGeom>
              <a:avLst/>
              <a:gdLst/>
              <a:ahLst/>
              <a:cxnLst/>
              <a:rect l="l" t="t" r="r" b="b"/>
              <a:pathLst>
                <a:path w="9680" h="8033" extrusionOk="0">
                  <a:moveTo>
                    <a:pt x="9679" y="0"/>
                  </a:moveTo>
                  <a:cubicBezTo>
                    <a:pt x="9679" y="101"/>
                    <a:pt x="9646" y="168"/>
                    <a:pt x="9612" y="235"/>
                  </a:cubicBezTo>
                  <a:cubicBezTo>
                    <a:pt x="9612" y="269"/>
                    <a:pt x="9612" y="269"/>
                    <a:pt x="9612" y="269"/>
                  </a:cubicBezTo>
                  <a:cubicBezTo>
                    <a:pt x="9579" y="336"/>
                    <a:pt x="9545" y="404"/>
                    <a:pt x="9511" y="471"/>
                  </a:cubicBezTo>
                  <a:lnTo>
                    <a:pt x="9478" y="504"/>
                  </a:lnTo>
                  <a:cubicBezTo>
                    <a:pt x="9444" y="572"/>
                    <a:pt x="9377" y="639"/>
                    <a:pt x="9310" y="706"/>
                  </a:cubicBezTo>
                  <a:cubicBezTo>
                    <a:pt x="9243" y="740"/>
                    <a:pt x="9209" y="807"/>
                    <a:pt x="9142" y="840"/>
                  </a:cubicBezTo>
                  <a:cubicBezTo>
                    <a:pt x="9108" y="874"/>
                    <a:pt x="9074" y="908"/>
                    <a:pt x="9007" y="941"/>
                  </a:cubicBezTo>
                  <a:lnTo>
                    <a:pt x="0" y="6151"/>
                  </a:lnTo>
                  <a:lnTo>
                    <a:pt x="0" y="8033"/>
                  </a:lnTo>
                  <a:lnTo>
                    <a:pt x="9007" y="2823"/>
                  </a:lnTo>
                  <a:lnTo>
                    <a:pt x="9041" y="2823"/>
                  </a:lnTo>
                  <a:cubicBezTo>
                    <a:pt x="9074" y="2790"/>
                    <a:pt x="9108" y="2756"/>
                    <a:pt x="9142" y="2723"/>
                  </a:cubicBezTo>
                  <a:cubicBezTo>
                    <a:pt x="9209" y="2689"/>
                    <a:pt x="9243" y="2655"/>
                    <a:pt x="9310" y="2622"/>
                  </a:cubicBezTo>
                  <a:cubicBezTo>
                    <a:pt x="9310" y="2588"/>
                    <a:pt x="9310" y="2588"/>
                    <a:pt x="9310" y="2588"/>
                  </a:cubicBezTo>
                  <a:cubicBezTo>
                    <a:pt x="9377" y="2554"/>
                    <a:pt x="9411" y="2487"/>
                    <a:pt x="9478" y="2454"/>
                  </a:cubicBezTo>
                  <a:cubicBezTo>
                    <a:pt x="9478" y="2420"/>
                    <a:pt x="9478" y="2420"/>
                    <a:pt x="9478" y="2420"/>
                  </a:cubicBezTo>
                  <a:lnTo>
                    <a:pt x="9511" y="2386"/>
                  </a:lnTo>
                  <a:cubicBezTo>
                    <a:pt x="9511" y="2353"/>
                    <a:pt x="9545" y="2319"/>
                    <a:pt x="9545" y="2319"/>
                  </a:cubicBezTo>
                  <a:cubicBezTo>
                    <a:pt x="9579" y="2252"/>
                    <a:pt x="9612" y="2218"/>
                    <a:pt x="9612" y="2185"/>
                  </a:cubicBezTo>
                  <a:cubicBezTo>
                    <a:pt x="9612" y="2185"/>
                    <a:pt x="9612" y="2151"/>
                    <a:pt x="9612" y="2151"/>
                  </a:cubicBezTo>
                  <a:cubicBezTo>
                    <a:pt x="9612" y="2151"/>
                    <a:pt x="9612" y="2151"/>
                    <a:pt x="9612" y="2118"/>
                  </a:cubicBezTo>
                  <a:cubicBezTo>
                    <a:pt x="9646" y="2118"/>
                    <a:pt x="9646" y="2084"/>
                    <a:pt x="9646" y="2050"/>
                  </a:cubicBezTo>
                  <a:cubicBezTo>
                    <a:pt x="9646" y="2017"/>
                    <a:pt x="9679" y="1950"/>
                    <a:pt x="9679" y="1916"/>
                  </a:cubicBezTo>
                  <a:lnTo>
                    <a:pt x="9679" y="1882"/>
                  </a:lnTo>
                  <a:lnTo>
                    <a:pt x="9679" y="0"/>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78" name="Google Shape;2673;p49"/>
            <p:cNvSpPr/>
            <p:nvPr/>
          </p:nvSpPr>
          <p:spPr>
            <a:xfrm>
              <a:off x="-19890400" y="12364125"/>
              <a:ext cx="322675" cy="210075"/>
            </a:xfrm>
            <a:custGeom>
              <a:avLst/>
              <a:gdLst/>
              <a:ahLst/>
              <a:cxnLst/>
              <a:rect l="l" t="t" r="r" b="b"/>
              <a:pathLst>
                <a:path w="12907" h="8403" extrusionOk="0">
                  <a:moveTo>
                    <a:pt x="0" y="0"/>
                  </a:moveTo>
                  <a:lnTo>
                    <a:pt x="0" y="1882"/>
                  </a:lnTo>
                  <a:cubicBezTo>
                    <a:pt x="0" y="2218"/>
                    <a:pt x="202" y="2554"/>
                    <a:pt x="673" y="2823"/>
                  </a:cubicBezTo>
                  <a:lnTo>
                    <a:pt x="9713" y="8033"/>
                  </a:lnTo>
                  <a:cubicBezTo>
                    <a:pt x="9814" y="8100"/>
                    <a:pt x="9915" y="8167"/>
                    <a:pt x="10049" y="8201"/>
                  </a:cubicBezTo>
                  <a:cubicBezTo>
                    <a:pt x="10083" y="8201"/>
                    <a:pt x="10083" y="8201"/>
                    <a:pt x="10117" y="8234"/>
                  </a:cubicBezTo>
                  <a:cubicBezTo>
                    <a:pt x="10184" y="8234"/>
                    <a:pt x="10251" y="8268"/>
                    <a:pt x="10318" y="8302"/>
                  </a:cubicBezTo>
                  <a:lnTo>
                    <a:pt x="10419" y="8302"/>
                  </a:lnTo>
                  <a:cubicBezTo>
                    <a:pt x="10453" y="8335"/>
                    <a:pt x="10453" y="8335"/>
                    <a:pt x="10486" y="8335"/>
                  </a:cubicBezTo>
                  <a:lnTo>
                    <a:pt x="10554" y="8335"/>
                  </a:lnTo>
                  <a:cubicBezTo>
                    <a:pt x="10621" y="8369"/>
                    <a:pt x="10688" y="8369"/>
                    <a:pt x="10789" y="8369"/>
                  </a:cubicBezTo>
                  <a:cubicBezTo>
                    <a:pt x="10789" y="8402"/>
                    <a:pt x="10822" y="8402"/>
                    <a:pt x="10856" y="8402"/>
                  </a:cubicBezTo>
                  <a:lnTo>
                    <a:pt x="11797" y="8402"/>
                  </a:lnTo>
                  <a:cubicBezTo>
                    <a:pt x="11864" y="8369"/>
                    <a:pt x="11932" y="8369"/>
                    <a:pt x="11999" y="8369"/>
                  </a:cubicBezTo>
                  <a:cubicBezTo>
                    <a:pt x="12032" y="8369"/>
                    <a:pt x="12032" y="8335"/>
                    <a:pt x="12066" y="8335"/>
                  </a:cubicBezTo>
                  <a:cubicBezTo>
                    <a:pt x="12133" y="8335"/>
                    <a:pt x="12234" y="8302"/>
                    <a:pt x="12301" y="8268"/>
                  </a:cubicBezTo>
                  <a:lnTo>
                    <a:pt x="12402" y="8268"/>
                  </a:lnTo>
                  <a:cubicBezTo>
                    <a:pt x="12436" y="8234"/>
                    <a:pt x="12436" y="8234"/>
                    <a:pt x="12469" y="8234"/>
                  </a:cubicBezTo>
                  <a:cubicBezTo>
                    <a:pt x="12637" y="8167"/>
                    <a:pt x="12772" y="8100"/>
                    <a:pt x="12906" y="8033"/>
                  </a:cubicBezTo>
                  <a:lnTo>
                    <a:pt x="12906" y="6151"/>
                  </a:lnTo>
                  <a:cubicBezTo>
                    <a:pt x="12772" y="6251"/>
                    <a:pt x="12637" y="6285"/>
                    <a:pt x="12469" y="6352"/>
                  </a:cubicBezTo>
                  <a:cubicBezTo>
                    <a:pt x="12436" y="6386"/>
                    <a:pt x="12368" y="6386"/>
                    <a:pt x="12301" y="6419"/>
                  </a:cubicBezTo>
                  <a:cubicBezTo>
                    <a:pt x="12234" y="6419"/>
                    <a:pt x="12167" y="6453"/>
                    <a:pt x="12066" y="6453"/>
                  </a:cubicBezTo>
                  <a:cubicBezTo>
                    <a:pt x="11999" y="6487"/>
                    <a:pt x="11898" y="6487"/>
                    <a:pt x="11797" y="6520"/>
                  </a:cubicBezTo>
                  <a:lnTo>
                    <a:pt x="10856" y="6520"/>
                  </a:lnTo>
                  <a:cubicBezTo>
                    <a:pt x="10755" y="6487"/>
                    <a:pt x="10621" y="6487"/>
                    <a:pt x="10486" y="6453"/>
                  </a:cubicBezTo>
                  <a:cubicBezTo>
                    <a:pt x="10486" y="6453"/>
                    <a:pt x="10453" y="6419"/>
                    <a:pt x="10419" y="6419"/>
                  </a:cubicBezTo>
                  <a:cubicBezTo>
                    <a:pt x="10318" y="6419"/>
                    <a:pt x="10217" y="6352"/>
                    <a:pt x="10117" y="6319"/>
                  </a:cubicBezTo>
                  <a:lnTo>
                    <a:pt x="10049" y="6319"/>
                  </a:lnTo>
                  <a:cubicBezTo>
                    <a:pt x="9949" y="6285"/>
                    <a:pt x="9814" y="6218"/>
                    <a:pt x="9713" y="6151"/>
                  </a:cubicBezTo>
                  <a:lnTo>
                    <a:pt x="673" y="941"/>
                  </a:lnTo>
                  <a:cubicBezTo>
                    <a:pt x="337" y="740"/>
                    <a:pt x="101" y="504"/>
                    <a:pt x="34" y="235"/>
                  </a:cubicBezTo>
                  <a:cubicBezTo>
                    <a:pt x="0" y="168"/>
                    <a:pt x="0" y="67"/>
                    <a:pt x="0" y="0"/>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79" name="Google Shape;2674;p49"/>
            <p:cNvSpPr/>
            <p:nvPr/>
          </p:nvSpPr>
          <p:spPr>
            <a:xfrm>
              <a:off x="-19896275" y="12200900"/>
              <a:ext cx="575575" cy="327075"/>
            </a:xfrm>
            <a:custGeom>
              <a:avLst/>
              <a:gdLst/>
              <a:ahLst/>
              <a:cxnLst/>
              <a:rect l="l" t="t" r="r" b="b"/>
              <a:pathLst>
                <a:path w="23023" h="13083" extrusionOk="0">
                  <a:moveTo>
                    <a:pt x="11478" y="1"/>
                  </a:moveTo>
                  <a:cubicBezTo>
                    <a:pt x="10898" y="1"/>
                    <a:pt x="10318" y="127"/>
                    <a:pt x="9881" y="379"/>
                  </a:cubicBezTo>
                  <a:lnTo>
                    <a:pt x="874" y="5588"/>
                  </a:lnTo>
                  <a:cubicBezTo>
                    <a:pt x="0" y="6126"/>
                    <a:pt x="0" y="6966"/>
                    <a:pt x="908" y="7470"/>
                  </a:cubicBezTo>
                  <a:lnTo>
                    <a:pt x="9948" y="12680"/>
                  </a:lnTo>
                  <a:cubicBezTo>
                    <a:pt x="10402" y="12948"/>
                    <a:pt x="10982" y="13083"/>
                    <a:pt x="11557" y="13083"/>
                  </a:cubicBezTo>
                  <a:cubicBezTo>
                    <a:pt x="12133" y="13083"/>
                    <a:pt x="12704" y="12948"/>
                    <a:pt x="13141" y="12680"/>
                  </a:cubicBezTo>
                  <a:lnTo>
                    <a:pt x="22148" y="7470"/>
                  </a:lnTo>
                  <a:cubicBezTo>
                    <a:pt x="23022" y="6966"/>
                    <a:pt x="23022" y="6126"/>
                    <a:pt x="22148" y="5588"/>
                  </a:cubicBezTo>
                  <a:lnTo>
                    <a:pt x="13074" y="379"/>
                  </a:lnTo>
                  <a:cubicBezTo>
                    <a:pt x="12637" y="127"/>
                    <a:pt x="12057" y="1"/>
                    <a:pt x="11478"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80" name="Google Shape;2675;p49"/>
            <p:cNvSpPr/>
            <p:nvPr/>
          </p:nvSpPr>
          <p:spPr>
            <a:xfrm>
              <a:off x="-19239225" y="12567450"/>
              <a:ext cx="241150" cy="201675"/>
            </a:xfrm>
            <a:custGeom>
              <a:avLst/>
              <a:gdLst/>
              <a:ahLst/>
              <a:cxnLst/>
              <a:rect l="l" t="t" r="r" b="b"/>
              <a:pathLst>
                <a:path w="9646" h="8067" extrusionOk="0">
                  <a:moveTo>
                    <a:pt x="9646" y="1"/>
                  </a:moveTo>
                  <a:cubicBezTo>
                    <a:pt x="9646" y="101"/>
                    <a:pt x="9646" y="169"/>
                    <a:pt x="9612" y="236"/>
                  </a:cubicBezTo>
                  <a:cubicBezTo>
                    <a:pt x="9612" y="269"/>
                    <a:pt x="9612" y="269"/>
                    <a:pt x="9612" y="269"/>
                  </a:cubicBezTo>
                  <a:cubicBezTo>
                    <a:pt x="9579" y="337"/>
                    <a:pt x="9545" y="404"/>
                    <a:pt x="9511" y="471"/>
                  </a:cubicBezTo>
                  <a:lnTo>
                    <a:pt x="9478" y="505"/>
                  </a:lnTo>
                  <a:cubicBezTo>
                    <a:pt x="9444" y="572"/>
                    <a:pt x="9377" y="639"/>
                    <a:pt x="9310" y="706"/>
                  </a:cubicBezTo>
                  <a:cubicBezTo>
                    <a:pt x="9243" y="740"/>
                    <a:pt x="9175" y="807"/>
                    <a:pt x="9142" y="841"/>
                  </a:cubicBezTo>
                  <a:cubicBezTo>
                    <a:pt x="9074" y="874"/>
                    <a:pt x="9041" y="908"/>
                    <a:pt x="9007" y="942"/>
                  </a:cubicBezTo>
                  <a:lnTo>
                    <a:pt x="0" y="6151"/>
                  </a:lnTo>
                  <a:lnTo>
                    <a:pt x="0" y="8067"/>
                  </a:lnTo>
                  <a:lnTo>
                    <a:pt x="8974" y="2824"/>
                  </a:lnTo>
                  <a:lnTo>
                    <a:pt x="9007" y="2824"/>
                  </a:lnTo>
                  <a:cubicBezTo>
                    <a:pt x="9074" y="2790"/>
                    <a:pt x="9108" y="2756"/>
                    <a:pt x="9142" y="2723"/>
                  </a:cubicBezTo>
                  <a:cubicBezTo>
                    <a:pt x="9175" y="2689"/>
                    <a:pt x="9243" y="2656"/>
                    <a:pt x="9276" y="2622"/>
                  </a:cubicBezTo>
                  <a:cubicBezTo>
                    <a:pt x="9310" y="2588"/>
                    <a:pt x="9310" y="2588"/>
                    <a:pt x="9310" y="2588"/>
                  </a:cubicBezTo>
                  <a:cubicBezTo>
                    <a:pt x="9377" y="2555"/>
                    <a:pt x="9411" y="2488"/>
                    <a:pt x="9444" y="2454"/>
                  </a:cubicBezTo>
                  <a:cubicBezTo>
                    <a:pt x="9444" y="2420"/>
                    <a:pt x="9478" y="2420"/>
                    <a:pt x="9478" y="2420"/>
                  </a:cubicBezTo>
                  <a:lnTo>
                    <a:pt x="9511" y="2387"/>
                  </a:lnTo>
                  <a:cubicBezTo>
                    <a:pt x="9511" y="2353"/>
                    <a:pt x="9545" y="2320"/>
                    <a:pt x="9545" y="2320"/>
                  </a:cubicBezTo>
                  <a:cubicBezTo>
                    <a:pt x="9579" y="2286"/>
                    <a:pt x="9579" y="2219"/>
                    <a:pt x="9612" y="2185"/>
                  </a:cubicBezTo>
                  <a:cubicBezTo>
                    <a:pt x="9612" y="2185"/>
                    <a:pt x="9612" y="2185"/>
                    <a:pt x="9612" y="2151"/>
                  </a:cubicBezTo>
                  <a:cubicBezTo>
                    <a:pt x="9612" y="2118"/>
                    <a:pt x="9646" y="2084"/>
                    <a:pt x="9646" y="2051"/>
                  </a:cubicBezTo>
                  <a:cubicBezTo>
                    <a:pt x="9646" y="2017"/>
                    <a:pt x="9646" y="1950"/>
                    <a:pt x="9646" y="1916"/>
                  </a:cubicBezTo>
                  <a:lnTo>
                    <a:pt x="9646" y="1"/>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81" name="Google Shape;2676;p49"/>
            <p:cNvSpPr/>
            <p:nvPr/>
          </p:nvSpPr>
          <p:spPr>
            <a:xfrm>
              <a:off x="-19562725" y="12567450"/>
              <a:ext cx="323525" cy="210075"/>
            </a:xfrm>
            <a:custGeom>
              <a:avLst/>
              <a:gdLst/>
              <a:ahLst/>
              <a:cxnLst/>
              <a:rect l="l" t="t" r="r" b="b"/>
              <a:pathLst>
                <a:path w="12941" h="8403" extrusionOk="0">
                  <a:moveTo>
                    <a:pt x="34" y="1"/>
                  </a:moveTo>
                  <a:lnTo>
                    <a:pt x="1" y="1883"/>
                  </a:lnTo>
                  <a:cubicBezTo>
                    <a:pt x="1" y="2219"/>
                    <a:pt x="236" y="2555"/>
                    <a:pt x="673" y="2824"/>
                  </a:cubicBezTo>
                  <a:lnTo>
                    <a:pt x="9747" y="8033"/>
                  </a:lnTo>
                  <a:cubicBezTo>
                    <a:pt x="9848" y="8100"/>
                    <a:pt x="9949" y="8134"/>
                    <a:pt x="10050" y="8201"/>
                  </a:cubicBezTo>
                  <a:lnTo>
                    <a:pt x="10151" y="8201"/>
                  </a:lnTo>
                  <a:cubicBezTo>
                    <a:pt x="10218" y="8235"/>
                    <a:pt x="10285" y="8268"/>
                    <a:pt x="10352" y="8268"/>
                  </a:cubicBezTo>
                  <a:cubicBezTo>
                    <a:pt x="10386" y="8302"/>
                    <a:pt x="10419" y="8302"/>
                    <a:pt x="10453" y="8302"/>
                  </a:cubicBezTo>
                  <a:cubicBezTo>
                    <a:pt x="10487" y="8302"/>
                    <a:pt x="10487" y="8335"/>
                    <a:pt x="10520" y="8335"/>
                  </a:cubicBezTo>
                  <a:lnTo>
                    <a:pt x="10588" y="8335"/>
                  </a:lnTo>
                  <a:cubicBezTo>
                    <a:pt x="10655" y="8369"/>
                    <a:pt x="10722" y="8369"/>
                    <a:pt x="10823" y="8369"/>
                  </a:cubicBezTo>
                  <a:lnTo>
                    <a:pt x="10890" y="8369"/>
                  </a:lnTo>
                  <a:cubicBezTo>
                    <a:pt x="10890" y="8403"/>
                    <a:pt x="10924" y="8403"/>
                    <a:pt x="10957" y="8403"/>
                  </a:cubicBezTo>
                  <a:lnTo>
                    <a:pt x="11764" y="8403"/>
                  </a:lnTo>
                  <a:cubicBezTo>
                    <a:pt x="11764" y="8369"/>
                    <a:pt x="11797" y="8369"/>
                    <a:pt x="11831" y="8369"/>
                  </a:cubicBezTo>
                  <a:cubicBezTo>
                    <a:pt x="11898" y="8369"/>
                    <a:pt x="11965" y="8369"/>
                    <a:pt x="12033" y="8335"/>
                  </a:cubicBezTo>
                  <a:lnTo>
                    <a:pt x="12100" y="8335"/>
                  </a:lnTo>
                  <a:cubicBezTo>
                    <a:pt x="12167" y="8302"/>
                    <a:pt x="12234" y="8302"/>
                    <a:pt x="12335" y="8268"/>
                  </a:cubicBezTo>
                  <a:cubicBezTo>
                    <a:pt x="12369" y="8268"/>
                    <a:pt x="12402" y="8268"/>
                    <a:pt x="12436" y="8235"/>
                  </a:cubicBezTo>
                  <a:lnTo>
                    <a:pt x="12503" y="8235"/>
                  </a:lnTo>
                  <a:cubicBezTo>
                    <a:pt x="12638" y="8167"/>
                    <a:pt x="12806" y="8100"/>
                    <a:pt x="12940" y="8033"/>
                  </a:cubicBezTo>
                  <a:lnTo>
                    <a:pt x="12940" y="6151"/>
                  </a:lnTo>
                  <a:cubicBezTo>
                    <a:pt x="12806" y="6252"/>
                    <a:pt x="12671" y="6285"/>
                    <a:pt x="12503" y="6353"/>
                  </a:cubicBezTo>
                  <a:cubicBezTo>
                    <a:pt x="12436" y="6386"/>
                    <a:pt x="12402" y="6386"/>
                    <a:pt x="12335" y="6386"/>
                  </a:cubicBezTo>
                  <a:cubicBezTo>
                    <a:pt x="12268" y="6420"/>
                    <a:pt x="12201" y="6453"/>
                    <a:pt x="12100" y="6453"/>
                  </a:cubicBezTo>
                  <a:cubicBezTo>
                    <a:pt x="11999" y="6487"/>
                    <a:pt x="11932" y="6487"/>
                    <a:pt x="11831" y="6487"/>
                  </a:cubicBezTo>
                  <a:cubicBezTo>
                    <a:pt x="11797" y="6521"/>
                    <a:pt x="11797" y="6521"/>
                    <a:pt x="11764" y="6521"/>
                  </a:cubicBezTo>
                  <a:lnTo>
                    <a:pt x="10957" y="6521"/>
                  </a:lnTo>
                  <a:cubicBezTo>
                    <a:pt x="10924" y="6521"/>
                    <a:pt x="10924" y="6521"/>
                    <a:pt x="10890" y="6487"/>
                  </a:cubicBezTo>
                  <a:cubicBezTo>
                    <a:pt x="10756" y="6487"/>
                    <a:pt x="10655" y="6487"/>
                    <a:pt x="10520" y="6453"/>
                  </a:cubicBezTo>
                  <a:cubicBezTo>
                    <a:pt x="10520" y="6420"/>
                    <a:pt x="10487" y="6420"/>
                    <a:pt x="10453" y="6420"/>
                  </a:cubicBezTo>
                  <a:cubicBezTo>
                    <a:pt x="10352" y="6386"/>
                    <a:pt x="10251" y="6353"/>
                    <a:pt x="10151" y="6319"/>
                  </a:cubicBezTo>
                  <a:lnTo>
                    <a:pt x="10083" y="6319"/>
                  </a:lnTo>
                  <a:cubicBezTo>
                    <a:pt x="9983" y="6252"/>
                    <a:pt x="9848" y="6218"/>
                    <a:pt x="9747" y="6151"/>
                  </a:cubicBezTo>
                  <a:lnTo>
                    <a:pt x="707" y="908"/>
                  </a:lnTo>
                  <a:cubicBezTo>
                    <a:pt x="371" y="740"/>
                    <a:pt x="135" y="505"/>
                    <a:pt x="68" y="236"/>
                  </a:cubicBezTo>
                  <a:cubicBezTo>
                    <a:pt x="34" y="169"/>
                    <a:pt x="34" y="68"/>
                    <a:pt x="34" y="1"/>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82" name="Google Shape;2677;p49"/>
            <p:cNvSpPr/>
            <p:nvPr/>
          </p:nvSpPr>
          <p:spPr>
            <a:xfrm>
              <a:off x="-19567750" y="12404250"/>
              <a:ext cx="575575" cy="326425"/>
            </a:xfrm>
            <a:custGeom>
              <a:avLst/>
              <a:gdLst/>
              <a:ahLst/>
              <a:cxnLst/>
              <a:rect l="l" t="t" r="r" b="b"/>
              <a:pathLst>
                <a:path w="23023" h="13057" extrusionOk="0">
                  <a:moveTo>
                    <a:pt x="11478" y="0"/>
                  </a:moveTo>
                  <a:cubicBezTo>
                    <a:pt x="10898" y="0"/>
                    <a:pt x="10318" y="126"/>
                    <a:pt x="9881" y="378"/>
                  </a:cubicBezTo>
                  <a:lnTo>
                    <a:pt x="874" y="5587"/>
                  </a:lnTo>
                  <a:cubicBezTo>
                    <a:pt x="0" y="6125"/>
                    <a:pt x="0" y="6932"/>
                    <a:pt x="908" y="7470"/>
                  </a:cubicBezTo>
                  <a:lnTo>
                    <a:pt x="9948" y="12679"/>
                  </a:lnTo>
                  <a:cubicBezTo>
                    <a:pt x="10385" y="12931"/>
                    <a:pt x="10965" y="13057"/>
                    <a:pt x="11545" y="13057"/>
                  </a:cubicBezTo>
                  <a:cubicBezTo>
                    <a:pt x="12124" y="13057"/>
                    <a:pt x="12704" y="12931"/>
                    <a:pt x="13141" y="12679"/>
                  </a:cubicBezTo>
                  <a:lnTo>
                    <a:pt x="22148" y="7470"/>
                  </a:lnTo>
                  <a:cubicBezTo>
                    <a:pt x="23022" y="6932"/>
                    <a:pt x="23022" y="6125"/>
                    <a:pt x="22115" y="5587"/>
                  </a:cubicBezTo>
                  <a:lnTo>
                    <a:pt x="13074" y="378"/>
                  </a:lnTo>
                  <a:cubicBezTo>
                    <a:pt x="12637" y="126"/>
                    <a:pt x="12057" y="0"/>
                    <a:pt x="11478"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83" name="Google Shape;2678;p49"/>
            <p:cNvSpPr/>
            <p:nvPr/>
          </p:nvSpPr>
          <p:spPr>
            <a:xfrm>
              <a:off x="-18904000" y="12767425"/>
              <a:ext cx="241175" cy="200825"/>
            </a:xfrm>
            <a:custGeom>
              <a:avLst/>
              <a:gdLst/>
              <a:ahLst/>
              <a:cxnLst/>
              <a:rect l="l" t="t" r="r" b="b"/>
              <a:pathLst>
                <a:path w="9647" h="8033" extrusionOk="0">
                  <a:moveTo>
                    <a:pt x="9647" y="0"/>
                  </a:moveTo>
                  <a:cubicBezTo>
                    <a:pt x="9647" y="68"/>
                    <a:pt x="9613" y="168"/>
                    <a:pt x="9613" y="236"/>
                  </a:cubicBezTo>
                  <a:cubicBezTo>
                    <a:pt x="9613" y="236"/>
                    <a:pt x="9613" y="236"/>
                    <a:pt x="9613" y="269"/>
                  </a:cubicBezTo>
                  <a:cubicBezTo>
                    <a:pt x="9579" y="336"/>
                    <a:pt x="9546" y="404"/>
                    <a:pt x="9479" y="471"/>
                  </a:cubicBezTo>
                  <a:lnTo>
                    <a:pt x="9479" y="504"/>
                  </a:lnTo>
                  <a:cubicBezTo>
                    <a:pt x="9411" y="572"/>
                    <a:pt x="9344" y="639"/>
                    <a:pt x="9277" y="706"/>
                  </a:cubicBezTo>
                  <a:cubicBezTo>
                    <a:pt x="9243" y="740"/>
                    <a:pt x="9176" y="773"/>
                    <a:pt x="9109" y="807"/>
                  </a:cubicBezTo>
                  <a:cubicBezTo>
                    <a:pt x="9075" y="841"/>
                    <a:pt x="9042" y="874"/>
                    <a:pt x="8974" y="908"/>
                  </a:cubicBezTo>
                  <a:lnTo>
                    <a:pt x="1" y="6151"/>
                  </a:lnTo>
                  <a:lnTo>
                    <a:pt x="1" y="8033"/>
                  </a:lnTo>
                  <a:lnTo>
                    <a:pt x="8974" y="2823"/>
                  </a:lnTo>
                  <a:cubicBezTo>
                    <a:pt x="8974" y="2790"/>
                    <a:pt x="9008" y="2790"/>
                    <a:pt x="9008" y="2790"/>
                  </a:cubicBezTo>
                  <a:cubicBezTo>
                    <a:pt x="9042" y="2756"/>
                    <a:pt x="9075" y="2723"/>
                    <a:pt x="9109" y="2723"/>
                  </a:cubicBezTo>
                  <a:cubicBezTo>
                    <a:pt x="9176" y="2689"/>
                    <a:pt x="9243" y="2622"/>
                    <a:pt x="9277" y="2588"/>
                  </a:cubicBezTo>
                  <a:lnTo>
                    <a:pt x="9311" y="2588"/>
                  </a:lnTo>
                  <a:cubicBezTo>
                    <a:pt x="9344" y="2521"/>
                    <a:pt x="9411" y="2487"/>
                    <a:pt x="9445" y="2420"/>
                  </a:cubicBezTo>
                  <a:cubicBezTo>
                    <a:pt x="9445" y="2420"/>
                    <a:pt x="9445" y="2420"/>
                    <a:pt x="9479" y="2387"/>
                  </a:cubicBezTo>
                  <a:lnTo>
                    <a:pt x="9479" y="2353"/>
                  </a:lnTo>
                  <a:cubicBezTo>
                    <a:pt x="9512" y="2353"/>
                    <a:pt x="9512" y="2319"/>
                    <a:pt x="9546" y="2286"/>
                  </a:cubicBezTo>
                  <a:cubicBezTo>
                    <a:pt x="9546" y="2252"/>
                    <a:pt x="9579" y="2219"/>
                    <a:pt x="9579" y="2151"/>
                  </a:cubicBezTo>
                  <a:cubicBezTo>
                    <a:pt x="9613" y="2151"/>
                    <a:pt x="9613" y="2118"/>
                    <a:pt x="9613" y="2118"/>
                  </a:cubicBezTo>
                  <a:cubicBezTo>
                    <a:pt x="9613" y="2084"/>
                    <a:pt x="9613" y="2050"/>
                    <a:pt x="9613" y="2050"/>
                  </a:cubicBezTo>
                  <a:cubicBezTo>
                    <a:pt x="9647" y="1983"/>
                    <a:pt x="9647" y="1950"/>
                    <a:pt x="9647" y="1916"/>
                  </a:cubicBezTo>
                  <a:lnTo>
                    <a:pt x="9647" y="1882"/>
                  </a:lnTo>
                  <a:lnTo>
                    <a:pt x="9647" y="0"/>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84" name="Google Shape;2679;p49"/>
            <p:cNvSpPr/>
            <p:nvPr/>
          </p:nvSpPr>
          <p:spPr>
            <a:xfrm>
              <a:off x="-19227475" y="12766575"/>
              <a:ext cx="323500" cy="210925"/>
            </a:xfrm>
            <a:custGeom>
              <a:avLst/>
              <a:gdLst/>
              <a:ahLst/>
              <a:cxnLst/>
              <a:rect l="l" t="t" r="r" b="b"/>
              <a:pathLst>
                <a:path w="12940" h="8437" extrusionOk="0">
                  <a:moveTo>
                    <a:pt x="1" y="1"/>
                  </a:moveTo>
                  <a:lnTo>
                    <a:pt x="1" y="1916"/>
                  </a:lnTo>
                  <a:cubicBezTo>
                    <a:pt x="1" y="2253"/>
                    <a:pt x="236" y="2589"/>
                    <a:pt x="673" y="2824"/>
                  </a:cubicBezTo>
                  <a:lnTo>
                    <a:pt x="9714" y="8067"/>
                  </a:lnTo>
                  <a:cubicBezTo>
                    <a:pt x="9814" y="8134"/>
                    <a:pt x="9949" y="8168"/>
                    <a:pt x="10050" y="8235"/>
                  </a:cubicBezTo>
                  <a:lnTo>
                    <a:pt x="10117" y="8235"/>
                  </a:lnTo>
                  <a:cubicBezTo>
                    <a:pt x="10184" y="8268"/>
                    <a:pt x="10251" y="8302"/>
                    <a:pt x="10319" y="8302"/>
                  </a:cubicBezTo>
                  <a:cubicBezTo>
                    <a:pt x="10352" y="8336"/>
                    <a:pt x="10386" y="8336"/>
                    <a:pt x="10453" y="8336"/>
                  </a:cubicBezTo>
                  <a:cubicBezTo>
                    <a:pt x="10453" y="8336"/>
                    <a:pt x="10487" y="8336"/>
                    <a:pt x="10520" y="8369"/>
                  </a:cubicBezTo>
                  <a:lnTo>
                    <a:pt x="10554" y="8369"/>
                  </a:lnTo>
                  <a:cubicBezTo>
                    <a:pt x="10655" y="8369"/>
                    <a:pt x="10722" y="8403"/>
                    <a:pt x="10789" y="8403"/>
                  </a:cubicBezTo>
                  <a:lnTo>
                    <a:pt x="10923" y="8403"/>
                  </a:lnTo>
                  <a:cubicBezTo>
                    <a:pt x="10957" y="8437"/>
                    <a:pt x="10991" y="8437"/>
                    <a:pt x="11024" y="8437"/>
                  </a:cubicBezTo>
                  <a:lnTo>
                    <a:pt x="11730" y="8437"/>
                  </a:lnTo>
                  <a:cubicBezTo>
                    <a:pt x="11730" y="8437"/>
                    <a:pt x="11730" y="8403"/>
                    <a:pt x="11730" y="8403"/>
                  </a:cubicBezTo>
                  <a:lnTo>
                    <a:pt x="11797" y="8403"/>
                  </a:lnTo>
                  <a:cubicBezTo>
                    <a:pt x="11864" y="8403"/>
                    <a:pt x="11932" y="8403"/>
                    <a:pt x="11999" y="8369"/>
                  </a:cubicBezTo>
                  <a:lnTo>
                    <a:pt x="12066" y="8369"/>
                  </a:lnTo>
                  <a:cubicBezTo>
                    <a:pt x="12167" y="8336"/>
                    <a:pt x="12234" y="8336"/>
                    <a:pt x="12301" y="8302"/>
                  </a:cubicBezTo>
                  <a:cubicBezTo>
                    <a:pt x="12335" y="8302"/>
                    <a:pt x="12402" y="8302"/>
                    <a:pt x="12436" y="8268"/>
                  </a:cubicBezTo>
                  <a:lnTo>
                    <a:pt x="12469" y="8268"/>
                  </a:lnTo>
                  <a:cubicBezTo>
                    <a:pt x="12637" y="8201"/>
                    <a:pt x="12772" y="8134"/>
                    <a:pt x="12940" y="8067"/>
                  </a:cubicBezTo>
                  <a:lnTo>
                    <a:pt x="12940" y="6185"/>
                  </a:lnTo>
                  <a:cubicBezTo>
                    <a:pt x="12806" y="6252"/>
                    <a:pt x="12637" y="6319"/>
                    <a:pt x="12503" y="6386"/>
                  </a:cubicBezTo>
                  <a:cubicBezTo>
                    <a:pt x="12436" y="6386"/>
                    <a:pt x="12369" y="6420"/>
                    <a:pt x="12301" y="6420"/>
                  </a:cubicBezTo>
                  <a:cubicBezTo>
                    <a:pt x="12234" y="6454"/>
                    <a:pt x="12167" y="6454"/>
                    <a:pt x="12100" y="6487"/>
                  </a:cubicBezTo>
                  <a:cubicBezTo>
                    <a:pt x="11999" y="6487"/>
                    <a:pt x="11898" y="6521"/>
                    <a:pt x="11797" y="6521"/>
                  </a:cubicBezTo>
                  <a:lnTo>
                    <a:pt x="11764" y="6521"/>
                  </a:lnTo>
                  <a:cubicBezTo>
                    <a:pt x="11629" y="6554"/>
                    <a:pt x="11495" y="6554"/>
                    <a:pt x="11360" y="6554"/>
                  </a:cubicBezTo>
                  <a:lnTo>
                    <a:pt x="11293" y="6554"/>
                  </a:lnTo>
                  <a:cubicBezTo>
                    <a:pt x="11192" y="6554"/>
                    <a:pt x="11058" y="6554"/>
                    <a:pt x="10923" y="6521"/>
                  </a:cubicBezTo>
                  <a:lnTo>
                    <a:pt x="10890" y="6521"/>
                  </a:lnTo>
                  <a:cubicBezTo>
                    <a:pt x="10755" y="6521"/>
                    <a:pt x="10621" y="6487"/>
                    <a:pt x="10520" y="6454"/>
                  </a:cubicBezTo>
                  <a:lnTo>
                    <a:pt x="10453" y="6454"/>
                  </a:lnTo>
                  <a:cubicBezTo>
                    <a:pt x="10319" y="6420"/>
                    <a:pt x="10218" y="6386"/>
                    <a:pt x="10117" y="6353"/>
                  </a:cubicBezTo>
                  <a:cubicBezTo>
                    <a:pt x="10117" y="6353"/>
                    <a:pt x="10083" y="6353"/>
                    <a:pt x="10083" y="6319"/>
                  </a:cubicBezTo>
                  <a:cubicBezTo>
                    <a:pt x="9949" y="6286"/>
                    <a:pt x="9848" y="6218"/>
                    <a:pt x="9714" y="6185"/>
                  </a:cubicBezTo>
                  <a:lnTo>
                    <a:pt x="673" y="942"/>
                  </a:lnTo>
                  <a:cubicBezTo>
                    <a:pt x="337" y="740"/>
                    <a:pt x="135" y="505"/>
                    <a:pt x="34" y="270"/>
                  </a:cubicBezTo>
                  <a:cubicBezTo>
                    <a:pt x="1" y="169"/>
                    <a:pt x="1" y="102"/>
                    <a:pt x="1" y="1"/>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85" name="Google Shape;2680;p49"/>
            <p:cNvSpPr/>
            <p:nvPr/>
          </p:nvSpPr>
          <p:spPr>
            <a:xfrm>
              <a:off x="-19233350" y="12603575"/>
              <a:ext cx="576400" cy="327075"/>
            </a:xfrm>
            <a:custGeom>
              <a:avLst/>
              <a:gdLst/>
              <a:ahLst/>
              <a:cxnLst/>
              <a:rect l="l" t="t" r="r" b="b"/>
              <a:pathLst>
                <a:path w="23056" h="13083" extrusionOk="0">
                  <a:moveTo>
                    <a:pt x="11482" y="1"/>
                  </a:moveTo>
                  <a:cubicBezTo>
                    <a:pt x="10898" y="1"/>
                    <a:pt x="10318" y="135"/>
                    <a:pt x="9881" y="404"/>
                  </a:cubicBezTo>
                  <a:lnTo>
                    <a:pt x="908" y="5613"/>
                  </a:lnTo>
                  <a:cubicBezTo>
                    <a:pt x="0" y="6117"/>
                    <a:pt x="34" y="6958"/>
                    <a:pt x="908" y="7462"/>
                  </a:cubicBezTo>
                  <a:lnTo>
                    <a:pt x="9949" y="12705"/>
                  </a:lnTo>
                  <a:cubicBezTo>
                    <a:pt x="10402" y="12957"/>
                    <a:pt x="10990" y="13083"/>
                    <a:pt x="11574" y="13083"/>
                  </a:cubicBezTo>
                  <a:cubicBezTo>
                    <a:pt x="12158" y="13083"/>
                    <a:pt x="12738" y="12957"/>
                    <a:pt x="13175" y="12705"/>
                  </a:cubicBezTo>
                  <a:lnTo>
                    <a:pt x="22148" y="7462"/>
                  </a:lnTo>
                  <a:cubicBezTo>
                    <a:pt x="23056" y="6958"/>
                    <a:pt x="23022" y="6117"/>
                    <a:pt x="22148" y="5613"/>
                  </a:cubicBezTo>
                  <a:lnTo>
                    <a:pt x="13108" y="404"/>
                  </a:lnTo>
                  <a:cubicBezTo>
                    <a:pt x="12654" y="135"/>
                    <a:pt x="12066" y="1"/>
                    <a:pt x="11482"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86" name="Google Shape;2681;p49"/>
            <p:cNvSpPr/>
            <p:nvPr/>
          </p:nvSpPr>
          <p:spPr>
            <a:xfrm>
              <a:off x="-18562025" y="12967400"/>
              <a:ext cx="241175" cy="200825"/>
            </a:xfrm>
            <a:custGeom>
              <a:avLst/>
              <a:gdLst/>
              <a:ahLst/>
              <a:cxnLst/>
              <a:rect l="l" t="t" r="r" b="b"/>
              <a:pathLst>
                <a:path w="9647" h="8033" extrusionOk="0">
                  <a:moveTo>
                    <a:pt x="9646" y="0"/>
                  </a:moveTo>
                  <a:cubicBezTo>
                    <a:pt x="9646" y="67"/>
                    <a:pt x="9646" y="168"/>
                    <a:pt x="9613" y="235"/>
                  </a:cubicBezTo>
                  <a:cubicBezTo>
                    <a:pt x="9613" y="235"/>
                    <a:pt x="9613" y="235"/>
                    <a:pt x="9613" y="269"/>
                  </a:cubicBezTo>
                  <a:cubicBezTo>
                    <a:pt x="9579" y="336"/>
                    <a:pt x="9546" y="404"/>
                    <a:pt x="9512" y="471"/>
                  </a:cubicBezTo>
                  <a:lnTo>
                    <a:pt x="9478" y="504"/>
                  </a:lnTo>
                  <a:cubicBezTo>
                    <a:pt x="9411" y="572"/>
                    <a:pt x="9377" y="639"/>
                    <a:pt x="9277" y="706"/>
                  </a:cubicBezTo>
                  <a:cubicBezTo>
                    <a:pt x="9243" y="740"/>
                    <a:pt x="9176" y="773"/>
                    <a:pt x="9142" y="840"/>
                  </a:cubicBezTo>
                  <a:cubicBezTo>
                    <a:pt x="9075" y="874"/>
                    <a:pt x="9041" y="908"/>
                    <a:pt x="9008" y="908"/>
                  </a:cubicBezTo>
                  <a:lnTo>
                    <a:pt x="1" y="6151"/>
                  </a:lnTo>
                  <a:lnTo>
                    <a:pt x="1" y="8033"/>
                  </a:lnTo>
                  <a:lnTo>
                    <a:pt x="8974" y="2823"/>
                  </a:lnTo>
                  <a:cubicBezTo>
                    <a:pt x="9008" y="2823"/>
                    <a:pt x="9008" y="2790"/>
                    <a:pt x="9008" y="2790"/>
                  </a:cubicBezTo>
                  <a:cubicBezTo>
                    <a:pt x="9075" y="2756"/>
                    <a:pt x="9109" y="2756"/>
                    <a:pt x="9142" y="2723"/>
                  </a:cubicBezTo>
                  <a:cubicBezTo>
                    <a:pt x="9176" y="2689"/>
                    <a:pt x="9243" y="2622"/>
                    <a:pt x="9277" y="2588"/>
                  </a:cubicBezTo>
                  <a:lnTo>
                    <a:pt x="9310" y="2588"/>
                  </a:lnTo>
                  <a:cubicBezTo>
                    <a:pt x="9377" y="2521"/>
                    <a:pt x="9411" y="2487"/>
                    <a:pt x="9445" y="2420"/>
                  </a:cubicBezTo>
                  <a:cubicBezTo>
                    <a:pt x="9445" y="2420"/>
                    <a:pt x="9478" y="2420"/>
                    <a:pt x="9478" y="2386"/>
                  </a:cubicBezTo>
                  <a:lnTo>
                    <a:pt x="9512" y="2353"/>
                  </a:lnTo>
                  <a:cubicBezTo>
                    <a:pt x="9512" y="2353"/>
                    <a:pt x="9546" y="2319"/>
                    <a:pt x="9546" y="2286"/>
                  </a:cubicBezTo>
                  <a:cubicBezTo>
                    <a:pt x="9579" y="2252"/>
                    <a:pt x="9579" y="2218"/>
                    <a:pt x="9613" y="2185"/>
                  </a:cubicBezTo>
                  <a:cubicBezTo>
                    <a:pt x="9613" y="2151"/>
                    <a:pt x="9613" y="2151"/>
                    <a:pt x="9613" y="2151"/>
                  </a:cubicBezTo>
                  <a:cubicBezTo>
                    <a:pt x="9613" y="2151"/>
                    <a:pt x="9613" y="2118"/>
                    <a:pt x="9613" y="2118"/>
                  </a:cubicBezTo>
                  <a:cubicBezTo>
                    <a:pt x="9613" y="2084"/>
                    <a:pt x="9646" y="2084"/>
                    <a:pt x="9646" y="2050"/>
                  </a:cubicBezTo>
                  <a:cubicBezTo>
                    <a:pt x="9646" y="1983"/>
                    <a:pt x="9646" y="1950"/>
                    <a:pt x="9646" y="1916"/>
                  </a:cubicBezTo>
                  <a:lnTo>
                    <a:pt x="9646" y="1882"/>
                  </a:lnTo>
                  <a:lnTo>
                    <a:pt x="9646" y="0"/>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87" name="Google Shape;2682;p49"/>
            <p:cNvSpPr/>
            <p:nvPr/>
          </p:nvSpPr>
          <p:spPr>
            <a:xfrm>
              <a:off x="-18885500" y="12967400"/>
              <a:ext cx="323500" cy="210075"/>
            </a:xfrm>
            <a:custGeom>
              <a:avLst/>
              <a:gdLst/>
              <a:ahLst/>
              <a:cxnLst/>
              <a:rect l="l" t="t" r="r" b="b"/>
              <a:pathLst>
                <a:path w="12940" h="8403" extrusionOk="0">
                  <a:moveTo>
                    <a:pt x="0" y="0"/>
                  </a:moveTo>
                  <a:lnTo>
                    <a:pt x="0" y="1882"/>
                  </a:lnTo>
                  <a:cubicBezTo>
                    <a:pt x="0" y="2218"/>
                    <a:pt x="236" y="2554"/>
                    <a:pt x="673" y="2823"/>
                  </a:cubicBezTo>
                  <a:lnTo>
                    <a:pt x="9747" y="8033"/>
                  </a:lnTo>
                  <a:cubicBezTo>
                    <a:pt x="9848" y="8100"/>
                    <a:pt x="9949" y="8134"/>
                    <a:pt x="10049" y="8201"/>
                  </a:cubicBezTo>
                  <a:lnTo>
                    <a:pt x="10117" y="8201"/>
                  </a:lnTo>
                  <a:cubicBezTo>
                    <a:pt x="10184" y="8234"/>
                    <a:pt x="10251" y="8268"/>
                    <a:pt x="10352" y="8268"/>
                  </a:cubicBezTo>
                  <a:cubicBezTo>
                    <a:pt x="10385" y="8302"/>
                    <a:pt x="10419" y="8302"/>
                    <a:pt x="10453" y="8302"/>
                  </a:cubicBezTo>
                  <a:cubicBezTo>
                    <a:pt x="10486" y="8302"/>
                    <a:pt x="10486" y="8335"/>
                    <a:pt x="10520" y="8335"/>
                  </a:cubicBezTo>
                  <a:lnTo>
                    <a:pt x="10587" y="8335"/>
                  </a:lnTo>
                  <a:cubicBezTo>
                    <a:pt x="10654" y="8369"/>
                    <a:pt x="10722" y="8369"/>
                    <a:pt x="10789" y="8369"/>
                  </a:cubicBezTo>
                  <a:cubicBezTo>
                    <a:pt x="10822" y="8369"/>
                    <a:pt x="10856" y="8369"/>
                    <a:pt x="10890" y="8402"/>
                  </a:cubicBezTo>
                  <a:lnTo>
                    <a:pt x="11763" y="8402"/>
                  </a:lnTo>
                  <a:cubicBezTo>
                    <a:pt x="11763" y="8402"/>
                    <a:pt x="11797" y="8402"/>
                    <a:pt x="11831" y="8369"/>
                  </a:cubicBezTo>
                  <a:lnTo>
                    <a:pt x="11999" y="8369"/>
                  </a:lnTo>
                  <a:cubicBezTo>
                    <a:pt x="12032" y="8335"/>
                    <a:pt x="12066" y="8335"/>
                    <a:pt x="12099" y="8335"/>
                  </a:cubicBezTo>
                  <a:cubicBezTo>
                    <a:pt x="12167" y="8302"/>
                    <a:pt x="12234" y="8302"/>
                    <a:pt x="12335" y="8268"/>
                  </a:cubicBezTo>
                  <a:cubicBezTo>
                    <a:pt x="12368" y="8268"/>
                    <a:pt x="12402" y="8268"/>
                    <a:pt x="12436" y="8234"/>
                  </a:cubicBezTo>
                  <a:lnTo>
                    <a:pt x="12503" y="8234"/>
                  </a:lnTo>
                  <a:cubicBezTo>
                    <a:pt x="12637" y="8167"/>
                    <a:pt x="12805" y="8100"/>
                    <a:pt x="12940" y="8033"/>
                  </a:cubicBezTo>
                  <a:lnTo>
                    <a:pt x="12940" y="6151"/>
                  </a:lnTo>
                  <a:cubicBezTo>
                    <a:pt x="12805" y="6218"/>
                    <a:pt x="12671" y="6285"/>
                    <a:pt x="12503" y="6352"/>
                  </a:cubicBezTo>
                  <a:cubicBezTo>
                    <a:pt x="12436" y="6352"/>
                    <a:pt x="12402" y="6386"/>
                    <a:pt x="12335" y="6386"/>
                  </a:cubicBezTo>
                  <a:cubicBezTo>
                    <a:pt x="12268" y="6419"/>
                    <a:pt x="12167" y="6453"/>
                    <a:pt x="12099" y="6453"/>
                  </a:cubicBezTo>
                  <a:cubicBezTo>
                    <a:pt x="11999" y="6453"/>
                    <a:pt x="11931" y="6487"/>
                    <a:pt x="11831" y="6487"/>
                  </a:cubicBezTo>
                  <a:cubicBezTo>
                    <a:pt x="11797" y="6487"/>
                    <a:pt x="11797" y="6520"/>
                    <a:pt x="11763" y="6520"/>
                  </a:cubicBezTo>
                  <a:lnTo>
                    <a:pt x="10957" y="6520"/>
                  </a:lnTo>
                  <a:cubicBezTo>
                    <a:pt x="10923" y="6520"/>
                    <a:pt x="10890" y="6487"/>
                    <a:pt x="10890" y="6487"/>
                  </a:cubicBezTo>
                  <a:cubicBezTo>
                    <a:pt x="10755" y="6487"/>
                    <a:pt x="10654" y="6453"/>
                    <a:pt x="10520" y="6453"/>
                  </a:cubicBezTo>
                  <a:cubicBezTo>
                    <a:pt x="10486" y="6419"/>
                    <a:pt x="10486" y="6419"/>
                    <a:pt x="10453" y="6419"/>
                  </a:cubicBezTo>
                  <a:cubicBezTo>
                    <a:pt x="10352" y="6386"/>
                    <a:pt x="10251" y="6352"/>
                    <a:pt x="10150" y="6319"/>
                  </a:cubicBezTo>
                  <a:lnTo>
                    <a:pt x="10083" y="6319"/>
                  </a:lnTo>
                  <a:cubicBezTo>
                    <a:pt x="9949" y="6251"/>
                    <a:pt x="9848" y="6218"/>
                    <a:pt x="9747" y="6151"/>
                  </a:cubicBezTo>
                  <a:lnTo>
                    <a:pt x="673" y="908"/>
                  </a:lnTo>
                  <a:cubicBezTo>
                    <a:pt x="336" y="740"/>
                    <a:pt x="135" y="504"/>
                    <a:pt x="68" y="235"/>
                  </a:cubicBezTo>
                  <a:cubicBezTo>
                    <a:pt x="34" y="168"/>
                    <a:pt x="0" y="67"/>
                    <a:pt x="0" y="0"/>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88" name="Google Shape;2683;p49"/>
            <p:cNvSpPr/>
            <p:nvPr/>
          </p:nvSpPr>
          <p:spPr>
            <a:xfrm>
              <a:off x="-18890550" y="12804175"/>
              <a:ext cx="575575" cy="326450"/>
            </a:xfrm>
            <a:custGeom>
              <a:avLst/>
              <a:gdLst/>
              <a:ahLst/>
              <a:cxnLst/>
              <a:rect l="l" t="t" r="r" b="b"/>
              <a:pathLst>
                <a:path w="23023" h="13058" extrusionOk="0">
                  <a:moveTo>
                    <a:pt x="11474" y="1"/>
                  </a:moveTo>
                  <a:cubicBezTo>
                    <a:pt x="10890" y="1"/>
                    <a:pt x="10302" y="127"/>
                    <a:pt x="9848" y="379"/>
                  </a:cubicBezTo>
                  <a:lnTo>
                    <a:pt x="875" y="5588"/>
                  </a:lnTo>
                  <a:cubicBezTo>
                    <a:pt x="1" y="6126"/>
                    <a:pt x="1" y="6933"/>
                    <a:pt x="875" y="7470"/>
                  </a:cubicBezTo>
                  <a:lnTo>
                    <a:pt x="9949" y="12680"/>
                  </a:lnTo>
                  <a:cubicBezTo>
                    <a:pt x="10386" y="12932"/>
                    <a:pt x="10966" y="13058"/>
                    <a:pt x="11545" y="13058"/>
                  </a:cubicBezTo>
                  <a:cubicBezTo>
                    <a:pt x="12125" y="13058"/>
                    <a:pt x="12705" y="12932"/>
                    <a:pt x="13142" y="12680"/>
                  </a:cubicBezTo>
                  <a:lnTo>
                    <a:pt x="22149" y="7470"/>
                  </a:lnTo>
                  <a:cubicBezTo>
                    <a:pt x="23023" y="6933"/>
                    <a:pt x="23023" y="6126"/>
                    <a:pt x="22115" y="5588"/>
                  </a:cubicBezTo>
                  <a:lnTo>
                    <a:pt x="13074" y="379"/>
                  </a:lnTo>
                  <a:cubicBezTo>
                    <a:pt x="12638" y="127"/>
                    <a:pt x="12058" y="1"/>
                    <a:pt x="11474"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89" name="Google Shape;2684;p49"/>
            <p:cNvSpPr/>
            <p:nvPr/>
          </p:nvSpPr>
          <p:spPr>
            <a:xfrm>
              <a:off x="-18234325" y="13162325"/>
              <a:ext cx="242000" cy="200825"/>
            </a:xfrm>
            <a:custGeom>
              <a:avLst/>
              <a:gdLst/>
              <a:ahLst/>
              <a:cxnLst/>
              <a:rect l="l" t="t" r="r" b="b"/>
              <a:pathLst>
                <a:path w="9680" h="8033" extrusionOk="0">
                  <a:moveTo>
                    <a:pt x="9679" y="0"/>
                  </a:moveTo>
                  <a:cubicBezTo>
                    <a:pt x="9679" y="68"/>
                    <a:pt x="9646" y="168"/>
                    <a:pt x="9646" y="236"/>
                  </a:cubicBezTo>
                  <a:cubicBezTo>
                    <a:pt x="9646" y="236"/>
                    <a:pt x="9646" y="236"/>
                    <a:pt x="9612" y="269"/>
                  </a:cubicBezTo>
                  <a:cubicBezTo>
                    <a:pt x="9612" y="337"/>
                    <a:pt x="9578" y="404"/>
                    <a:pt x="9511" y="471"/>
                  </a:cubicBezTo>
                  <a:lnTo>
                    <a:pt x="9478" y="505"/>
                  </a:lnTo>
                  <a:cubicBezTo>
                    <a:pt x="9444" y="572"/>
                    <a:pt x="9377" y="639"/>
                    <a:pt x="9310" y="706"/>
                  </a:cubicBezTo>
                  <a:cubicBezTo>
                    <a:pt x="9276" y="740"/>
                    <a:pt x="9209" y="773"/>
                    <a:pt x="9142" y="807"/>
                  </a:cubicBezTo>
                  <a:cubicBezTo>
                    <a:pt x="9108" y="841"/>
                    <a:pt x="9074" y="874"/>
                    <a:pt x="9007" y="908"/>
                  </a:cubicBezTo>
                  <a:lnTo>
                    <a:pt x="34" y="6151"/>
                  </a:lnTo>
                  <a:lnTo>
                    <a:pt x="0" y="8033"/>
                  </a:lnTo>
                  <a:lnTo>
                    <a:pt x="9007" y="2824"/>
                  </a:lnTo>
                  <a:cubicBezTo>
                    <a:pt x="9007" y="2824"/>
                    <a:pt x="9007" y="2790"/>
                    <a:pt x="9041" y="2790"/>
                  </a:cubicBezTo>
                  <a:cubicBezTo>
                    <a:pt x="9074" y="2756"/>
                    <a:pt x="9108" y="2756"/>
                    <a:pt x="9142" y="2723"/>
                  </a:cubicBezTo>
                  <a:cubicBezTo>
                    <a:pt x="9209" y="2689"/>
                    <a:pt x="9276" y="2622"/>
                    <a:pt x="9310" y="2588"/>
                  </a:cubicBezTo>
                  <a:cubicBezTo>
                    <a:pt x="9377" y="2521"/>
                    <a:pt x="9410" y="2487"/>
                    <a:pt x="9478" y="2420"/>
                  </a:cubicBezTo>
                  <a:cubicBezTo>
                    <a:pt x="9478" y="2420"/>
                    <a:pt x="9478" y="2420"/>
                    <a:pt x="9478" y="2387"/>
                  </a:cubicBezTo>
                  <a:lnTo>
                    <a:pt x="9511" y="2353"/>
                  </a:lnTo>
                  <a:cubicBezTo>
                    <a:pt x="9545" y="2353"/>
                    <a:pt x="9545" y="2319"/>
                    <a:pt x="9545" y="2286"/>
                  </a:cubicBezTo>
                  <a:cubicBezTo>
                    <a:pt x="9578" y="2252"/>
                    <a:pt x="9612" y="2219"/>
                    <a:pt x="9612" y="2185"/>
                  </a:cubicBezTo>
                  <a:cubicBezTo>
                    <a:pt x="9612" y="2151"/>
                    <a:pt x="9612" y="2151"/>
                    <a:pt x="9612" y="2151"/>
                  </a:cubicBezTo>
                  <a:cubicBezTo>
                    <a:pt x="9612" y="2151"/>
                    <a:pt x="9612" y="2118"/>
                    <a:pt x="9646" y="2118"/>
                  </a:cubicBezTo>
                  <a:cubicBezTo>
                    <a:pt x="9646" y="2084"/>
                    <a:pt x="9646" y="2084"/>
                    <a:pt x="9646" y="2051"/>
                  </a:cubicBezTo>
                  <a:cubicBezTo>
                    <a:pt x="9679" y="1983"/>
                    <a:pt x="9679" y="1950"/>
                    <a:pt x="9679" y="1916"/>
                  </a:cubicBezTo>
                  <a:lnTo>
                    <a:pt x="9679" y="1883"/>
                  </a:lnTo>
                  <a:lnTo>
                    <a:pt x="9679" y="0"/>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90" name="Google Shape;2685;p49"/>
            <p:cNvSpPr/>
            <p:nvPr/>
          </p:nvSpPr>
          <p:spPr>
            <a:xfrm>
              <a:off x="-18556975" y="13161475"/>
              <a:ext cx="323500" cy="210925"/>
            </a:xfrm>
            <a:custGeom>
              <a:avLst/>
              <a:gdLst/>
              <a:ahLst/>
              <a:cxnLst/>
              <a:rect l="l" t="t" r="r" b="b"/>
              <a:pathLst>
                <a:path w="12940" h="8437" extrusionOk="0">
                  <a:moveTo>
                    <a:pt x="0" y="1"/>
                  </a:moveTo>
                  <a:lnTo>
                    <a:pt x="0" y="1917"/>
                  </a:lnTo>
                  <a:cubicBezTo>
                    <a:pt x="0" y="2253"/>
                    <a:pt x="236" y="2589"/>
                    <a:pt x="673" y="2824"/>
                  </a:cubicBezTo>
                  <a:lnTo>
                    <a:pt x="9713" y="8067"/>
                  </a:lnTo>
                  <a:cubicBezTo>
                    <a:pt x="9814" y="8134"/>
                    <a:pt x="9948" y="8168"/>
                    <a:pt x="10049" y="8235"/>
                  </a:cubicBezTo>
                  <a:lnTo>
                    <a:pt x="10117" y="8235"/>
                  </a:lnTo>
                  <a:cubicBezTo>
                    <a:pt x="10184" y="8269"/>
                    <a:pt x="10251" y="8302"/>
                    <a:pt x="10318" y="8302"/>
                  </a:cubicBezTo>
                  <a:cubicBezTo>
                    <a:pt x="10352" y="8336"/>
                    <a:pt x="10385" y="8336"/>
                    <a:pt x="10453" y="8336"/>
                  </a:cubicBezTo>
                  <a:cubicBezTo>
                    <a:pt x="10453" y="8336"/>
                    <a:pt x="10486" y="8336"/>
                    <a:pt x="10520" y="8369"/>
                  </a:cubicBezTo>
                  <a:lnTo>
                    <a:pt x="10553" y="8369"/>
                  </a:lnTo>
                  <a:cubicBezTo>
                    <a:pt x="10654" y="8369"/>
                    <a:pt x="10721" y="8403"/>
                    <a:pt x="10789" y="8403"/>
                  </a:cubicBezTo>
                  <a:lnTo>
                    <a:pt x="10923" y="8403"/>
                  </a:lnTo>
                  <a:cubicBezTo>
                    <a:pt x="10957" y="8437"/>
                    <a:pt x="10990" y="8437"/>
                    <a:pt x="11024" y="8437"/>
                  </a:cubicBezTo>
                  <a:lnTo>
                    <a:pt x="11730" y="8437"/>
                  </a:lnTo>
                  <a:cubicBezTo>
                    <a:pt x="11730" y="8437"/>
                    <a:pt x="11730" y="8403"/>
                    <a:pt x="11730" y="8403"/>
                  </a:cubicBezTo>
                  <a:lnTo>
                    <a:pt x="11797" y="8403"/>
                  </a:lnTo>
                  <a:cubicBezTo>
                    <a:pt x="11864" y="8403"/>
                    <a:pt x="11931" y="8403"/>
                    <a:pt x="11999" y="8369"/>
                  </a:cubicBezTo>
                  <a:lnTo>
                    <a:pt x="12066" y="8369"/>
                  </a:lnTo>
                  <a:cubicBezTo>
                    <a:pt x="12167" y="8336"/>
                    <a:pt x="12234" y="8336"/>
                    <a:pt x="12301" y="8302"/>
                  </a:cubicBezTo>
                  <a:cubicBezTo>
                    <a:pt x="12335" y="8302"/>
                    <a:pt x="12402" y="8302"/>
                    <a:pt x="12436" y="8269"/>
                  </a:cubicBezTo>
                  <a:lnTo>
                    <a:pt x="12469" y="8269"/>
                  </a:lnTo>
                  <a:cubicBezTo>
                    <a:pt x="12637" y="8201"/>
                    <a:pt x="12772" y="8134"/>
                    <a:pt x="12940" y="8067"/>
                  </a:cubicBezTo>
                  <a:lnTo>
                    <a:pt x="12940" y="6185"/>
                  </a:lnTo>
                  <a:cubicBezTo>
                    <a:pt x="12805" y="6252"/>
                    <a:pt x="12637" y="6319"/>
                    <a:pt x="12503" y="6386"/>
                  </a:cubicBezTo>
                  <a:cubicBezTo>
                    <a:pt x="12436" y="6386"/>
                    <a:pt x="12368" y="6420"/>
                    <a:pt x="12301" y="6420"/>
                  </a:cubicBezTo>
                  <a:cubicBezTo>
                    <a:pt x="12234" y="6454"/>
                    <a:pt x="12167" y="6454"/>
                    <a:pt x="12099" y="6487"/>
                  </a:cubicBezTo>
                  <a:cubicBezTo>
                    <a:pt x="11999" y="6487"/>
                    <a:pt x="11898" y="6521"/>
                    <a:pt x="11797" y="6521"/>
                  </a:cubicBezTo>
                  <a:lnTo>
                    <a:pt x="11763" y="6521"/>
                  </a:lnTo>
                  <a:cubicBezTo>
                    <a:pt x="11629" y="6555"/>
                    <a:pt x="11494" y="6555"/>
                    <a:pt x="11360" y="6555"/>
                  </a:cubicBezTo>
                  <a:lnTo>
                    <a:pt x="11293" y="6555"/>
                  </a:lnTo>
                  <a:cubicBezTo>
                    <a:pt x="11192" y="6555"/>
                    <a:pt x="11058" y="6555"/>
                    <a:pt x="10923" y="6521"/>
                  </a:cubicBezTo>
                  <a:lnTo>
                    <a:pt x="10890" y="6521"/>
                  </a:lnTo>
                  <a:cubicBezTo>
                    <a:pt x="10755" y="6521"/>
                    <a:pt x="10621" y="6487"/>
                    <a:pt x="10520" y="6454"/>
                  </a:cubicBezTo>
                  <a:lnTo>
                    <a:pt x="10453" y="6454"/>
                  </a:lnTo>
                  <a:cubicBezTo>
                    <a:pt x="10318" y="6420"/>
                    <a:pt x="10217" y="6386"/>
                    <a:pt x="10117" y="6353"/>
                  </a:cubicBezTo>
                  <a:lnTo>
                    <a:pt x="10083" y="6353"/>
                  </a:lnTo>
                  <a:cubicBezTo>
                    <a:pt x="9948" y="6286"/>
                    <a:pt x="9848" y="6252"/>
                    <a:pt x="9713" y="6185"/>
                  </a:cubicBezTo>
                  <a:lnTo>
                    <a:pt x="673" y="942"/>
                  </a:lnTo>
                  <a:cubicBezTo>
                    <a:pt x="336" y="740"/>
                    <a:pt x="135" y="505"/>
                    <a:pt x="34" y="270"/>
                  </a:cubicBezTo>
                  <a:cubicBezTo>
                    <a:pt x="0" y="169"/>
                    <a:pt x="0" y="102"/>
                    <a:pt x="0" y="1"/>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91" name="Google Shape;2686;p49"/>
            <p:cNvSpPr/>
            <p:nvPr/>
          </p:nvSpPr>
          <p:spPr>
            <a:xfrm>
              <a:off x="-18562850" y="12998475"/>
              <a:ext cx="576400" cy="327075"/>
            </a:xfrm>
            <a:custGeom>
              <a:avLst/>
              <a:gdLst/>
              <a:ahLst/>
              <a:cxnLst/>
              <a:rect l="l" t="t" r="r" b="b"/>
              <a:pathLst>
                <a:path w="23056" h="13083" extrusionOk="0">
                  <a:moveTo>
                    <a:pt x="11477" y="1"/>
                  </a:moveTo>
                  <a:cubicBezTo>
                    <a:pt x="10898" y="1"/>
                    <a:pt x="10318" y="135"/>
                    <a:pt x="9881" y="404"/>
                  </a:cubicBezTo>
                  <a:lnTo>
                    <a:pt x="874" y="5613"/>
                  </a:lnTo>
                  <a:cubicBezTo>
                    <a:pt x="0" y="6118"/>
                    <a:pt x="0" y="6958"/>
                    <a:pt x="908" y="7462"/>
                  </a:cubicBezTo>
                  <a:lnTo>
                    <a:pt x="9948" y="12705"/>
                  </a:lnTo>
                  <a:cubicBezTo>
                    <a:pt x="10402" y="12957"/>
                    <a:pt x="10982" y="13083"/>
                    <a:pt x="11561" y="13083"/>
                  </a:cubicBezTo>
                  <a:cubicBezTo>
                    <a:pt x="12141" y="13083"/>
                    <a:pt x="12721" y="12957"/>
                    <a:pt x="13175" y="12705"/>
                  </a:cubicBezTo>
                  <a:lnTo>
                    <a:pt x="22148" y="7462"/>
                  </a:lnTo>
                  <a:cubicBezTo>
                    <a:pt x="23056" y="6958"/>
                    <a:pt x="23022" y="6118"/>
                    <a:pt x="22148" y="5613"/>
                  </a:cubicBezTo>
                  <a:lnTo>
                    <a:pt x="13074" y="404"/>
                  </a:lnTo>
                  <a:cubicBezTo>
                    <a:pt x="12637" y="135"/>
                    <a:pt x="12057" y="1"/>
                    <a:pt x="11477"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92" name="Google Shape;2687;p49"/>
            <p:cNvSpPr/>
            <p:nvPr/>
          </p:nvSpPr>
          <p:spPr>
            <a:xfrm>
              <a:off x="-17902450" y="13357250"/>
              <a:ext cx="242000" cy="200850"/>
            </a:xfrm>
            <a:custGeom>
              <a:avLst/>
              <a:gdLst/>
              <a:ahLst/>
              <a:cxnLst/>
              <a:rect l="l" t="t" r="r" b="b"/>
              <a:pathLst>
                <a:path w="9680" h="8034" extrusionOk="0">
                  <a:moveTo>
                    <a:pt x="9680" y="1"/>
                  </a:moveTo>
                  <a:cubicBezTo>
                    <a:pt x="9680" y="68"/>
                    <a:pt x="9646" y="169"/>
                    <a:pt x="9613" y="236"/>
                  </a:cubicBezTo>
                  <a:cubicBezTo>
                    <a:pt x="9613" y="236"/>
                    <a:pt x="9613" y="236"/>
                    <a:pt x="9613" y="270"/>
                  </a:cubicBezTo>
                  <a:cubicBezTo>
                    <a:pt x="9579" y="337"/>
                    <a:pt x="9545" y="404"/>
                    <a:pt x="9512" y="471"/>
                  </a:cubicBezTo>
                  <a:lnTo>
                    <a:pt x="9478" y="505"/>
                  </a:lnTo>
                  <a:cubicBezTo>
                    <a:pt x="9444" y="572"/>
                    <a:pt x="9377" y="639"/>
                    <a:pt x="9310" y="706"/>
                  </a:cubicBezTo>
                  <a:cubicBezTo>
                    <a:pt x="9243" y="740"/>
                    <a:pt x="9209" y="774"/>
                    <a:pt x="9142" y="841"/>
                  </a:cubicBezTo>
                  <a:cubicBezTo>
                    <a:pt x="9108" y="841"/>
                    <a:pt x="9041" y="908"/>
                    <a:pt x="9008" y="908"/>
                  </a:cubicBezTo>
                  <a:lnTo>
                    <a:pt x="0" y="6151"/>
                  </a:lnTo>
                  <a:lnTo>
                    <a:pt x="0" y="8033"/>
                  </a:lnTo>
                  <a:lnTo>
                    <a:pt x="9008" y="2824"/>
                  </a:lnTo>
                  <a:cubicBezTo>
                    <a:pt x="9008" y="2824"/>
                    <a:pt x="9008" y="2790"/>
                    <a:pt x="9041" y="2790"/>
                  </a:cubicBezTo>
                  <a:cubicBezTo>
                    <a:pt x="9075" y="2757"/>
                    <a:pt x="9108" y="2723"/>
                    <a:pt x="9142" y="2723"/>
                  </a:cubicBezTo>
                  <a:cubicBezTo>
                    <a:pt x="9209" y="2689"/>
                    <a:pt x="9243" y="2622"/>
                    <a:pt x="9310" y="2589"/>
                  </a:cubicBezTo>
                  <a:cubicBezTo>
                    <a:pt x="9377" y="2521"/>
                    <a:pt x="9411" y="2488"/>
                    <a:pt x="9444" y="2420"/>
                  </a:cubicBezTo>
                  <a:cubicBezTo>
                    <a:pt x="9478" y="2420"/>
                    <a:pt x="9478" y="2420"/>
                    <a:pt x="9478" y="2387"/>
                  </a:cubicBezTo>
                  <a:lnTo>
                    <a:pt x="9512" y="2353"/>
                  </a:lnTo>
                  <a:cubicBezTo>
                    <a:pt x="9512" y="2353"/>
                    <a:pt x="9545" y="2320"/>
                    <a:pt x="9545" y="2286"/>
                  </a:cubicBezTo>
                  <a:cubicBezTo>
                    <a:pt x="9579" y="2252"/>
                    <a:pt x="9613" y="2219"/>
                    <a:pt x="9613" y="2152"/>
                  </a:cubicBezTo>
                  <a:cubicBezTo>
                    <a:pt x="9613" y="2152"/>
                    <a:pt x="9613" y="2118"/>
                    <a:pt x="9613" y="2118"/>
                  </a:cubicBezTo>
                  <a:cubicBezTo>
                    <a:pt x="9646" y="2084"/>
                    <a:pt x="9646" y="2051"/>
                    <a:pt x="9646" y="2051"/>
                  </a:cubicBezTo>
                  <a:cubicBezTo>
                    <a:pt x="9646" y="1984"/>
                    <a:pt x="9646" y="1950"/>
                    <a:pt x="9680" y="1916"/>
                  </a:cubicBezTo>
                  <a:lnTo>
                    <a:pt x="9680" y="1883"/>
                  </a:lnTo>
                  <a:lnTo>
                    <a:pt x="9680" y="1"/>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93" name="Google Shape;2688;p49"/>
            <p:cNvSpPr/>
            <p:nvPr/>
          </p:nvSpPr>
          <p:spPr>
            <a:xfrm>
              <a:off x="-18225100" y="13356425"/>
              <a:ext cx="322675" cy="210900"/>
            </a:xfrm>
            <a:custGeom>
              <a:avLst/>
              <a:gdLst/>
              <a:ahLst/>
              <a:cxnLst/>
              <a:rect l="l" t="t" r="r" b="b"/>
              <a:pathLst>
                <a:path w="12907" h="8436" extrusionOk="0">
                  <a:moveTo>
                    <a:pt x="1" y="0"/>
                  </a:moveTo>
                  <a:lnTo>
                    <a:pt x="1" y="1916"/>
                  </a:lnTo>
                  <a:cubicBezTo>
                    <a:pt x="1" y="2252"/>
                    <a:pt x="202" y="2588"/>
                    <a:pt x="673" y="2823"/>
                  </a:cubicBezTo>
                  <a:lnTo>
                    <a:pt x="9714" y="8066"/>
                  </a:lnTo>
                  <a:cubicBezTo>
                    <a:pt x="9814" y="8133"/>
                    <a:pt x="9915" y="8167"/>
                    <a:pt x="10050" y="8234"/>
                  </a:cubicBezTo>
                  <a:lnTo>
                    <a:pt x="10117" y="8234"/>
                  </a:lnTo>
                  <a:cubicBezTo>
                    <a:pt x="10184" y="8268"/>
                    <a:pt x="10251" y="8301"/>
                    <a:pt x="10319" y="8301"/>
                  </a:cubicBezTo>
                  <a:cubicBezTo>
                    <a:pt x="10352" y="8335"/>
                    <a:pt x="10386" y="8335"/>
                    <a:pt x="10419" y="8335"/>
                  </a:cubicBezTo>
                  <a:cubicBezTo>
                    <a:pt x="10453" y="8335"/>
                    <a:pt x="10487" y="8335"/>
                    <a:pt x="10487" y="8369"/>
                  </a:cubicBezTo>
                  <a:lnTo>
                    <a:pt x="10554" y="8369"/>
                  </a:lnTo>
                  <a:cubicBezTo>
                    <a:pt x="10621" y="8402"/>
                    <a:pt x="10722" y="8402"/>
                    <a:pt x="10789" y="8402"/>
                  </a:cubicBezTo>
                  <a:lnTo>
                    <a:pt x="10856" y="8402"/>
                  </a:lnTo>
                  <a:cubicBezTo>
                    <a:pt x="10890" y="8436"/>
                    <a:pt x="10890" y="8436"/>
                    <a:pt x="10924" y="8436"/>
                  </a:cubicBezTo>
                  <a:lnTo>
                    <a:pt x="11730" y="8436"/>
                  </a:lnTo>
                  <a:cubicBezTo>
                    <a:pt x="11764" y="8436"/>
                    <a:pt x="11764" y="8402"/>
                    <a:pt x="11797" y="8402"/>
                  </a:cubicBezTo>
                  <a:cubicBezTo>
                    <a:pt x="11865" y="8402"/>
                    <a:pt x="11932" y="8402"/>
                    <a:pt x="11999" y="8369"/>
                  </a:cubicBezTo>
                  <a:lnTo>
                    <a:pt x="12066" y="8369"/>
                  </a:lnTo>
                  <a:cubicBezTo>
                    <a:pt x="12133" y="8335"/>
                    <a:pt x="12234" y="8335"/>
                    <a:pt x="12301" y="8301"/>
                  </a:cubicBezTo>
                  <a:cubicBezTo>
                    <a:pt x="12335" y="8301"/>
                    <a:pt x="12369" y="8301"/>
                    <a:pt x="12436" y="8268"/>
                  </a:cubicBezTo>
                  <a:lnTo>
                    <a:pt x="12470" y="8268"/>
                  </a:lnTo>
                  <a:cubicBezTo>
                    <a:pt x="12638" y="8201"/>
                    <a:pt x="12772" y="8133"/>
                    <a:pt x="12906" y="8066"/>
                  </a:cubicBezTo>
                  <a:lnTo>
                    <a:pt x="12906" y="6184"/>
                  </a:lnTo>
                  <a:cubicBezTo>
                    <a:pt x="12806" y="6251"/>
                    <a:pt x="12638" y="6318"/>
                    <a:pt x="12470" y="6386"/>
                  </a:cubicBezTo>
                  <a:cubicBezTo>
                    <a:pt x="12436" y="6386"/>
                    <a:pt x="12369" y="6419"/>
                    <a:pt x="12301" y="6419"/>
                  </a:cubicBezTo>
                  <a:cubicBezTo>
                    <a:pt x="12234" y="6453"/>
                    <a:pt x="12167" y="6453"/>
                    <a:pt x="12066" y="6487"/>
                  </a:cubicBezTo>
                  <a:cubicBezTo>
                    <a:pt x="11999" y="6487"/>
                    <a:pt x="11898" y="6520"/>
                    <a:pt x="11797" y="6520"/>
                  </a:cubicBezTo>
                  <a:lnTo>
                    <a:pt x="11730" y="6520"/>
                  </a:lnTo>
                  <a:cubicBezTo>
                    <a:pt x="11629" y="6554"/>
                    <a:pt x="11495" y="6554"/>
                    <a:pt x="11360" y="6554"/>
                  </a:cubicBezTo>
                  <a:lnTo>
                    <a:pt x="11293" y="6554"/>
                  </a:lnTo>
                  <a:cubicBezTo>
                    <a:pt x="11159" y="6554"/>
                    <a:pt x="11058" y="6554"/>
                    <a:pt x="10924" y="6520"/>
                  </a:cubicBezTo>
                  <a:lnTo>
                    <a:pt x="10856" y="6520"/>
                  </a:lnTo>
                  <a:cubicBezTo>
                    <a:pt x="10755" y="6520"/>
                    <a:pt x="10621" y="6487"/>
                    <a:pt x="10487" y="6453"/>
                  </a:cubicBezTo>
                  <a:lnTo>
                    <a:pt x="10419" y="6453"/>
                  </a:lnTo>
                  <a:cubicBezTo>
                    <a:pt x="10319" y="6419"/>
                    <a:pt x="10218" y="6386"/>
                    <a:pt x="10117" y="6352"/>
                  </a:cubicBezTo>
                  <a:cubicBezTo>
                    <a:pt x="10117" y="6352"/>
                    <a:pt x="10083" y="6352"/>
                    <a:pt x="10050" y="6318"/>
                  </a:cubicBezTo>
                  <a:cubicBezTo>
                    <a:pt x="9949" y="6285"/>
                    <a:pt x="9814" y="6218"/>
                    <a:pt x="9714" y="6184"/>
                  </a:cubicBezTo>
                  <a:lnTo>
                    <a:pt x="673" y="941"/>
                  </a:lnTo>
                  <a:cubicBezTo>
                    <a:pt x="337" y="739"/>
                    <a:pt x="135" y="504"/>
                    <a:pt x="34" y="269"/>
                  </a:cubicBezTo>
                  <a:cubicBezTo>
                    <a:pt x="1" y="168"/>
                    <a:pt x="1" y="101"/>
                    <a:pt x="1" y="0"/>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94" name="Google Shape;2689;p49"/>
            <p:cNvSpPr/>
            <p:nvPr/>
          </p:nvSpPr>
          <p:spPr>
            <a:xfrm>
              <a:off x="-18230975" y="13193400"/>
              <a:ext cx="575575" cy="327100"/>
            </a:xfrm>
            <a:custGeom>
              <a:avLst/>
              <a:gdLst/>
              <a:ahLst/>
              <a:cxnLst/>
              <a:rect l="l" t="t" r="r" b="b"/>
              <a:pathLst>
                <a:path w="23023" h="13084" extrusionOk="0">
                  <a:moveTo>
                    <a:pt x="11478" y="1"/>
                  </a:moveTo>
                  <a:cubicBezTo>
                    <a:pt x="10898" y="1"/>
                    <a:pt x="10318" y="135"/>
                    <a:pt x="9881" y="404"/>
                  </a:cubicBezTo>
                  <a:lnTo>
                    <a:pt x="874" y="5614"/>
                  </a:lnTo>
                  <a:cubicBezTo>
                    <a:pt x="0" y="6118"/>
                    <a:pt x="0" y="6958"/>
                    <a:pt x="908" y="7462"/>
                  </a:cubicBezTo>
                  <a:lnTo>
                    <a:pt x="9949" y="12705"/>
                  </a:lnTo>
                  <a:cubicBezTo>
                    <a:pt x="10402" y="12957"/>
                    <a:pt x="10982" y="13083"/>
                    <a:pt x="11558" y="13083"/>
                  </a:cubicBezTo>
                  <a:cubicBezTo>
                    <a:pt x="12133" y="13083"/>
                    <a:pt x="12705" y="12957"/>
                    <a:pt x="13141" y="12705"/>
                  </a:cubicBezTo>
                  <a:lnTo>
                    <a:pt x="22149" y="7462"/>
                  </a:lnTo>
                  <a:cubicBezTo>
                    <a:pt x="23022" y="6958"/>
                    <a:pt x="23022" y="6118"/>
                    <a:pt x="22149" y="5614"/>
                  </a:cubicBezTo>
                  <a:lnTo>
                    <a:pt x="13074" y="404"/>
                  </a:lnTo>
                  <a:cubicBezTo>
                    <a:pt x="12637" y="135"/>
                    <a:pt x="12058" y="1"/>
                    <a:pt x="11478"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95" name="Google Shape;2690;p49"/>
            <p:cNvSpPr/>
            <p:nvPr/>
          </p:nvSpPr>
          <p:spPr>
            <a:xfrm>
              <a:off x="-17573075" y="13543775"/>
              <a:ext cx="242000" cy="201675"/>
            </a:xfrm>
            <a:custGeom>
              <a:avLst/>
              <a:gdLst/>
              <a:ahLst/>
              <a:cxnLst/>
              <a:rect l="l" t="t" r="r" b="b"/>
              <a:pathLst>
                <a:path w="9680" h="8067" extrusionOk="0">
                  <a:moveTo>
                    <a:pt x="9679" y="1"/>
                  </a:moveTo>
                  <a:cubicBezTo>
                    <a:pt x="9679" y="102"/>
                    <a:pt x="9646" y="169"/>
                    <a:pt x="9646" y="270"/>
                  </a:cubicBezTo>
                  <a:lnTo>
                    <a:pt x="9612" y="270"/>
                  </a:lnTo>
                  <a:cubicBezTo>
                    <a:pt x="9612" y="337"/>
                    <a:pt x="9578" y="404"/>
                    <a:pt x="9511" y="505"/>
                  </a:cubicBezTo>
                  <a:lnTo>
                    <a:pt x="9511" y="539"/>
                  </a:lnTo>
                  <a:cubicBezTo>
                    <a:pt x="9444" y="606"/>
                    <a:pt x="9377" y="673"/>
                    <a:pt x="9310" y="707"/>
                  </a:cubicBezTo>
                  <a:cubicBezTo>
                    <a:pt x="9276" y="774"/>
                    <a:pt x="9209" y="807"/>
                    <a:pt x="9142" y="841"/>
                  </a:cubicBezTo>
                  <a:cubicBezTo>
                    <a:pt x="9108" y="875"/>
                    <a:pt x="9074" y="908"/>
                    <a:pt x="9007" y="942"/>
                  </a:cubicBezTo>
                  <a:lnTo>
                    <a:pt x="34" y="6185"/>
                  </a:lnTo>
                  <a:lnTo>
                    <a:pt x="0" y="8067"/>
                  </a:lnTo>
                  <a:lnTo>
                    <a:pt x="9007" y="2824"/>
                  </a:lnTo>
                  <a:lnTo>
                    <a:pt x="9041" y="2824"/>
                  </a:lnTo>
                  <a:cubicBezTo>
                    <a:pt x="9074" y="2790"/>
                    <a:pt x="9108" y="2757"/>
                    <a:pt x="9142" y="2723"/>
                  </a:cubicBezTo>
                  <a:cubicBezTo>
                    <a:pt x="9209" y="2689"/>
                    <a:pt x="9276" y="2656"/>
                    <a:pt x="9310" y="2622"/>
                  </a:cubicBezTo>
                  <a:cubicBezTo>
                    <a:pt x="9377" y="2555"/>
                    <a:pt x="9410" y="2488"/>
                    <a:pt x="9478" y="2454"/>
                  </a:cubicBezTo>
                  <a:lnTo>
                    <a:pt x="9478" y="2421"/>
                  </a:lnTo>
                  <a:lnTo>
                    <a:pt x="9511" y="2387"/>
                  </a:lnTo>
                  <a:cubicBezTo>
                    <a:pt x="9545" y="2353"/>
                    <a:pt x="9545" y="2353"/>
                    <a:pt x="9545" y="2320"/>
                  </a:cubicBezTo>
                  <a:cubicBezTo>
                    <a:pt x="9578" y="2286"/>
                    <a:pt x="9612" y="2219"/>
                    <a:pt x="9612" y="2185"/>
                  </a:cubicBezTo>
                  <a:cubicBezTo>
                    <a:pt x="9612" y="2185"/>
                    <a:pt x="9612" y="2185"/>
                    <a:pt x="9612" y="2152"/>
                  </a:cubicBezTo>
                  <a:lnTo>
                    <a:pt x="9646" y="2152"/>
                  </a:lnTo>
                  <a:cubicBezTo>
                    <a:pt x="9646" y="2118"/>
                    <a:pt x="9646" y="2085"/>
                    <a:pt x="9646" y="2051"/>
                  </a:cubicBezTo>
                  <a:cubicBezTo>
                    <a:pt x="9679" y="2017"/>
                    <a:pt x="9679" y="1984"/>
                    <a:pt x="9679" y="1916"/>
                  </a:cubicBezTo>
                  <a:lnTo>
                    <a:pt x="9679" y="1"/>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96" name="Google Shape;2691;p49"/>
            <p:cNvSpPr/>
            <p:nvPr/>
          </p:nvSpPr>
          <p:spPr>
            <a:xfrm>
              <a:off x="-17895725" y="13543775"/>
              <a:ext cx="323500" cy="210925"/>
            </a:xfrm>
            <a:custGeom>
              <a:avLst/>
              <a:gdLst/>
              <a:ahLst/>
              <a:cxnLst/>
              <a:rect l="l" t="t" r="r" b="b"/>
              <a:pathLst>
                <a:path w="12940" h="8437" extrusionOk="0">
                  <a:moveTo>
                    <a:pt x="0" y="1"/>
                  </a:moveTo>
                  <a:lnTo>
                    <a:pt x="0" y="1883"/>
                  </a:lnTo>
                  <a:cubicBezTo>
                    <a:pt x="0" y="2219"/>
                    <a:pt x="202" y="2555"/>
                    <a:pt x="672" y="2824"/>
                  </a:cubicBezTo>
                  <a:lnTo>
                    <a:pt x="9713" y="8033"/>
                  </a:lnTo>
                  <a:cubicBezTo>
                    <a:pt x="9814" y="8100"/>
                    <a:pt x="9915" y="8168"/>
                    <a:pt x="10049" y="8201"/>
                  </a:cubicBezTo>
                  <a:cubicBezTo>
                    <a:pt x="10083" y="8201"/>
                    <a:pt x="10083" y="8235"/>
                    <a:pt x="10117" y="8235"/>
                  </a:cubicBezTo>
                  <a:cubicBezTo>
                    <a:pt x="10184" y="8235"/>
                    <a:pt x="10251" y="8269"/>
                    <a:pt x="10318" y="8302"/>
                  </a:cubicBezTo>
                  <a:cubicBezTo>
                    <a:pt x="10352" y="8302"/>
                    <a:pt x="10385" y="8302"/>
                    <a:pt x="10419" y="8336"/>
                  </a:cubicBezTo>
                  <a:lnTo>
                    <a:pt x="10553" y="8336"/>
                  </a:lnTo>
                  <a:cubicBezTo>
                    <a:pt x="10621" y="8369"/>
                    <a:pt x="10721" y="8369"/>
                    <a:pt x="10789" y="8403"/>
                  </a:cubicBezTo>
                  <a:lnTo>
                    <a:pt x="10990" y="8403"/>
                  </a:lnTo>
                  <a:cubicBezTo>
                    <a:pt x="11091" y="8403"/>
                    <a:pt x="11158" y="8403"/>
                    <a:pt x="11226" y="8437"/>
                  </a:cubicBezTo>
                  <a:lnTo>
                    <a:pt x="11461" y="8437"/>
                  </a:lnTo>
                  <a:cubicBezTo>
                    <a:pt x="11528" y="8403"/>
                    <a:pt x="11629" y="8403"/>
                    <a:pt x="11696" y="8403"/>
                  </a:cubicBezTo>
                  <a:lnTo>
                    <a:pt x="11797" y="8403"/>
                  </a:lnTo>
                  <a:cubicBezTo>
                    <a:pt x="11864" y="8369"/>
                    <a:pt x="11931" y="8369"/>
                    <a:pt x="11999" y="8369"/>
                  </a:cubicBezTo>
                  <a:cubicBezTo>
                    <a:pt x="12032" y="8369"/>
                    <a:pt x="12066" y="8336"/>
                    <a:pt x="12066" y="8336"/>
                  </a:cubicBezTo>
                  <a:cubicBezTo>
                    <a:pt x="12167" y="8336"/>
                    <a:pt x="12234" y="8302"/>
                    <a:pt x="12301" y="8302"/>
                  </a:cubicBezTo>
                  <a:cubicBezTo>
                    <a:pt x="12335" y="8269"/>
                    <a:pt x="12402" y="8269"/>
                    <a:pt x="12436" y="8269"/>
                  </a:cubicBezTo>
                  <a:cubicBezTo>
                    <a:pt x="12436" y="8269"/>
                    <a:pt x="12469" y="8235"/>
                    <a:pt x="12469" y="8235"/>
                  </a:cubicBezTo>
                  <a:cubicBezTo>
                    <a:pt x="12637" y="8168"/>
                    <a:pt x="12772" y="8134"/>
                    <a:pt x="12906" y="8033"/>
                  </a:cubicBezTo>
                  <a:lnTo>
                    <a:pt x="12940" y="6151"/>
                  </a:lnTo>
                  <a:lnTo>
                    <a:pt x="12940" y="6151"/>
                  </a:lnTo>
                  <a:cubicBezTo>
                    <a:pt x="12805" y="6252"/>
                    <a:pt x="12637" y="6319"/>
                    <a:pt x="12469" y="6353"/>
                  </a:cubicBezTo>
                  <a:cubicBezTo>
                    <a:pt x="12436" y="6386"/>
                    <a:pt x="12368" y="6386"/>
                    <a:pt x="12301" y="6420"/>
                  </a:cubicBezTo>
                  <a:cubicBezTo>
                    <a:pt x="12234" y="6420"/>
                    <a:pt x="12167" y="6454"/>
                    <a:pt x="12099" y="6454"/>
                  </a:cubicBezTo>
                  <a:cubicBezTo>
                    <a:pt x="11999" y="6487"/>
                    <a:pt x="11898" y="6487"/>
                    <a:pt x="11797" y="6521"/>
                  </a:cubicBezTo>
                  <a:lnTo>
                    <a:pt x="11730" y="6521"/>
                  </a:lnTo>
                  <a:cubicBezTo>
                    <a:pt x="11629" y="6521"/>
                    <a:pt x="11494" y="6554"/>
                    <a:pt x="11360" y="6554"/>
                  </a:cubicBezTo>
                  <a:lnTo>
                    <a:pt x="11293" y="6554"/>
                  </a:lnTo>
                  <a:cubicBezTo>
                    <a:pt x="11192" y="6554"/>
                    <a:pt x="11058" y="6521"/>
                    <a:pt x="10923" y="6521"/>
                  </a:cubicBezTo>
                  <a:lnTo>
                    <a:pt x="10856" y="6521"/>
                  </a:lnTo>
                  <a:cubicBezTo>
                    <a:pt x="10755" y="6487"/>
                    <a:pt x="10621" y="6487"/>
                    <a:pt x="10520" y="6454"/>
                  </a:cubicBezTo>
                  <a:cubicBezTo>
                    <a:pt x="10486" y="6454"/>
                    <a:pt x="10453" y="6454"/>
                    <a:pt x="10453" y="6420"/>
                  </a:cubicBezTo>
                  <a:cubicBezTo>
                    <a:pt x="10318" y="6420"/>
                    <a:pt x="10217" y="6386"/>
                    <a:pt x="10117" y="6353"/>
                  </a:cubicBezTo>
                  <a:cubicBezTo>
                    <a:pt x="10117" y="6319"/>
                    <a:pt x="10083" y="6319"/>
                    <a:pt x="10083" y="6319"/>
                  </a:cubicBezTo>
                  <a:cubicBezTo>
                    <a:pt x="9948" y="6286"/>
                    <a:pt x="9814" y="6218"/>
                    <a:pt x="9713" y="6151"/>
                  </a:cubicBezTo>
                  <a:lnTo>
                    <a:pt x="672" y="942"/>
                  </a:lnTo>
                  <a:cubicBezTo>
                    <a:pt x="336" y="740"/>
                    <a:pt x="135" y="505"/>
                    <a:pt x="34" y="236"/>
                  </a:cubicBezTo>
                  <a:cubicBezTo>
                    <a:pt x="0" y="169"/>
                    <a:pt x="0" y="68"/>
                    <a:pt x="0" y="1"/>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97" name="Google Shape;2692;p49"/>
            <p:cNvSpPr/>
            <p:nvPr/>
          </p:nvSpPr>
          <p:spPr>
            <a:xfrm>
              <a:off x="-17901600" y="13380575"/>
              <a:ext cx="576400" cy="327075"/>
            </a:xfrm>
            <a:custGeom>
              <a:avLst/>
              <a:gdLst/>
              <a:ahLst/>
              <a:cxnLst/>
              <a:rect l="l" t="t" r="r" b="b"/>
              <a:pathLst>
                <a:path w="23056" h="13083" extrusionOk="0">
                  <a:moveTo>
                    <a:pt x="11482" y="0"/>
                  </a:moveTo>
                  <a:cubicBezTo>
                    <a:pt x="10898" y="0"/>
                    <a:pt x="10318" y="126"/>
                    <a:pt x="9881" y="378"/>
                  </a:cubicBezTo>
                  <a:lnTo>
                    <a:pt x="907" y="5621"/>
                  </a:lnTo>
                  <a:cubicBezTo>
                    <a:pt x="0" y="6125"/>
                    <a:pt x="34" y="6966"/>
                    <a:pt x="907" y="7470"/>
                  </a:cubicBezTo>
                  <a:lnTo>
                    <a:pt x="9948" y="12679"/>
                  </a:lnTo>
                  <a:cubicBezTo>
                    <a:pt x="10402" y="12948"/>
                    <a:pt x="10990" y="13082"/>
                    <a:pt x="11574" y="13082"/>
                  </a:cubicBezTo>
                  <a:cubicBezTo>
                    <a:pt x="12158" y="13082"/>
                    <a:pt x="12738" y="12948"/>
                    <a:pt x="13175" y="12679"/>
                  </a:cubicBezTo>
                  <a:lnTo>
                    <a:pt x="22148" y="7470"/>
                  </a:lnTo>
                  <a:cubicBezTo>
                    <a:pt x="23056" y="6966"/>
                    <a:pt x="23022" y="6125"/>
                    <a:pt x="22148" y="5621"/>
                  </a:cubicBezTo>
                  <a:lnTo>
                    <a:pt x="13107" y="378"/>
                  </a:lnTo>
                  <a:cubicBezTo>
                    <a:pt x="12654" y="126"/>
                    <a:pt x="12066" y="0"/>
                    <a:pt x="11482"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98" name="Google Shape;2693;p49"/>
            <p:cNvSpPr/>
            <p:nvPr/>
          </p:nvSpPr>
          <p:spPr>
            <a:xfrm>
              <a:off x="-20928075" y="12001975"/>
              <a:ext cx="242025" cy="200850"/>
            </a:xfrm>
            <a:custGeom>
              <a:avLst/>
              <a:gdLst/>
              <a:ahLst/>
              <a:cxnLst/>
              <a:rect l="l" t="t" r="r" b="b"/>
              <a:pathLst>
                <a:path w="9681" h="8034" extrusionOk="0">
                  <a:moveTo>
                    <a:pt x="9680" y="1"/>
                  </a:moveTo>
                  <a:lnTo>
                    <a:pt x="9680" y="1"/>
                  </a:lnTo>
                  <a:cubicBezTo>
                    <a:pt x="9646" y="68"/>
                    <a:pt x="9646" y="169"/>
                    <a:pt x="9613" y="236"/>
                  </a:cubicBezTo>
                  <a:cubicBezTo>
                    <a:pt x="9579" y="337"/>
                    <a:pt x="9546" y="404"/>
                    <a:pt x="9512" y="471"/>
                  </a:cubicBezTo>
                  <a:lnTo>
                    <a:pt x="9478" y="505"/>
                  </a:lnTo>
                  <a:cubicBezTo>
                    <a:pt x="9445" y="572"/>
                    <a:pt x="9378" y="639"/>
                    <a:pt x="9310" y="707"/>
                  </a:cubicBezTo>
                  <a:cubicBezTo>
                    <a:pt x="9243" y="740"/>
                    <a:pt x="9210" y="774"/>
                    <a:pt x="9142" y="807"/>
                  </a:cubicBezTo>
                  <a:cubicBezTo>
                    <a:pt x="9075" y="841"/>
                    <a:pt x="9042" y="875"/>
                    <a:pt x="9008" y="908"/>
                  </a:cubicBezTo>
                  <a:lnTo>
                    <a:pt x="1" y="6151"/>
                  </a:lnTo>
                  <a:lnTo>
                    <a:pt x="1" y="8033"/>
                  </a:lnTo>
                  <a:lnTo>
                    <a:pt x="9008" y="2824"/>
                  </a:lnTo>
                  <a:cubicBezTo>
                    <a:pt x="9008" y="2790"/>
                    <a:pt x="9008" y="2790"/>
                    <a:pt x="9008" y="2790"/>
                  </a:cubicBezTo>
                  <a:cubicBezTo>
                    <a:pt x="9075" y="2757"/>
                    <a:pt x="9109" y="2723"/>
                    <a:pt x="9142" y="2723"/>
                  </a:cubicBezTo>
                  <a:cubicBezTo>
                    <a:pt x="9176" y="2656"/>
                    <a:pt x="9243" y="2622"/>
                    <a:pt x="9310" y="2589"/>
                  </a:cubicBezTo>
                  <a:cubicBezTo>
                    <a:pt x="9378" y="2522"/>
                    <a:pt x="9411" y="2488"/>
                    <a:pt x="9445" y="2421"/>
                  </a:cubicBezTo>
                  <a:cubicBezTo>
                    <a:pt x="9478" y="2421"/>
                    <a:pt x="9478" y="2421"/>
                    <a:pt x="9478" y="2387"/>
                  </a:cubicBezTo>
                  <a:lnTo>
                    <a:pt x="9512" y="2353"/>
                  </a:lnTo>
                  <a:cubicBezTo>
                    <a:pt x="9512" y="2353"/>
                    <a:pt x="9546" y="2320"/>
                    <a:pt x="9546" y="2286"/>
                  </a:cubicBezTo>
                  <a:cubicBezTo>
                    <a:pt x="9579" y="2253"/>
                    <a:pt x="9579" y="2219"/>
                    <a:pt x="9613" y="2152"/>
                  </a:cubicBezTo>
                  <a:cubicBezTo>
                    <a:pt x="9613" y="2152"/>
                    <a:pt x="9613" y="2118"/>
                    <a:pt x="9613" y="2118"/>
                  </a:cubicBezTo>
                  <a:cubicBezTo>
                    <a:pt x="9613" y="2085"/>
                    <a:pt x="9646" y="2051"/>
                    <a:pt x="9646" y="2051"/>
                  </a:cubicBezTo>
                  <a:cubicBezTo>
                    <a:pt x="9646" y="1984"/>
                    <a:pt x="9646" y="1950"/>
                    <a:pt x="9646" y="1917"/>
                  </a:cubicBezTo>
                  <a:lnTo>
                    <a:pt x="9646" y="1883"/>
                  </a:lnTo>
                  <a:lnTo>
                    <a:pt x="9680" y="1"/>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99" name="Google Shape;2694;p49"/>
            <p:cNvSpPr/>
            <p:nvPr/>
          </p:nvSpPr>
          <p:spPr>
            <a:xfrm>
              <a:off x="-21250700" y="12001150"/>
              <a:ext cx="322650" cy="210925"/>
            </a:xfrm>
            <a:custGeom>
              <a:avLst/>
              <a:gdLst/>
              <a:ahLst/>
              <a:cxnLst/>
              <a:rect l="l" t="t" r="r" b="b"/>
              <a:pathLst>
                <a:path w="12906" h="8437" extrusionOk="0">
                  <a:moveTo>
                    <a:pt x="0" y="0"/>
                  </a:moveTo>
                  <a:lnTo>
                    <a:pt x="0" y="1916"/>
                  </a:lnTo>
                  <a:cubicBezTo>
                    <a:pt x="0" y="2252"/>
                    <a:pt x="202" y="2588"/>
                    <a:pt x="672" y="2823"/>
                  </a:cubicBezTo>
                  <a:lnTo>
                    <a:pt x="9713" y="8066"/>
                  </a:lnTo>
                  <a:cubicBezTo>
                    <a:pt x="9814" y="8134"/>
                    <a:pt x="9915" y="8167"/>
                    <a:pt x="10049" y="8201"/>
                  </a:cubicBezTo>
                  <a:cubicBezTo>
                    <a:pt x="10049" y="8234"/>
                    <a:pt x="10049" y="8234"/>
                    <a:pt x="10049" y="8234"/>
                  </a:cubicBezTo>
                  <a:lnTo>
                    <a:pt x="10116" y="8234"/>
                  </a:lnTo>
                  <a:cubicBezTo>
                    <a:pt x="10184" y="8268"/>
                    <a:pt x="10251" y="8302"/>
                    <a:pt x="10318" y="8302"/>
                  </a:cubicBezTo>
                  <a:cubicBezTo>
                    <a:pt x="10352" y="8302"/>
                    <a:pt x="10385" y="8335"/>
                    <a:pt x="10419" y="8335"/>
                  </a:cubicBezTo>
                  <a:lnTo>
                    <a:pt x="10486" y="8335"/>
                  </a:lnTo>
                  <a:cubicBezTo>
                    <a:pt x="10520" y="8369"/>
                    <a:pt x="10520" y="8369"/>
                    <a:pt x="10553" y="8369"/>
                  </a:cubicBezTo>
                  <a:cubicBezTo>
                    <a:pt x="10620" y="8369"/>
                    <a:pt x="10721" y="8402"/>
                    <a:pt x="10788" y="8402"/>
                  </a:cubicBezTo>
                  <a:lnTo>
                    <a:pt x="10923" y="8402"/>
                  </a:lnTo>
                  <a:cubicBezTo>
                    <a:pt x="10957" y="8402"/>
                    <a:pt x="10957" y="8436"/>
                    <a:pt x="10990" y="8436"/>
                  </a:cubicBezTo>
                  <a:lnTo>
                    <a:pt x="11461" y="8436"/>
                  </a:lnTo>
                  <a:cubicBezTo>
                    <a:pt x="11528" y="8436"/>
                    <a:pt x="11629" y="8436"/>
                    <a:pt x="11696" y="8402"/>
                  </a:cubicBezTo>
                  <a:lnTo>
                    <a:pt x="11797" y="8402"/>
                  </a:lnTo>
                  <a:cubicBezTo>
                    <a:pt x="11864" y="8402"/>
                    <a:pt x="11931" y="8402"/>
                    <a:pt x="11998" y="8369"/>
                  </a:cubicBezTo>
                  <a:lnTo>
                    <a:pt x="12066" y="8369"/>
                  </a:lnTo>
                  <a:cubicBezTo>
                    <a:pt x="12133" y="8335"/>
                    <a:pt x="12234" y="8335"/>
                    <a:pt x="12301" y="8302"/>
                  </a:cubicBezTo>
                  <a:cubicBezTo>
                    <a:pt x="12334" y="8302"/>
                    <a:pt x="12368" y="8268"/>
                    <a:pt x="12402" y="8268"/>
                  </a:cubicBezTo>
                  <a:cubicBezTo>
                    <a:pt x="12435" y="8268"/>
                    <a:pt x="12435" y="8268"/>
                    <a:pt x="12469" y="8234"/>
                  </a:cubicBezTo>
                  <a:cubicBezTo>
                    <a:pt x="12637" y="8201"/>
                    <a:pt x="12771" y="8134"/>
                    <a:pt x="12906" y="8066"/>
                  </a:cubicBezTo>
                  <a:lnTo>
                    <a:pt x="12906" y="6151"/>
                  </a:lnTo>
                  <a:cubicBezTo>
                    <a:pt x="12771" y="6251"/>
                    <a:pt x="12637" y="6319"/>
                    <a:pt x="12469" y="6386"/>
                  </a:cubicBezTo>
                  <a:cubicBezTo>
                    <a:pt x="12435" y="6386"/>
                    <a:pt x="12368" y="6420"/>
                    <a:pt x="12301" y="6420"/>
                  </a:cubicBezTo>
                  <a:cubicBezTo>
                    <a:pt x="12234" y="6453"/>
                    <a:pt x="12166" y="6453"/>
                    <a:pt x="12066" y="6487"/>
                  </a:cubicBezTo>
                  <a:cubicBezTo>
                    <a:pt x="11998" y="6487"/>
                    <a:pt x="11898" y="6520"/>
                    <a:pt x="11797" y="6520"/>
                  </a:cubicBezTo>
                  <a:lnTo>
                    <a:pt x="11730" y="6520"/>
                  </a:lnTo>
                  <a:cubicBezTo>
                    <a:pt x="11595" y="6554"/>
                    <a:pt x="11494" y="6554"/>
                    <a:pt x="11360" y="6554"/>
                  </a:cubicBezTo>
                  <a:lnTo>
                    <a:pt x="11293" y="6554"/>
                  </a:lnTo>
                  <a:cubicBezTo>
                    <a:pt x="11158" y="6554"/>
                    <a:pt x="11057" y="6554"/>
                    <a:pt x="10923" y="6520"/>
                  </a:cubicBezTo>
                  <a:lnTo>
                    <a:pt x="10856" y="6520"/>
                  </a:lnTo>
                  <a:cubicBezTo>
                    <a:pt x="10755" y="6520"/>
                    <a:pt x="10620" y="6487"/>
                    <a:pt x="10486" y="6453"/>
                  </a:cubicBezTo>
                  <a:lnTo>
                    <a:pt x="10419" y="6453"/>
                  </a:lnTo>
                  <a:cubicBezTo>
                    <a:pt x="10318" y="6420"/>
                    <a:pt x="10217" y="6386"/>
                    <a:pt x="10116" y="6352"/>
                  </a:cubicBezTo>
                  <a:lnTo>
                    <a:pt x="10049" y="6352"/>
                  </a:lnTo>
                  <a:cubicBezTo>
                    <a:pt x="9948" y="6285"/>
                    <a:pt x="9814" y="6218"/>
                    <a:pt x="9713" y="6184"/>
                  </a:cubicBezTo>
                  <a:lnTo>
                    <a:pt x="672" y="941"/>
                  </a:lnTo>
                  <a:cubicBezTo>
                    <a:pt x="336" y="740"/>
                    <a:pt x="135" y="504"/>
                    <a:pt x="34" y="269"/>
                  </a:cubicBezTo>
                  <a:cubicBezTo>
                    <a:pt x="0" y="168"/>
                    <a:pt x="0" y="101"/>
                    <a:pt x="0" y="0"/>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00" name="Google Shape;2695;p49"/>
            <p:cNvSpPr/>
            <p:nvPr/>
          </p:nvSpPr>
          <p:spPr>
            <a:xfrm>
              <a:off x="-21256600" y="11838150"/>
              <a:ext cx="575575" cy="327075"/>
            </a:xfrm>
            <a:custGeom>
              <a:avLst/>
              <a:gdLst/>
              <a:ahLst/>
              <a:cxnLst/>
              <a:rect l="l" t="t" r="r" b="b"/>
              <a:pathLst>
                <a:path w="23023" h="13083" extrusionOk="0">
                  <a:moveTo>
                    <a:pt x="11478" y="0"/>
                  </a:moveTo>
                  <a:cubicBezTo>
                    <a:pt x="10898" y="0"/>
                    <a:pt x="10319" y="135"/>
                    <a:pt x="9882" y="403"/>
                  </a:cubicBezTo>
                  <a:lnTo>
                    <a:pt x="875" y="5613"/>
                  </a:lnTo>
                  <a:cubicBezTo>
                    <a:pt x="1" y="6117"/>
                    <a:pt x="1" y="6957"/>
                    <a:pt x="908" y="7461"/>
                  </a:cubicBezTo>
                  <a:lnTo>
                    <a:pt x="9949" y="12704"/>
                  </a:lnTo>
                  <a:cubicBezTo>
                    <a:pt x="10386" y="12956"/>
                    <a:pt x="10966" y="13082"/>
                    <a:pt x="11545" y="13082"/>
                  </a:cubicBezTo>
                  <a:cubicBezTo>
                    <a:pt x="12125" y="13082"/>
                    <a:pt x="12705" y="12956"/>
                    <a:pt x="13142" y="12704"/>
                  </a:cubicBezTo>
                  <a:lnTo>
                    <a:pt x="22149" y="7461"/>
                  </a:lnTo>
                  <a:cubicBezTo>
                    <a:pt x="23023" y="6957"/>
                    <a:pt x="23023" y="6117"/>
                    <a:pt x="22149" y="5613"/>
                  </a:cubicBezTo>
                  <a:lnTo>
                    <a:pt x="13075" y="403"/>
                  </a:lnTo>
                  <a:cubicBezTo>
                    <a:pt x="12638" y="135"/>
                    <a:pt x="12058" y="0"/>
                    <a:pt x="11478"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01" name="Google Shape;2696;p49"/>
            <p:cNvSpPr/>
            <p:nvPr/>
          </p:nvSpPr>
          <p:spPr>
            <a:xfrm>
              <a:off x="-20598700" y="12203625"/>
              <a:ext cx="242000" cy="200850"/>
            </a:xfrm>
            <a:custGeom>
              <a:avLst/>
              <a:gdLst/>
              <a:ahLst/>
              <a:cxnLst/>
              <a:rect l="l" t="t" r="r" b="b"/>
              <a:pathLst>
                <a:path w="9680" h="8034" extrusionOk="0">
                  <a:moveTo>
                    <a:pt x="9680" y="1"/>
                  </a:moveTo>
                  <a:cubicBezTo>
                    <a:pt x="9680" y="68"/>
                    <a:pt x="9646" y="169"/>
                    <a:pt x="9646" y="236"/>
                  </a:cubicBezTo>
                  <a:lnTo>
                    <a:pt x="9612" y="236"/>
                  </a:lnTo>
                  <a:cubicBezTo>
                    <a:pt x="9612" y="337"/>
                    <a:pt x="9545" y="404"/>
                    <a:pt x="9512" y="471"/>
                  </a:cubicBezTo>
                  <a:lnTo>
                    <a:pt x="9478" y="505"/>
                  </a:lnTo>
                  <a:cubicBezTo>
                    <a:pt x="9444" y="572"/>
                    <a:pt x="9377" y="640"/>
                    <a:pt x="9310" y="707"/>
                  </a:cubicBezTo>
                  <a:cubicBezTo>
                    <a:pt x="9276" y="740"/>
                    <a:pt x="9209" y="774"/>
                    <a:pt x="9142" y="808"/>
                  </a:cubicBezTo>
                  <a:cubicBezTo>
                    <a:pt x="9108" y="841"/>
                    <a:pt x="9041" y="875"/>
                    <a:pt x="9008" y="908"/>
                  </a:cubicBezTo>
                  <a:lnTo>
                    <a:pt x="0" y="6151"/>
                  </a:lnTo>
                  <a:lnTo>
                    <a:pt x="0" y="8033"/>
                  </a:lnTo>
                  <a:lnTo>
                    <a:pt x="9008" y="2790"/>
                  </a:lnTo>
                  <a:lnTo>
                    <a:pt x="9041" y="2790"/>
                  </a:lnTo>
                  <a:cubicBezTo>
                    <a:pt x="9075" y="2757"/>
                    <a:pt x="9108" y="2723"/>
                    <a:pt x="9142" y="2690"/>
                  </a:cubicBezTo>
                  <a:cubicBezTo>
                    <a:pt x="9209" y="2656"/>
                    <a:pt x="9243" y="2622"/>
                    <a:pt x="9310" y="2589"/>
                  </a:cubicBezTo>
                  <a:cubicBezTo>
                    <a:pt x="9377" y="2522"/>
                    <a:pt x="9411" y="2488"/>
                    <a:pt x="9478" y="2421"/>
                  </a:cubicBezTo>
                  <a:cubicBezTo>
                    <a:pt x="9478" y="2421"/>
                    <a:pt x="9478" y="2387"/>
                    <a:pt x="9478" y="2387"/>
                  </a:cubicBezTo>
                  <a:lnTo>
                    <a:pt x="9512" y="2354"/>
                  </a:lnTo>
                  <a:cubicBezTo>
                    <a:pt x="9512" y="2320"/>
                    <a:pt x="9545" y="2320"/>
                    <a:pt x="9545" y="2286"/>
                  </a:cubicBezTo>
                  <a:cubicBezTo>
                    <a:pt x="9579" y="2253"/>
                    <a:pt x="9612" y="2219"/>
                    <a:pt x="9612" y="2152"/>
                  </a:cubicBezTo>
                  <a:cubicBezTo>
                    <a:pt x="9612" y="2118"/>
                    <a:pt x="9612" y="2118"/>
                    <a:pt x="9612" y="2118"/>
                  </a:cubicBezTo>
                  <a:cubicBezTo>
                    <a:pt x="9646" y="2085"/>
                    <a:pt x="9646" y="2051"/>
                    <a:pt x="9646" y="2017"/>
                  </a:cubicBezTo>
                  <a:cubicBezTo>
                    <a:pt x="9646" y="1984"/>
                    <a:pt x="9680" y="1950"/>
                    <a:pt x="9680" y="1917"/>
                  </a:cubicBezTo>
                  <a:lnTo>
                    <a:pt x="9680" y="1883"/>
                  </a:lnTo>
                  <a:lnTo>
                    <a:pt x="9680" y="1"/>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02" name="Google Shape;2697;p49"/>
            <p:cNvSpPr/>
            <p:nvPr/>
          </p:nvSpPr>
          <p:spPr>
            <a:xfrm>
              <a:off x="-20921350" y="12202800"/>
              <a:ext cx="323500" cy="210925"/>
            </a:xfrm>
            <a:custGeom>
              <a:avLst/>
              <a:gdLst/>
              <a:ahLst/>
              <a:cxnLst/>
              <a:rect l="l" t="t" r="r" b="b"/>
              <a:pathLst>
                <a:path w="12940" h="8437" extrusionOk="0">
                  <a:moveTo>
                    <a:pt x="1" y="0"/>
                  </a:moveTo>
                  <a:lnTo>
                    <a:pt x="1" y="1916"/>
                  </a:lnTo>
                  <a:cubicBezTo>
                    <a:pt x="1" y="2252"/>
                    <a:pt x="236" y="2588"/>
                    <a:pt x="673" y="2823"/>
                  </a:cubicBezTo>
                  <a:lnTo>
                    <a:pt x="9714" y="8066"/>
                  </a:lnTo>
                  <a:cubicBezTo>
                    <a:pt x="9814" y="8134"/>
                    <a:pt x="9949" y="8167"/>
                    <a:pt x="10050" y="8234"/>
                  </a:cubicBezTo>
                  <a:lnTo>
                    <a:pt x="10117" y="8234"/>
                  </a:lnTo>
                  <a:cubicBezTo>
                    <a:pt x="10184" y="8268"/>
                    <a:pt x="10251" y="8302"/>
                    <a:pt x="10319" y="8302"/>
                  </a:cubicBezTo>
                  <a:cubicBezTo>
                    <a:pt x="10352" y="8302"/>
                    <a:pt x="10386" y="8335"/>
                    <a:pt x="10453" y="8335"/>
                  </a:cubicBezTo>
                  <a:cubicBezTo>
                    <a:pt x="10453" y="8335"/>
                    <a:pt x="10487" y="8335"/>
                    <a:pt x="10520" y="8369"/>
                  </a:cubicBezTo>
                  <a:lnTo>
                    <a:pt x="10554" y="8369"/>
                  </a:lnTo>
                  <a:cubicBezTo>
                    <a:pt x="10621" y="8369"/>
                    <a:pt x="10722" y="8403"/>
                    <a:pt x="10789" y="8403"/>
                  </a:cubicBezTo>
                  <a:lnTo>
                    <a:pt x="10856" y="8403"/>
                  </a:lnTo>
                  <a:cubicBezTo>
                    <a:pt x="10890" y="8403"/>
                    <a:pt x="10923" y="8403"/>
                    <a:pt x="10923" y="8436"/>
                  </a:cubicBezTo>
                  <a:lnTo>
                    <a:pt x="11730" y="8436"/>
                  </a:lnTo>
                  <a:cubicBezTo>
                    <a:pt x="11764" y="8403"/>
                    <a:pt x="11764" y="8403"/>
                    <a:pt x="11797" y="8403"/>
                  </a:cubicBezTo>
                  <a:cubicBezTo>
                    <a:pt x="11865" y="8403"/>
                    <a:pt x="11932" y="8403"/>
                    <a:pt x="11999" y="8369"/>
                  </a:cubicBezTo>
                  <a:lnTo>
                    <a:pt x="12066" y="8369"/>
                  </a:lnTo>
                  <a:cubicBezTo>
                    <a:pt x="12167" y="8335"/>
                    <a:pt x="12234" y="8335"/>
                    <a:pt x="12301" y="8302"/>
                  </a:cubicBezTo>
                  <a:cubicBezTo>
                    <a:pt x="12335" y="8302"/>
                    <a:pt x="12402" y="8302"/>
                    <a:pt x="12436" y="8268"/>
                  </a:cubicBezTo>
                  <a:lnTo>
                    <a:pt x="12469" y="8268"/>
                  </a:lnTo>
                  <a:cubicBezTo>
                    <a:pt x="12638" y="8201"/>
                    <a:pt x="12772" y="8134"/>
                    <a:pt x="12906" y="8066"/>
                  </a:cubicBezTo>
                  <a:lnTo>
                    <a:pt x="12940" y="6184"/>
                  </a:lnTo>
                  <a:lnTo>
                    <a:pt x="12940" y="6184"/>
                  </a:lnTo>
                  <a:cubicBezTo>
                    <a:pt x="12806" y="6252"/>
                    <a:pt x="12638" y="6319"/>
                    <a:pt x="12469" y="6386"/>
                  </a:cubicBezTo>
                  <a:cubicBezTo>
                    <a:pt x="12436" y="6386"/>
                    <a:pt x="12369" y="6420"/>
                    <a:pt x="12301" y="6420"/>
                  </a:cubicBezTo>
                  <a:cubicBezTo>
                    <a:pt x="12234" y="6453"/>
                    <a:pt x="12167" y="6453"/>
                    <a:pt x="12100" y="6487"/>
                  </a:cubicBezTo>
                  <a:cubicBezTo>
                    <a:pt x="11999" y="6487"/>
                    <a:pt x="11898" y="6520"/>
                    <a:pt x="11797" y="6520"/>
                  </a:cubicBezTo>
                  <a:lnTo>
                    <a:pt x="11764" y="6520"/>
                  </a:lnTo>
                  <a:cubicBezTo>
                    <a:pt x="11629" y="6554"/>
                    <a:pt x="11495" y="6554"/>
                    <a:pt x="11360" y="6554"/>
                  </a:cubicBezTo>
                  <a:lnTo>
                    <a:pt x="11293" y="6554"/>
                  </a:lnTo>
                  <a:cubicBezTo>
                    <a:pt x="11192" y="6554"/>
                    <a:pt x="11058" y="6554"/>
                    <a:pt x="10923" y="6520"/>
                  </a:cubicBezTo>
                  <a:lnTo>
                    <a:pt x="10890" y="6520"/>
                  </a:lnTo>
                  <a:cubicBezTo>
                    <a:pt x="10755" y="6520"/>
                    <a:pt x="10621" y="6487"/>
                    <a:pt x="10520" y="6453"/>
                  </a:cubicBezTo>
                  <a:lnTo>
                    <a:pt x="10453" y="6453"/>
                  </a:lnTo>
                  <a:cubicBezTo>
                    <a:pt x="10319" y="6420"/>
                    <a:pt x="10218" y="6386"/>
                    <a:pt x="10117" y="6352"/>
                  </a:cubicBezTo>
                  <a:cubicBezTo>
                    <a:pt x="10117" y="6352"/>
                    <a:pt x="10083" y="6352"/>
                    <a:pt x="10083" y="6319"/>
                  </a:cubicBezTo>
                  <a:cubicBezTo>
                    <a:pt x="9949" y="6285"/>
                    <a:pt x="9848" y="6218"/>
                    <a:pt x="9714" y="6184"/>
                  </a:cubicBezTo>
                  <a:lnTo>
                    <a:pt x="673" y="941"/>
                  </a:lnTo>
                  <a:cubicBezTo>
                    <a:pt x="337" y="740"/>
                    <a:pt x="135" y="504"/>
                    <a:pt x="34" y="269"/>
                  </a:cubicBezTo>
                  <a:cubicBezTo>
                    <a:pt x="1" y="168"/>
                    <a:pt x="1" y="101"/>
                    <a:pt x="1" y="0"/>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03" name="Google Shape;2698;p49"/>
            <p:cNvSpPr/>
            <p:nvPr/>
          </p:nvSpPr>
          <p:spPr>
            <a:xfrm>
              <a:off x="-20927225" y="12039800"/>
              <a:ext cx="575575" cy="327075"/>
            </a:xfrm>
            <a:custGeom>
              <a:avLst/>
              <a:gdLst/>
              <a:ahLst/>
              <a:cxnLst/>
              <a:rect l="l" t="t" r="r" b="b"/>
              <a:pathLst>
                <a:path w="23023" h="13083" extrusionOk="0">
                  <a:moveTo>
                    <a:pt x="11495" y="0"/>
                  </a:moveTo>
                  <a:cubicBezTo>
                    <a:pt x="10915" y="0"/>
                    <a:pt x="10335" y="135"/>
                    <a:pt x="9881" y="404"/>
                  </a:cubicBezTo>
                  <a:lnTo>
                    <a:pt x="908" y="5613"/>
                  </a:lnTo>
                  <a:cubicBezTo>
                    <a:pt x="0" y="6117"/>
                    <a:pt x="34" y="6957"/>
                    <a:pt x="908" y="7461"/>
                  </a:cubicBezTo>
                  <a:lnTo>
                    <a:pt x="9949" y="12704"/>
                  </a:lnTo>
                  <a:cubicBezTo>
                    <a:pt x="10402" y="12956"/>
                    <a:pt x="10990" y="13082"/>
                    <a:pt x="11574" y="13082"/>
                  </a:cubicBezTo>
                  <a:cubicBezTo>
                    <a:pt x="12158" y="13082"/>
                    <a:pt x="12738" y="12956"/>
                    <a:pt x="13175" y="12704"/>
                  </a:cubicBezTo>
                  <a:lnTo>
                    <a:pt x="22149" y="7461"/>
                  </a:lnTo>
                  <a:cubicBezTo>
                    <a:pt x="23022" y="6957"/>
                    <a:pt x="23022" y="6117"/>
                    <a:pt x="22149" y="5613"/>
                  </a:cubicBezTo>
                  <a:lnTo>
                    <a:pt x="13108" y="404"/>
                  </a:lnTo>
                  <a:cubicBezTo>
                    <a:pt x="12654" y="135"/>
                    <a:pt x="12074" y="0"/>
                    <a:pt x="11495"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04" name="Google Shape;2699;p49"/>
            <p:cNvSpPr/>
            <p:nvPr/>
          </p:nvSpPr>
          <p:spPr>
            <a:xfrm>
              <a:off x="-20264300" y="12390175"/>
              <a:ext cx="242000" cy="201675"/>
            </a:xfrm>
            <a:custGeom>
              <a:avLst/>
              <a:gdLst/>
              <a:ahLst/>
              <a:cxnLst/>
              <a:rect l="l" t="t" r="r" b="b"/>
              <a:pathLst>
                <a:path w="9680" h="8067" extrusionOk="0">
                  <a:moveTo>
                    <a:pt x="9680" y="0"/>
                  </a:moveTo>
                  <a:cubicBezTo>
                    <a:pt x="9680" y="101"/>
                    <a:pt x="9646" y="168"/>
                    <a:pt x="9646" y="269"/>
                  </a:cubicBezTo>
                  <a:lnTo>
                    <a:pt x="9613" y="269"/>
                  </a:lnTo>
                  <a:cubicBezTo>
                    <a:pt x="9613" y="336"/>
                    <a:pt x="9545" y="437"/>
                    <a:pt x="9512" y="504"/>
                  </a:cubicBezTo>
                  <a:lnTo>
                    <a:pt x="9478" y="538"/>
                  </a:lnTo>
                  <a:cubicBezTo>
                    <a:pt x="9445" y="605"/>
                    <a:pt x="9377" y="672"/>
                    <a:pt x="9310" y="739"/>
                  </a:cubicBezTo>
                  <a:cubicBezTo>
                    <a:pt x="9277" y="773"/>
                    <a:pt x="9209" y="807"/>
                    <a:pt x="9142" y="840"/>
                  </a:cubicBezTo>
                  <a:cubicBezTo>
                    <a:pt x="9109" y="874"/>
                    <a:pt x="9075" y="908"/>
                    <a:pt x="9008" y="941"/>
                  </a:cubicBezTo>
                  <a:lnTo>
                    <a:pt x="1" y="6184"/>
                  </a:lnTo>
                  <a:lnTo>
                    <a:pt x="1" y="8066"/>
                  </a:lnTo>
                  <a:lnTo>
                    <a:pt x="9008" y="2823"/>
                  </a:lnTo>
                  <a:lnTo>
                    <a:pt x="9041" y="2823"/>
                  </a:lnTo>
                  <a:cubicBezTo>
                    <a:pt x="9075" y="2790"/>
                    <a:pt x="9109" y="2756"/>
                    <a:pt x="9142" y="2722"/>
                  </a:cubicBezTo>
                  <a:cubicBezTo>
                    <a:pt x="9209" y="2689"/>
                    <a:pt x="9243" y="2655"/>
                    <a:pt x="9310" y="2622"/>
                  </a:cubicBezTo>
                  <a:cubicBezTo>
                    <a:pt x="9310" y="2622"/>
                    <a:pt x="9310" y="2622"/>
                    <a:pt x="9310" y="2588"/>
                  </a:cubicBezTo>
                  <a:cubicBezTo>
                    <a:pt x="9377" y="2554"/>
                    <a:pt x="9411" y="2487"/>
                    <a:pt x="9478" y="2454"/>
                  </a:cubicBezTo>
                  <a:cubicBezTo>
                    <a:pt x="9478" y="2454"/>
                    <a:pt x="9478" y="2420"/>
                    <a:pt x="9478" y="2420"/>
                  </a:cubicBezTo>
                  <a:lnTo>
                    <a:pt x="9512" y="2386"/>
                  </a:lnTo>
                  <a:cubicBezTo>
                    <a:pt x="9512" y="2353"/>
                    <a:pt x="9545" y="2353"/>
                    <a:pt x="9545" y="2319"/>
                  </a:cubicBezTo>
                  <a:cubicBezTo>
                    <a:pt x="9579" y="2285"/>
                    <a:pt x="9613" y="2218"/>
                    <a:pt x="9613" y="2185"/>
                  </a:cubicBezTo>
                  <a:cubicBezTo>
                    <a:pt x="9613" y="2185"/>
                    <a:pt x="9613" y="2185"/>
                    <a:pt x="9613" y="2151"/>
                  </a:cubicBezTo>
                  <a:cubicBezTo>
                    <a:pt x="9646" y="2117"/>
                    <a:pt x="9646" y="2084"/>
                    <a:pt x="9646" y="2050"/>
                  </a:cubicBezTo>
                  <a:cubicBezTo>
                    <a:pt x="9646" y="2017"/>
                    <a:pt x="9680" y="1983"/>
                    <a:pt x="9680" y="1916"/>
                  </a:cubicBezTo>
                  <a:lnTo>
                    <a:pt x="9680" y="0"/>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05" name="Google Shape;2700;p49"/>
            <p:cNvSpPr/>
            <p:nvPr/>
          </p:nvSpPr>
          <p:spPr>
            <a:xfrm>
              <a:off x="-20586950" y="12390175"/>
              <a:ext cx="323525" cy="210900"/>
            </a:xfrm>
            <a:custGeom>
              <a:avLst/>
              <a:gdLst/>
              <a:ahLst/>
              <a:cxnLst/>
              <a:rect l="l" t="t" r="r" b="b"/>
              <a:pathLst>
                <a:path w="12941" h="8436" extrusionOk="0">
                  <a:moveTo>
                    <a:pt x="1" y="0"/>
                  </a:moveTo>
                  <a:lnTo>
                    <a:pt x="1" y="1882"/>
                  </a:lnTo>
                  <a:cubicBezTo>
                    <a:pt x="1" y="2218"/>
                    <a:pt x="203" y="2554"/>
                    <a:pt x="673" y="2823"/>
                  </a:cubicBezTo>
                  <a:lnTo>
                    <a:pt x="9714" y="8033"/>
                  </a:lnTo>
                  <a:cubicBezTo>
                    <a:pt x="9815" y="8100"/>
                    <a:pt x="9915" y="8167"/>
                    <a:pt x="10050" y="8201"/>
                  </a:cubicBezTo>
                  <a:cubicBezTo>
                    <a:pt x="10083" y="8201"/>
                    <a:pt x="10083" y="8234"/>
                    <a:pt x="10117" y="8234"/>
                  </a:cubicBezTo>
                  <a:cubicBezTo>
                    <a:pt x="10184" y="8234"/>
                    <a:pt x="10252" y="8268"/>
                    <a:pt x="10319" y="8301"/>
                  </a:cubicBezTo>
                  <a:cubicBezTo>
                    <a:pt x="10352" y="8301"/>
                    <a:pt x="10386" y="8301"/>
                    <a:pt x="10420" y="8335"/>
                  </a:cubicBezTo>
                  <a:lnTo>
                    <a:pt x="10554" y="8335"/>
                  </a:lnTo>
                  <a:cubicBezTo>
                    <a:pt x="10621" y="8369"/>
                    <a:pt x="10722" y="8369"/>
                    <a:pt x="10789" y="8402"/>
                  </a:cubicBezTo>
                  <a:lnTo>
                    <a:pt x="10991" y="8402"/>
                  </a:lnTo>
                  <a:cubicBezTo>
                    <a:pt x="11092" y="8402"/>
                    <a:pt x="11159" y="8402"/>
                    <a:pt x="11226" y="8436"/>
                  </a:cubicBezTo>
                  <a:lnTo>
                    <a:pt x="11461" y="8436"/>
                  </a:lnTo>
                  <a:cubicBezTo>
                    <a:pt x="11529" y="8402"/>
                    <a:pt x="11629" y="8402"/>
                    <a:pt x="11697" y="8402"/>
                  </a:cubicBezTo>
                  <a:lnTo>
                    <a:pt x="11798" y="8402"/>
                  </a:lnTo>
                  <a:cubicBezTo>
                    <a:pt x="11865" y="8369"/>
                    <a:pt x="11932" y="8369"/>
                    <a:pt x="11999" y="8369"/>
                  </a:cubicBezTo>
                  <a:cubicBezTo>
                    <a:pt x="12033" y="8369"/>
                    <a:pt x="12066" y="8335"/>
                    <a:pt x="12066" y="8335"/>
                  </a:cubicBezTo>
                  <a:cubicBezTo>
                    <a:pt x="12167" y="8335"/>
                    <a:pt x="12234" y="8301"/>
                    <a:pt x="12302" y="8301"/>
                  </a:cubicBezTo>
                  <a:cubicBezTo>
                    <a:pt x="12335" y="8268"/>
                    <a:pt x="12402" y="8268"/>
                    <a:pt x="12436" y="8268"/>
                  </a:cubicBezTo>
                  <a:cubicBezTo>
                    <a:pt x="12436" y="8268"/>
                    <a:pt x="12470" y="8234"/>
                    <a:pt x="12470" y="8234"/>
                  </a:cubicBezTo>
                  <a:cubicBezTo>
                    <a:pt x="12638" y="8167"/>
                    <a:pt x="12772" y="8133"/>
                    <a:pt x="12907" y="8033"/>
                  </a:cubicBezTo>
                  <a:lnTo>
                    <a:pt x="12940" y="6150"/>
                  </a:lnTo>
                  <a:lnTo>
                    <a:pt x="12940" y="6150"/>
                  </a:lnTo>
                  <a:cubicBezTo>
                    <a:pt x="12806" y="6251"/>
                    <a:pt x="12638" y="6319"/>
                    <a:pt x="12470" y="6352"/>
                  </a:cubicBezTo>
                  <a:cubicBezTo>
                    <a:pt x="12436" y="6386"/>
                    <a:pt x="12369" y="6386"/>
                    <a:pt x="12302" y="6419"/>
                  </a:cubicBezTo>
                  <a:cubicBezTo>
                    <a:pt x="12234" y="6419"/>
                    <a:pt x="12167" y="6453"/>
                    <a:pt x="12100" y="6453"/>
                  </a:cubicBezTo>
                  <a:cubicBezTo>
                    <a:pt x="11999" y="6487"/>
                    <a:pt x="11898" y="6520"/>
                    <a:pt x="11798" y="6520"/>
                  </a:cubicBezTo>
                  <a:lnTo>
                    <a:pt x="11730" y="6520"/>
                  </a:lnTo>
                  <a:cubicBezTo>
                    <a:pt x="11629" y="6520"/>
                    <a:pt x="11495" y="6554"/>
                    <a:pt x="11361" y="6554"/>
                  </a:cubicBezTo>
                  <a:lnTo>
                    <a:pt x="11293" y="6554"/>
                  </a:lnTo>
                  <a:cubicBezTo>
                    <a:pt x="11193" y="6554"/>
                    <a:pt x="11058" y="6520"/>
                    <a:pt x="10924" y="6520"/>
                  </a:cubicBezTo>
                  <a:lnTo>
                    <a:pt x="10856" y="6520"/>
                  </a:lnTo>
                  <a:cubicBezTo>
                    <a:pt x="10756" y="6487"/>
                    <a:pt x="10621" y="6487"/>
                    <a:pt x="10520" y="6453"/>
                  </a:cubicBezTo>
                  <a:cubicBezTo>
                    <a:pt x="10487" y="6453"/>
                    <a:pt x="10453" y="6419"/>
                    <a:pt x="10453" y="6419"/>
                  </a:cubicBezTo>
                  <a:cubicBezTo>
                    <a:pt x="10319" y="6419"/>
                    <a:pt x="10218" y="6386"/>
                    <a:pt x="10117" y="6319"/>
                  </a:cubicBezTo>
                  <a:lnTo>
                    <a:pt x="10083" y="6319"/>
                  </a:lnTo>
                  <a:cubicBezTo>
                    <a:pt x="9949" y="6285"/>
                    <a:pt x="9815" y="6218"/>
                    <a:pt x="9714" y="6150"/>
                  </a:cubicBezTo>
                  <a:lnTo>
                    <a:pt x="673" y="941"/>
                  </a:lnTo>
                  <a:cubicBezTo>
                    <a:pt x="337" y="739"/>
                    <a:pt x="135" y="504"/>
                    <a:pt x="35" y="235"/>
                  </a:cubicBezTo>
                  <a:cubicBezTo>
                    <a:pt x="1" y="168"/>
                    <a:pt x="1" y="67"/>
                    <a:pt x="1" y="0"/>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06" name="Google Shape;2701;p49"/>
            <p:cNvSpPr/>
            <p:nvPr/>
          </p:nvSpPr>
          <p:spPr>
            <a:xfrm>
              <a:off x="-20592825" y="12226950"/>
              <a:ext cx="576425" cy="327075"/>
            </a:xfrm>
            <a:custGeom>
              <a:avLst/>
              <a:gdLst/>
              <a:ahLst/>
              <a:cxnLst/>
              <a:rect l="l" t="t" r="r" b="b"/>
              <a:pathLst>
                <a:path w="23057" h="13083" extrusionOk="0">
                  <a:moveTo>
                    <a:pt x="11482" y="1"/>
                  </a:moveTo>
                  <a:cubicBezTo>
                    <a:pt x="10898" y="1"/>
                    <a:pt x="10318" y="127"/>
                    <a:pt x="9882" y="379"/>
                  </a:cubicBezTo>
                  <a:lnTo>
                    <a:pt x="908" y="5622"/>
                  </a:lnTo>
                  <a:cubicBezTo>
                    <a:pt x="1" y="6126"/>
                    <a:pt x="34" y="6966"/>
                    <a:pt x="908" y="7470"/>
                  </a:cubicBezTo>
                  <a:lnTo>
                    <a:pt x="9949" y="12679"/>
                  </a:lnTo>
                  <a:cubicBezTo>
                    <a:pt x="10403" y="12948"/>
                    <a:pt x="10991" y="13083"/>
                    <a:pt x="11575" y="13083"/>
                  </a:cubicBezTo>
                  <a:cubicBezTo>
                    <a:pt x="12159" y="13083"/>
                    <a:pt x="12738" y="12948"/>
                    <a:pt x="13175" y="12679"/>
                  </a:cubicBezTo>
                  <a:lnTo>
                    <a:pt x="22149" y="7470"/>
                  </a:lnTo>
                  <a:cubicBezTo>
                    <a:pt x="23056" y="6966"/>
                    <a:pt x="23023" y="6126"/>
                    <a:pt x="22149" y="5622"/>
                  </a:cubicBezTo>
                  <a:lnTo>
                    <a:pt x="13108" y="379"/>
                  </a:lnTo>
                  <a:cubicBezTo>
                    <a:pt x="12654" y="127"/>
                    <a:pt x="12066" y="1"/>
                    <a:pt x="11482"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07" name="Google Shape;2702;p49"/>
            <p:cNvSpPr/>
            <p:nvPr/>
          </p:nvSpPr>
          <p:spPr>
            <a:xfrm>
              <a:off x="-19930725" y="12577525"/>
              <a:ext cx="241150" cy="200850"/>
            </a:xfrm>
            <a:custGeom>
              <a:avLst/>
              <a:gdLst/>
              <a:ahLst/>
              <a:cxnLst/>
              <a:rect l="l" t="t" r="r" b="b"/>
              <a:pathLst>
                <a:path w="9646" h="8034" extrusionOk="0">
                  <a:moveTo>
                    <a:pt x="9646" y="1"/>
                  </a:moveTo>
                  <a:cubicBezTo>
                    <a:pt x="9646" y="102"/>
                    <a:pt x="9646" y="169"/>
                    <a:pt x="9612" y="236"/>
                  </a:cubicBezTo>
                  <a:cubicBezTo>
                    <a:pt x="9612" y="236"/>
                    <a:pt x="9612" y="270"/>
                    <a:pt x="9612" y="270"/>
                  </a:cubicBezTo>
                  <a:cubicBezTo>
                    <a:pt x="9579" y="337"/>
                    <a:pt x="9545" y="404"/>
                    <a:pt x="9478" y="471"/>
                  </a:cubicBezTo>
                  <a:lnTo>
                    <a:pt x="9478" y="505"/>
                  </a:lnTo>
                  <a:cubicBezTo>
                    <a:pt x="9411" y="572"/>
                    <a:pt x="9343" y="639"/>
                    <a:pt x="9276" y="707"/>
                  </a:cubicBezTo>
                  <a:cubicBezTo>
                    <a:pt x="9243" y="740"/>
                    <a:pt x="9175" y="807"/>
                    <a:pt x="9108" y="841"/>
                  </a:cubicBezTo>
                  <a:cubicBezTo>
                    <a:pt x="9075" y="875"/>
                    <a:pt x="9041" y="908"/>
                    <a:pt x="8974" y="942"/>
                  </a:cubicBezTo>
                  <a:lnTo>
                    <a:pt x="0" y="6151"/>
                  </a:lnTo>
                  <a:lnTo>
                    <a:pt x="0" y="8033"/>
                  </a:lnTo>
                  <a:lnTo>
                    <a:pt x="8974" y="2824"/>
                  </a:lnTo>
                  <a:cubicBezTo>
                    <a:pt x="8974" y="2824"/>
                    <a:pt x="9007" y="2824"/>
                    <a:pt x="9007" y="2790"/>
                  </a:cubicBezTo>
                  <a:cubicBezTo>
                    <a:pt x="9041" y="2790"/>
                    <a:pt x="9075" y="2757"/>
                    <a:pt x="9108" y="2723"/>
                  </a:cubicBezTo>
                  <a:cubicBezTo>
                    <a:pt x="9175" y="2690"/>
                    <a:pt x="9243" y="2656"/>
                    <a:pt x="9276" y="2589"/>
                  </a:cubicBezTo>
                  <a:lnTo>
                    <a:pt x="9310" y="2589"/>
                  </a:lnTo>
                  <a:cubicBezTo>
                    <a:pt x="9343" y="2555"/>
                    <a:pt x="9411" y="2488"/>
                    <a:pt x="9444" y="2454"/>
                  </a:cubicBezTo>
                  <a:cubicBezTo>
                    <a:pt x="9444" y="2421"/>
                    <a:pt x="9444" y="2421"/>
                    <a:pt x="9478" y="2421"/>
                  </a:cubicBezTo>
                  <a:lnTo>
                    <a:pt x="9478" y="2353"/>
                  </a:lnTo>
                  <a:cubicBezTo>
                    <a:pt x="9511" y="2353"/>
                    <a:pt x="9511" y="2320"/>
                    <a:pt x="9545" y="2320"/>
                  </a:cubicBezTo>
                  <a:cubicBezTo>
                    <a:pt x="9545" y="2253"/>
                    <a:pt x="9579" y="2219"/>
                    <a:pt x="9579" y="2185"/>
                  </a:cubicBezTo>
                  <a:cubicBezTo>
                    <a:pt x="9612" y="2152"/>
                    <a:pt x="9612" y="2152"/>
                    <a:pt x="9612" y="2152"/>
                  </a:cubicBezTo>
                  <a:cubicBezTo>
                    <a:pt x="9612" y="2152"/>
                    <a:pt x="9612" y="2152"/>
                    <a:pt x="9612" y="2118"/>
                  </a:cubicBezTo>
                  <a:cubicBezTo>
                    <a:pt x="9612" y="2085"/>
                    <a:pt x="9612" y="2085"/>
                    <a:pt x="9646" y="2051"/>
                  </a:cubicBezTo>
                  <a:cubicBezTo>
                    <a:pt x="9646" y="2017"/>
                    <a:pt x="9646" y="1950"/>
                    <a:pt x="9646" y="1917"/>
                  </a:cubicBezTo>
                  <a:lnTo>
                    <a:pt x="9646" y="1883"/>
                  </a:lnTo>
                  <a:lnTo>
                    <a:pt x="9646" y="1"/>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08" name="Google Shape;2703;p49"/>
            <p:cNvSpPr/>
            <p:nvPr/>
          </p:nvSpPr>
          <p:spPr>
            <a:xfrm>
              <a:off x="-20254225" y="12577525"/>
              <a:ext cx="323525" cy="210925"/>
            </a:xfrm>
            <a:custGeom>
              <a:avLst/>
              <a:gdLst/>
              <a:ahLst/>
              <a:cxnLst/>
              <a:rect l="l" t="t" r="r" b="b"/>
              <a:pathLst>
                <a:path w="12941" h="8437" extrusionOk="0">
                  <a:moveTo>
                    <a:pt x="1" y="1"/>
                  </a:moveTo>
                  <a:lnTo>
                    <a:pt x="1" y="1883"/>
                  </a:lnTo>
                  <a:cubicBezTo>
                    <a:pt x="1" y="2219"/>
                    <a:pt x="236" y="2555"/>
                    <a:pt x="673" y="2824"/>
                  </a:cubicBezTo>
                  <a:lnTo>
                    <a:pt x="9714" y="8033"/>
                  </a:lnTo>
                  <a:cubicBezTo>
                    <a:pt x="9815" y="8100"/>
                    <a:pt x="9949" y="8134"/>
                    <a:pt x="10050" y="8201"/>
                  </a:cubicBezTo>
                  <a:lnTo>
                    <a:pt x="10084" y="8201"/>
                  </a:lnTo>
                  <a:cubicBezTo>
                    <a:pt x="10084" y="8201"/>
                    <a:pt x="10117" y="8201"/>
                    <a:pt x="10117" y="8235"/>
                  </a:cubicBezTo>
                  <a:cubicBezTo>
                    <a:pt x="10184" y="8235"/>
                    <a:pt x="10252" y="8269"/>
                    <a:pt x="10319" y="8302"/>
                  </a:cubicBezTo>
                  <a:lnTo>
                    <a:pt x="10453" y="8302"/>
                  </a:lnTo>
                  <a:cubicBezTo>
                    <a:pt x="10453" y="8336"/>
                    <a:pt x="10487" y="8336"/>
                    <a:pt x="10520" y="8336"/>
                  </a:cubicBezTo>
                  <a:lnTo>
                    <a:pt x="10554" y="8336"/>
                  </a:lnTo>
                  <a:cubicBezTo>
                    <a:pt x="10655" y="8369"/>
                    <a:pt x="10722" y="8369"/>
                    <a:pt x="10789" y="8403"/>
                  </a:cubicBezTo>
                  <a:lnTo>
                    <a:pt x="11025" y="8403"/>
                  </a:lnTo>
                  <a:cubicBezTo>
                    <a:pt x="11092" y="8437"/>
                    <a:pt x="11159" y="8437"/>
                    <a:pt x="11226" y="8437"/>
                  </a:cubicBezTo>
                  <a:lnTo>
                    <a:pt x="11461" y="8437"/>
                  </a:lnTo>
                  <a:cubicBezTo>
                    <a:pt x="11562" y="8437"/>
                    <a:pt x="11630" y="8403"/>
                    <a:pt x="11730" y="8403"/>
                  </a:cubicBezTo>
                  <a:lnTo>
                    <a:pt x="11798" y="8403"/>
                  </a:lnTo>
                  <a:cubicBezTo>
                    <a:pt x="11865" y="8403"/>
                    <a:pt x="11932" y="8369"/>
                    <a:pt x="11999" y="8369"/>
                  </a:cubicBezTo>
                  <a:cubicBezTo>
                    <a:pt x="12033" y="8369"/>
                    <a:pt x="12066" y="8369"/>
                    <a:pt x="12100" y="8336"/>
                  </a:cubicBezTo>
                  <a:cubicBezTo>
                    <a:pt x="12167" y="8336"/>
                    <a:pt x="12234" y="8302"/>
                    <a:pt x="12302" y="8302"/>
                  </a:cubicBezTo>
                  <a:cubicBezTo>
                    <a:pt x="12335" y="8269"/>
                    <a:pt x="12403" y="8269"/>
                    <a:pt x="12436" y="8269"/>
                  </a:cubicBezTo>
                  <a:cubicBezTo>
                    <a:pt x="12436" y="8269"/>
                    <a:pt x="12470" y="8235"/>
                    <a:pt x="12470" y="8235"/>
                  </a:cubicBezTo>
                  <a:cubicBezTo>
                    <a:pt x="12638" y="8201"/>
                    <a:pt x="12806" y="8134"/>
                    <a:pt x="12940" y="8067"/>
                  </a:cubicBezTo>
                  <a:lnTo>
                    <a:pt x="12940" y="6151"/>
                  </a:lnTo>
                  <a:cubicBezTo>
                    <a:pt x="12806" y="6218"/>
                    <a:pt x="12638" y="6286"/>
                    <a:pt x="12503" y="6353"/>
                  </a:cubicBezTo>
                  <a:cubicBezTo>
                    <a:pt x="12436" y="6386"/>
                    <a:pt x="12369" y="6386"/>
                    <a:pt x="12335" y="6386"/>
                  </a:cubicBezTo>
                  <a:cubicBezTo>
                    <a:pt x="12234" y="6420"/>
                    <a:pt x="12167" y="6454"/>
                    <a:pt x="12100" y="6454"/>
                  </a:cubicBezTo>
                  <a:cubicBezTo>
                    <a:pt x="11999" y="6487"/>
                    <a:pt x="11898" y="6487"/>
                    <a:pt x="11831" y="6487"/>
                  </a:cubicBezTo>
                  <a:cubicBezTo>
                    <a:pt x="11798" y="6487"/>
                    <a:pt x="11764" y="6521"/>
                    <a:pt x="11764" y="6521"/>
                  </a:cubicBezTo>
                  <a:lnTo>
                    <a:pt x="10924" y="6521"/>
                  </a:lnTo>
                  <a:cubicBezTo>
                    <a:pt x="10924" y="6521"/>
                    <a:pt x="10890" y="6487"/>
                    <a:pt x="10890" y="6487"/>
                  </a:cubicBezTo>
                  <a:cubicBezTo>
                    <a:pt x="10756" y="6487"/>
                    <a:pt x="10621" y="6454"/>
                    <a:pt x="10520" y="6454"/>
                  </a:cubicBezTo>
                  <a:cubicBezTo>
                    <a:pt x="10487" y="6420"/>
                    <a:pt x="10487" y="6420"/>
                    <a:pt x="10453" y="6420"/>
                  </a:cubicBezTo>
                  <a:cubicBezTo>
                    <a:pt x="10352" y="6386"/>
                    <a:pt x="10218" y="6353"/>
                    <a:pt x="10117" y="6319"/>
                  </a:cubicBezTo>
                  <a:lnTo>
                    <a:pt x="10084" y="6319"/>
                  </a:lnTo>
                  <a:cubicBezTo>
                    <a:pt x="9949" y="6252"/>
                    <a:pt x="9848" y="6218"/>
                    <a:pt x="9714" y="6151"/>
                  </a:cubicBezTo>
                  <a:lnTo>
                    <a:pt x="673" y="908"/>
                  </a:lnTo>
                  <a:cubicBezTo>
                    <a:pt x="337" y="740"/>
                    <a:pt x="135" y="505"/>
                    <a:pt x="35" y="236"/>
                  </a:cubicBezTo>
                  <a:cubicBezTo>
                    <a:pt x="35" y="169"/>
                    <a:pt x="1" y="68"/>
                    <a:pt x="1" y="1"/>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09" name="Google Shape;2704;p49"/>
            <p:cNvSpPr/>
            <p:nvPr/>
          </p:nvSpPr>
          <p:spPr>
            <a:xfrm>
              <a:off x="-20260100" y="12414325"/>
              <a:ext cx="576425" cy="326450"/>
            </a:xfrm>
            <a:custGeom>
              <a:avLst/>
              <a:gdLst/>
              <a:ahLst/>
              <a:cxnLst/>
              <a:rect l="l" t="t" r="r" b="b"/>
              <a:pathLst>
                <a:path w="23057" h="13058" extrusionOk="0">
                  <a:moveTo>
                    <a:pt x="11482" y="0"/>
                  </a:moveTo>
                  <a:cubicBezTo>
                    <a:pt x="10898" y="0"/>
                    <a:pt x="10319" y="126"/>
                    <a:pt x="9882" y="378"/>
                  </a:cubicBezTo>
                  <a:lnTo>
                    <a:pt x="908" y="5588"/>
                  </a:lnTo>
                  <a:cubicBezTo>
                    <a:pt x="1" y="6126"/>
                    <a:pt x="34" y="6932"/>
                    <a:pt x="908" y="7470"/>
                  </a:cubicBezTo>
                  <a:lnTo>
                    <a:pt x="9949" y="12679"/>
                  </a:lnTo>
                  <a:cubicBezTo>
                    <a:pt x="10403" y="12931"/>
                    <a:pt x="10991" y="13057"/>
                    <a:pt x="11575" y="13057"/>
                  </a:cubicBezTo>
                  <a:cubicBezTo>
                    <a:pt x="12159" y="13057"/>
                    <a:pt x="12738" y="12931"/>
                    <a:pt x="13175" y="12679"/>
                  </a:cubicBezTo>
                  <a:lnTo>
                    <a:pt x="22149" y="7470"/>
                  </a:lnTo>
                  <a:cubicBezTo>
                    <a:pt x="23056" y="6932"/>
                    <a:pt x="23023" y="6126"/>
                    <a:pt x="22149" y="5588"/>
                  </a:cubicBezTo>
                  <a:lnTo>
                    <a:pt x="13108" y="378"/>
                  </a:lnTo>
                  <a:cubicBezTo>
                    <a:pt x="12654" y="126"/>
                    <a:pt x="12066" y="0"/>
                    <a:pt x="11482"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10" name="Google Shape;2705;p49"/>
            <p:cNvSpPr/>
            <p:nvPr/>
          </p:nvSpPr>
          <p:spPr>
            <a:xfrm>
              <a:off x="-19603050" y="12780875"/>
              <a:ext cx="242000" cy="200825"/>
            </a:xfrm>
            <a:custGeom>
              <a:avLst/>
              <a:gdLst/>
              <a:ahLst/>
              <a:cxnLst/>
              <a:rect l="l" t="t" r="r" b="b"/>
              <a:pathLst>
                <a:path w="9680" h="8033" extrusionOk="0">
                  <a:moveTo>
                    <a:pt x="9680" y="0"/>
                  </a:moveTo>
                  <a:cubicBezTo>
                    <a:pt x="9680" y="67"/>
                    <a:pt x="9646" y="168"/>
                    <a:pt x="9646" y="235"/>
                  </a:cubicBezTo>
                  <a:cubicBezTo>
                    <a:pt x="9646" y="235"/>
                    <a:pt x="9646" y="235"/>
                    <a:pt x="9613" y="269"/>
                  </a:cubicBezTo>
                  <a:cubicBezTo>
                    <a:pt x="9613" y="336"/>
                    <a:pt x="9579" y="403"/>
                    <a:pt x="9512" y="471"/>
                  </a:cubicBezTo>
                  <a:lnTo>
                    <a:pt x="9512" y="504"/>
                  </a:lnTo>
                  <a:cubicBezTo>
                    <a:pt x="9445" y="571"/>
                    <a:pt x="9377" y="639"/>
                    <a:pt x="9310" y="706"/>
                  </a:cubicBezTo>
                  <a:cubicBezTo>
                    <a:pt x="9277" y="739"/>
                    <a:pt x="9209" y="773"/>
                    <a:pt x="9142" y="807"/>
                  </a:cubicBezTo>
                  <a:cubicBezTo>
                    <a:pt x="9109" y="840"/>
                    <a:pt x="9075" y="874"/>
                    <a:pt x="9008" y="908"/>
                  </a:cubicBezTo>
                  <a:lnTo>
                    <a:pt x="34" y="6150"/>
                  </a:lnTo>
                  <a:lnTo>
                    <a:pt x="1" y="8033"/>
                  </a:lnTo>
                  <a:lnTo>
                    <a:pt x="1" y="8033"/>
                  </a:lnTo>
                  <a:lnTo>
                    <a:pt x="9008" y="2823"/>
                  </a:lnTo>
                  <a:cubicBezTo>
                    <a:pt x="9008" y="2823"/>
                    <a:pt x="9008" y="2790"/>
                    <a:pt x="9041" y="2790"/>
                  </a:cubicBezTo>
                  <a:cubicBezTo>
                    <a:pt x="9075" y="2756"/>
                    <a:pt x="9109" y="2756"/>
                    <a:pt x="9142" y="2722"/>
                  </a:cubicBezTo>
                  <a:cubicBezTo>
                    <a:pt x="9209" y="2689"/>
                    <a:pt x="9277" y="2622"/>
                    <a:pt x="9310" y="2588"/>
                  </a:cubicBezTo>
                  <a:cubicBezTo>
                    <a:pt x="9377" y="2521"/>
                    <a:pt x="9411" y="2487"/>
                    <a:pt x="9478" y="2420"/>
                  </a:cubicBezTo>
                  <a:cubicBezTo>
                    <a:pt x="9478" y="2420"/>
                    <a:pt x="9478" y="2420"/>
                    <a:pt x="9478" y="2386"/>
                  </a:cubicBezTo>
                  <a:lnTo>
                    <a:pt x="9512" y="2353"/>
                  </a:lnTo>
                  <a:cubicBezTo>
                    <a:pt x="9545" y="2353"/>
                    <a:pt x="9545" y="2319"/>
                    <a:pt x="9545" y="2285"/>
                  </a:cubicBezTo>
                  <a:cubicBezTo>
                    <a:pt x="9579" y="2252"/>
                    <a:pt x="9613" y="2218"/>
                    <a:pt x="9613" y="2185"/>
                  </a:cubicBezTo>
                  <a:cubicBezTo>
                    <a:pt x="9613" y="2151"/>
                    <a:pt x="9613" y="2151"/>
                    <a:pt x="9613" y="2151"/>
                  </a:cubicBezTo>
                  <a:cubicBezTo>
                    <a:pt x="9613" y="2151"/>
                    <a:pt x="9613" y="2117"/>
                    <a:pt x="9646" y="2117"/>
                  </a:cubicBezTo>
                  <a:cubicBezTo>
                    <a:pt x="9646" y="2084"/>
                    <a:pt x="9646" y="2084"/>
                    <a:pt x="9646" y="2050"/>
                  </a:cubicBezTo>
                  <a:cubicBezTo>
                    <a:pt x="9680" y="1983"/>
                    <a:pt x="9680" y="1949"/>
                    <a:pt x="9680" y="1916"/>
                  </a:cubicBezTo>
                  <a:lnTo>
                    <a:pt x="9680" y="1882"/>
                  </a:lnTo>
                  <a:lnTo>
                    <a:pt x="9680" y="0"/>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11" name="Google Shape;2706;p49"/>
            <p:cNvSpPr/>
            <p:nvPr/>
          </p:nvSpPr>
          <p:spPr>
            <a:xfrm>
              <a:off x="-19925700" y="12780025"/>
              <a:ext cx="323525" cy="210925"/>
            </a:xfrm>
            <a:custGeom>
              <a:avLst/>
              <a:gdLst/>
              <a:ahLst/>
              <a:cxnLst/>
              <a:rect l="l" t="t" r="r" b="b"/>
              <a:pathLst>
                <a:path w="12941" h="8437" extrusionOk="0">
                  <a:moveTo>
                    <a:pt x="1" y="0"/>
                  </a:moveTo>
                  <a:lnTo>
                    <a:pt x="1" y="1916"/>
                  </a:lnTo>
                  <a:cubicBezTo>
                    <a:pt x="1" y="2252"/>
                    <a:pt x="203" y="2588"/>
                    <a:pt x="673" y="2824"/>
                  </a:cubicBezTo>
                  <a:lnTo>
                    <a:pt x="9714" y="8067"/>
                  </a:lnTo>
                  <a:cubicBezTo>
                    <a:pt x="9815" y="8134"/>
                    <a:pt x="9915" y="8167"/>
                    <a:pt x="10050" y="8235"/>
                  </a:cubicBezTo>
                  <a:lnTo>
                    <a:pt x="10117" y="8235"/>
                  </a:lnTo>
                  <a:cubicBezTo>
                    <a:pt x="10184" y="8268"/>
                    <a:pt x="10252" y="8302"/>
                    <a:pt x="10319" y="8302"/>
                  </a:cubicBezTo>
                  <a:lnTo>
                    <a:pt x="10420" y="8335"/>
                  </a:lnTo>
                  <a:lnTo>
                    <a:pt x="10487" y="8335"/>
                  </a:lnTo>
                  <a:cubicBezTo>
                    <a:pt x="10520" y="8369"/>
                    <a:pt x="10554" y="8369"/>
                    <a:pt x="10554" y="8369"/>
                  </a:cubicBezTo>
                  <a:cubicBezTo>
                    <a:pt x="10621" y="8369"/>
                    <a:pt x="10722" y="8403"/>
                    <a:pt x="10789" y="8403"/>
                  </a:cubicBezTo>
                  <a:lnTo>
                    <a:pt x="10924" y="8403"/>
                  </a:lnTo>
                  <a:cubicBezTo>
                    <a:pt x="10957" y="8403"/>
                    <a:pt x="10991" y="8436"/>
                    <a:pt x="10991" y="8436"/>
                  </a:cubicBezTo>
                  <a:lnTo>
                    <a:pt x="11461" y="8436"/>
                  </a:lnTo>
                  <a:cubicBezTo>
                    <a:pt x="11529" y="8436"/>
                    <a:pt x="11629" y="8436"/>
                    <a:pt x="11697" y="8403"/>
                  </a:cubicBezTo>
                  <a:lnTo>
                    <a:pt x="11798" y="8403"/>
                  </a:lnTo>
                  <a:cubicBezTo>
                    <a:pt x="11865" y="8403"/>
                    <a:pt x="11932" y="8403"/>
                    <a:pt x="11999" y="8369"/>
                  </a:cubicBezTo>
                  <a:lnTo>
                    <a:pt x="12066" y="8369"/>
                  </a:lnTo>
                  <a:cubicBezTo>
                    <a:pt x="12167" y="8335"/>
                    <a:pt x="12234" y="8335"/>
                    <a:pt x="12302" y="8302"/>
                  </a:cubicBezTo>
                  <a:cubicBezTo>
                    <a:pt x="12335" y="8302"/>
                    <a:pt x="12402" y="8268"/>
                    <a:pt x="12436" y="8268"/>
                  </a:cubicBezTo>
                  <a:cubicBezTo>
                    <a:pt x="12436" y="8268"/>
                    <a:pt x="12470" y="8268"/>
                    <a:pt x="12470" y="8235"/>
                  </a:cubicBezTo>
                  <a:cubicBezTo>
                    <a:pt x="12638" y="8201"/>
                    <a:pt x="12772" y="8134"/>
                    <a:pt x="12907" y="8067"/>
                  </a:cubicBezTo>
                  <a:lnTo>
                    <a:pt x="12940" y="6151"/>
                  </a:lnTo>
                  <a:lnTo>
                    <a:pt x="12940" y="6151"/>
                  </a:lnTo>
                  <a:cubicBezTo>
                    <a:pt x="12806" y="6252"/>
                    <a:pt x="12638" y="6319"/>
                    <a:pt x="12470" y="6386"/>
                  </a:cubicBezTo>
                  <a:cubicBezTo>
                    <a:pt x="12436" y="6386"/>
                    <a:pt x="12369" y="6420"/>
                    <a:pt x="12302" y="6420"/>
                  </a:cubicBezTo>
                  <a:cubicBezTo>
                    <a:pt x="12234" y="6453"/>
                    <a:pt x="12167" y="6453"/>
                    <a:pt x="12100" y="6487"/>
                  </a:cubicBezTo>
                  <a:cubicBezTo>
                    <a:pt x="11999" y="6487"/>
                    <a:pt x="11898" y="6521"/>
                    <a:pt x="11798" y="6521"/>
                  </a:cubicBezTo>
                  <a:lnTo>
                    <a:pt x="11730" y="6521"/>
                  </a:lnTo>
                  <a:cubicBezTo>
                    <a:pt x="11629" y="6554"/>
                    <a:pt x="11495" y="6554"/>
                    <a:pt x="11361" y="6554"/>
                  </a:cubicBezTo>
                  <a:lnTo>
                    <a:pt x="11293" y="6554"/>
                  </a:lnTo>
                  <a:cubicBezTo>
                    <a:pt x="11193" y="6554"/>
                    <a:pt x="11058" y="6554"/>
                    <a:pt x="10924" y="6521"/>
                  </a:cubicBezTo>
                  <a:lnTo>
                    <a:pt x="10856" y="6521"/>
                  </a:lnTo>
                  <a:cubicBezTo>
                    <a:pt x="10756" y="6521"/>
                    <a:pt x="10621" y="6487"/>
                    <a:pt x="10520" y="6453"/>
                  </a:cubicBezTo>
                  <a:lnTo>
                    <a:pt x="10453" y="6453"/>
                  </a:lnTo>
                  <a:cubicBezTo>
                    <a:pt x="10319" y="6420"/>
                    <a:pt x="10218" y="6386"/>
                    <a:pt x="10117" y="6353"/>
                  </a:cubicBezTo>
                  <a:cubicBezTo>
                    <a:pt x="10117" y="6353"/>
                    <a:pt x="10083" y="6353"/>
                    <a:pt x="10083" y="6319"/>
                  </a:cubicBezTo>
                  <a:cubicBezTo>
                    <a:pt x="9949" y="6285"/>
                    <a:pt x="9815" y="6218"/>
                    <a:pt x="9714" y="6184"/>
                  </a:cubicBezTo>
                  <a:lnTo>
                    <a:pt x="673" y="942"/>
                  </a:lnTo>
                  <a:cubicBezTo>
                    <a:pt x="337" y="740"/>
                    <a:pt x="135" y="505"/>
                    <a:pt x="35" y="269"/>
                  </a:cubicBezTo>
                  <a:cubicBezTo>
                    <a:pt x="1" y="169"/>
                    <a:pt x="1" y="101"/>
                    <a:pt x="1" y="0"/>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12" name="Google Shape;2707;p49"/>
            <p:cNvSpPr/>
            <p:nvPr/>
          </p:nvSpPr>
          <p:spPr>
            <a:xfrm>
              <a:off x="-19931575" y="12617650"/>
              <a:ext cx="576425" cy="326450"/>
            </a:xfrm>
            <a:custGeom>
              <a:avLst/>
              <a:gdLst/>
              <a:ahLst/>
              <a:cxnLst/>
              <a:rect l="l" t="t" r="r" b="b"/>
              <a:pathLst>
                <a:path w="23057" h="13058" extrusionOk="0">
                  <a:moveTo>
                    <a:pt x="11482" y="1"/>
                  </a:moveTo>
                  <a:cubicBezTo>
                    <a:pt x="10898" y="1"/>
                    <a:pt x="10318" y="127"/>
                    <a:pt x="9882" y="379"/>
                  </a:cubicBezTo>
                  <a:lnTo>
                    <a:pt x="908" y="5588"/>
                  </a:lnTo>
                  <a:cubicBezTo>
                    <a:pt x="1" y="6126"/>
                    <a:pt x="34" y="6932"/>
                    <a:pt x="908" y="7470"/>
                  </a:cubicBezTo>
                  <a:lnTo>
                    <a:pt x="9949" y="12679"/>
                  </a:lnTo>
                  <a:cubicBezTo>
                    <a:pt x="10403" y="12932"/>
                    <a:pt x="10991" y="13058"/>
                    <a:pt x="11575" y="13058"/>
                  </a:cubicBezTo>
                  <a:cubicBezTo>
                    <a:pt x="12159" y="13058"/>
                    <a:pt x="12738" y="12932"/>
                    <a:pt x="13175" y="12679"/>
                  </a:cubicBezTo>
                  <a:lnTo>
                    <a:pt x="22149" y="7470"/>
                  </a:lnTo>
                  <a:cubicBezTo>
                    <a:pt x="23056" y="6932"/>
                    <a:pt x="23023" y="6126"/>
                    <a:pt x="22149" y="5588"/>
                  </a:cubicBezTo>
                  <a:lnTo>
                    <a:pt x="13108" y="379"/>
                  </a:lnTo>
                  <a:cubicBezTo>
                    <a:pt x="12654" y="127"/>
                    <a:pt x="12066" y="1"/>
                    <a:pt x="11482"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13" name="Google Shape;2708;p49"/>
            <p:cNvSpPr/>
            <p:nvPr/>
          </p:nvSpPr>
          <p:spPr>
            <a:xfrm>
              <a:off x="-19267800" y="12980825"/>
              <a:ext cx="241175" cy="200850"/>
            </a:xfrm>
            <a:custGeom>
              <a:avLst/>
              <a:gdLst/>
              <a:ahLst/>
              <a:cxnLst/>
              <a:rect l="l" t="t" r="r" b="b"/>
              <a:pathLst>
                <a:path w="9647" h="8034" extrusionOk="0">
                  <a:moveTo>
                    <a:pt x="9646" y="1"/>
                  </a:moveTo>
                  <a:cubicBezTo>
                    <a:pt x="9646" y="68"/>
                    <a:pt x="9646" y="135"/>
                    <a:pt x="9613" y="236"/>
                  </a:cubicBezTo>
                  <a:cubicBezTo>
                    <a:pt x="9579" y="337"/>
                    <a:pt x="9545" y="404"/>
                    <a:pt x="9512" y="471"/>
                  </a:cubicBezTo>
                  <a:lnTo>
                    <a:pt x="9478" y="505"/>
                  </a:lnTo>
                  <a:cubicBezTo>
                    <a:pt x="9444" y="572"/>
                    <a:pt x="9377" y="640"/>
                    <a:pt x="9310" y="707"/>
                  </a:cubicBezTo>
                  <a:cubicBezTo>
                    <a:pt x="9243" y="740"/>
                    <a:pt x="9176" y="774"/>
                    <a:pt x="9142" y="808"/>
                  </a:cubicBezTo>
                  <a:cubicBezTo>
                    <a:pt x="9075" y="841"/>
                    <a:pt x="9041" y="875"/>
                    <a:pt x="9008" y="908"/>
                  </a:cubicBezTo>
                  <a:lnTo>
                    <a:pt x="0" y="6151"/>
                  </a:lnTo>
                  <a:lnTo>
                    <a:pt x="0" y="8033"/>
                  </a:lnTo>
                  <a:lnTo>
                    <a:pt x="8974" y="2790"/>
                  </a:lnTo>
                  <a:lnTo>
                    <a:pt x="9008" y="2790"/>
                  </a:lnTo>
                  <a:cubicBezTo>
                    <a:pt x="9075" y="2757"/>
                    <a:pt x="9108" y="2723"/>
                    <a:pt x="9142" y="2690"/>
                  </a:cubicBezTo>
                  <a:cubicBezTo>
                    <a:pt x="9176" y="2656"/>
                    <a:pt x="9243" y="2622"/>
                    <a:pt x="9276" y="2589"/>
                  </a:cubicBezTo>
                  <a:lnTo>
                    <a:pt x="9310" y="2589"/>
                  </a:lnTo>
                  <a:cubicBezTo>
                    <a:pt x="9377" y="2522"/>
                    <a:pt x="9411" y="2488"/>
                    <a:pt x="9444" y="2421"/>
                  </a:cubicBezTo>
                  <a:cubicBezTo>
                    <a:pt x="9444" y="2421"/>
                    <a:pt x="9478" y="2387"/>
                    <a:pt x="9478" y="2387"/>
                  </a:cubicBezTo>
                  <a:lnTo>
                    <a:pt x="9512" y="2354"/>
                  </a:lnTo>
                  <a:cubicBezTo>
                    <a:pt x="9512" y="2320"/>
                    <a:pt x="9545" y="2320"/>
                    <a:pt x="9545" y="2286"/>
                  </a:cubicBezTo>
                  <a:cubicBezTo>
                    <a:pt x="9579" y="2253"/>
                    <a:pt x="9579" y="2219"/>
                    <a:pt x="9613" y="2152"/>
                  </a:cubicBezTo>
                  <a:cubicBezTo>
                    <a:pt x="9613" y="2118"/>
                    <a:pt x="9613" y="2118"/>
                    <a:pt x="9613" y="2118"/>
                  </a:cubicBezTo>
                  <a:cubicBezTo>
                    <a:pt x="9613" y="2085"/>
                    <a:pt x="9646" y="2051"/>
                    <a:pt x="9646" y="2017"/>
                  </a:cubicBezTo>
                  <a:cubicBezTo>
                    <a:pt x="9646" y="1984"/>
                    <a:pt x="9646" y="1950"/>
                    <a:pt x="9646" y="1917"/>
                  </a:cubicBezTo>
                  <a:lnTo>
                    <a:pt x="9646" y="1883"/>
                  </a:lnTo>
                  <a:lnTo>
                    <a:pt x="9646" y="1"/>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14" name="Google Shape;2709;p49"/>
            <p:cNvSpPr/>
            <p:nvPr/>
          </p:nvSpPr>
          <p:spPr>
            <a:xfrm>
              <a:off x="-19591275" y="12980000"/>
              <a:ext cx="323500" cy="210925"/>
            </a:xfrm>
            <a:custGeom>
              <a:avLst/>
              <a:gdLst/>
              <a:ahLst/>
              <a:cxnLst/>
              <a:rect l="l" t="t" r="r" b="b"/>
              <a:pathLst>
                <a:path w="12940" h="8437" extrusionOk="0">
                  <a:moveTo>
                    <a:pt x="34" y="0"/>
                  </a:moveTo>
                  <a:lnTo>
                    <a:pt x="0" y="1882"/>
                  </a:lnTo>
                  <a:cubicBezTo>
                    <a:pt x="0" y="2219"/>
                    <a:pt x="235" y="2588"/>
                    <a:pt x="672" y="2823"/>
                  </a:cubicBezTo>
                  <a:lnTo>
                    <a:pt x="9747" y="8066"/>
                  </a:lnTo>
                  <a:cubicBezTo>
                    <a:pt x="9847" y="8100"/>
                    <a:pt x="9948" y="8167"/>
                    <a:pt x="10049" y="8201"/>
                  </a:cubicBezTo>
                  <a:lnTo>
                    <a:pt x="10083" y="8201"/>
                  </a:lnTo>
                  <a:cubicBezTo>
                    <a:pt x="10083" y="8234"/>
                    <a:pt x="10116" y="8234"/>
                    <a:pt x="10150" y="8234"/>
                  </a:cubicBezTo>
                  <a:cubicBezTo>
                    <a:pt x="10217" y="8268"/>
                    <a:pt x="10284" y="8268"/>
                    <a:pt x="10352" y="8302"/>
                  </a:cubicBezTo>
                  <a:cubicBezTo>
                    <a:pt x="10385" y="8302"/>
                    <a:pt x="10419" y="8302"/>
                    <a:pt x="10452" y="8335"/>
                  </a:cubicBezTo>
                  <a:lnTo>
                    <a:pt x="10520" y="8335"/>
                  </a:lnTo>
                  <a:cubicBezTo>
                    <a:pt x="10553" y="8335"/>
                    <a:pt x="10553" y="8369"/>
                    <a:pt x="10587" y="8369"/>
                  </a:cubicBezTo>
                  <a:cubicBezTo>
                    <a:pt x="10654" y="8369"/>
                    <a:pt x="10721" y="8403"/>
                    <a:pt x="10822" y="8403"/>
                  </a:cubicBezTo>
                  <a:lnTo>
                    <a:pt x="11024" y="8403"/>
                  </a:lnTo>
                  <a:cubicBezTo>
                    <a:pt x="11091" y="8436"/>
                    <a:pt x="11158" y="8436"/>
                    <a:pt x="11259" y="8436"/>
                  </a:cubicBezTo>
                  <a:lnTo>
                    <a:pt x="11494" y="8436"/>
                  </a:lnTo>
                  <a:cubicBezTo>
                    <a:pt x="11561" y="8436"/>
                    <a:pt x="11662" y="8436"/>
                    <a:pt x="11730" y="8403"/>
                  </a:cubicBezTo>
                  <a:lnTo>
                    <a:pt x="11830" y="8403"/>
                  </a:lnTo>
                  <a:cubicBezTo>
                    <a:pt x="11898" y="8403"/>
                    <a:pt x="11965" y="8369"/>
                    <a:pt x="12032" y="8369"/>
                  </a:cubicBezTo>
                  <a:cubicBezTo>
                    <a:pt x="12032" y="8369"/>
                    <a:pt x="12066" y="8369"/>
                    <a:pt x="12099" y="8335"/>
                  </a:cubicBezTo>
                  <a:cubicBezTo>
                    <a:pt x="12166" y="8335"/>
                    <a:pt x="12234" y="8302"/>
                    <a:pt x="12334" y="8302"/>
                  </a:cubicBezTo>
                  <a:cubicBezTo>
                    <a:pt x="12368" y="8268"/>
                    <a:pt x="12402" y="8268"/>
                    <a:pt x="12435" y="8268"/>
                  </a:cubicBezTo>
                  <a:cubicBezTo>
                    <a:pt x="12469" y="8268"/>
                    <a:pt x="12469" y="8234"/>
                    <a:pt x="12503" y="8234"/>
                  </a:cubicBezTo>
                  <a:cubicBezTo>
                    <a:pt x="12637" y="8201"/>
                    <a:pt x="12805" y="8134"/>
                    <a:pt x="12939" y="8066"/>
                  </a:cubicBezTo>
                  <a:lnTo>
                    <a:pt x="12939" y="6151"/>
                  </a:lnTo>
                  <a:cubicBezTo>
                    <a:pt x="12805" y="6252"/>
                    <a:pt x="12671" y="6319"/>
                    <a:pt x="12503" y="6352"/>
                  </a:cubicBezTo>
                  <a:cubicBezTo>
                    <a:pt x="12435" y="6386"/>
                    <a:pt x="12402" y="6386"/>
                    <a:pt x="12334" y="6420"/>
                  </a:cubicBezTo>
                  <a:cubicBezTo>
                    <a:pt x="12267" y="6420"/>
                    <a:pt x="12200" y="6453"/>
                    <a:pt x="12099" y="6453"/>
                  </a:cubicBezTo>
                  <a:cubicBezTo>
                    <a:pt x="11998" y="6487"/>
                    <a:pt x="11931" y="6487"/>
                    <a:pt x="11830" y="6520"/>
                  </a:cubicBezTo>
                  <a:lnTo>
                    <a:pt x="11763" y="6520"/>
                  </a:lnTo>
                  <a:cubicBezTo>
                    <a:pt x="11629" y="6520"/>
                    <a:pt x="11494" y="6554"/>
                    <a:pt x="11393" y="6554"/>
                  </a:cubicBezTo>
                  <a:lnTo>
                    <a:pt x="11326" y="6554"/>
                  </a:lnTo>
                  <a:cubicBezTo>
                    <a:pt x="11192" y="6554"/>
                    <a:pt x="11057" y="6520"/>
                    <a:pt x="10957" y="6520"/>
                  </a:cubicBezTo>
                  <a:lnTo>
                    <a:pt x="10889" y="6520"/>
                  </a:lnTo>
                  <a:cubicBezTo>
                    <a:pt x="10755" y="6487"/>
                    <a:pt x="10654" y="6487"/>
                    <a:pt x="10520" y="6453"/>
                  </a:cubicBezTo>
                  <a:lnTo>
                    <a:pt x="10452" y="6453"/>
                  </a:lnTo>
                  <a:cubicBezTo>
                    <a:pt x="10352" y="6420"/>
                    <a:pt x="10251" y="6386"/>
                    <a:pt x="10150" y="6352"/>
                  </a:cubicBezTo>
                  <a:cubicBezTo>
                    <a:pt x="10116" y="6319"/>
                    <a:pt x="10116" y="6319"/>
                    <a:pt x="10083" y="6319"/>
                  </a:cubicBezTo>
                  <a:cubicBezTo>
                    <a:pt x="9982" y="6285"/>
                    <a:pt x="9847" y="6218"/>
                    <a:pt x="9747" y="6151"/>
                  </a:cubicBezTo>
                  <a:lnTo>
                    <a:pt x="706" y="941"/>
                  </a:lnTo>
                  <a:cubicBezTo>
                    <a:pt x="370" y="740"/>
                    <a:pt x="135" y="504"/>
                    <a:pt x="67" y="269"/>
                  </a:cubicBezTo>
                  <a:cubicBezTo>
                    <a:pt x="34" y="168"/>
                    <a:pt x="34" y="101"/>
                    <a:pt x="34" y="0"/>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15" name="Google Shape;2710;p49"/>
            <p:cNvSpPr/>
            <p:nvPr/>
          </p:nvSpPr>
          <p:spPr>
            <a:xfrm>
              <a:off x="-19596325" y="12816775"/>
              <a:ext cx="575575" cy="327300"/>
            </a:xfrm>
            <a:custGeom>
              <a:avLst/>
              <a:gdLst/>
              <a:ahLst/>
              <a:cxnLst/>
              <a:rect l="l" t="t" r="r" b="b"/>
              <a:pathLst>
                <a:path w="23023" h="13092" extrusionOk="0">
                  <a:moveTo>
                    <a:pt x="11478" y="1"/>
                  </a:moveTo>
                  <a:cubicBezTo>
                    <a:pt x="10898" y="1"/>
                    <a:pt x="10318" y="127"/>
                    <a:pt x="9881" y="379"/>
                  </a:cubicBezTo>
                  <a:lnTo>
                    <a:pt x="874" y="5622"/>
                  </a:lnTo>
                  <a:cubicBezTo>
                    <a:pt x="0" y="6126"/>
                    <a:pt x="0" y="6966"/>
                    <a:pt x="908" y="7470"/>
                  </a:cubicBezTo>
                  <a:lnTo>
                    <a:pt x="9949" y="12713"/>
                  </a:lnTo>
                  <a:cubicBezTo>
                    <a:pt x="10386" y="12965"/>
                    <a:pt x="10965" y="13091"/>
                    <a:pt x="11545" y="13091"/>
                  </a:cubicBezTo>
                  <a:cubicBezTo>
                    <a:pt x="12125" y="13091"/>
                    <a:pt x="12705" y="12965"/>
                    <a:pt x="13141" y="12713"/>
                  </a:cubicBezTo>
                  <a:lnTo>
                    <a:pt x="22149" y="7470"/>
                  </a:lnTo>
                  <a:cubicBezTo>
                    <a:pt x="23022" y="6966"/>
                    <a:pt x="23022" y="6126"/>
                    <a:pt x="22115" y="5622"/>
                  </a:cubicBezTo>
                  <a:lnTo>
                    <a:pt x="13074" y="379"/>
                  </a:lnTo>
                  <a:cubicBezTo>
                    <a:pt x="12637" y="127"/>
                    <a:pt x="12058" y="1"/>
                    <a:pt x="11478"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16" name="Google Shape;2711;p49"/>
            <p:cNvSpPr/>
            <p:nvPr/>
          </p:nvSpPr>
          <p:spPr>
            <a:xfrm>
              <a:off x="-18925825" y="13180800"/>
              <a:ext cx="242000" cy="200850"/>
            </a:xfrm>
            <a:custGeom>
              <a:avLst/>
              <a:gdLst/>
              <a:ahLst/>
              <a:cxnLst/>
              <a:rect l="l" t="t" r="r" b="b"/>
              <a:pathLst>
                <a:path w="9680" h="8034" extrusionOk="0">
                  <a:moveTo>
                    <a:pt x="9679" y="1"/>
                  </a:moveTo>
                  <a:cubicBezTo>
                    <a:pt x="9679" y="68"/>
                    <a:pt x="9646" y="169"/>
                    <a:pt x="9646" y="236"/>
                  </a:cubicBezTo>
                  <a:cubicBezTo>
                    <a:pt x="9612" y="236"/>
                    <a:pt x="9612" y="236"/>
                    <a:pt x="9612" y="270"/>
                  </a:cubicBezTo>
                  <a:cubicBezTo>
                    <a:pt x="9612" y="337"/>
                    <a:pt x="9545" y="404"/>
                    <a:pt x="9511" y="471"/>
                  </a:cubicBezTo>
                  <a:lnTo>
                    <a:pt x="9478" y="505"/>
                  </a:lnTo>
                  <a:cubicBezTo>
                    <a:pt x="9444" y="572"/>
                    <a:pt x="9377" y="639"/>
                    <a:pt x="9310" y="707"/>
                  </a:cubicBezTo>
                  <a:cubicBezTo>
                    <a:pt x="9276" y="740"/>
                    <a:pt x="9209" y="774"/>
                    <a:pt x="9142" y="807"/>
                  </a:cubicBezTo>
                  <a:cubicBezTo>
                    <a:pt x="9108" y="841"/>
                    <a:pt x="9074" y="875"/>
                    <a:pt x="9007" y="908"/>
                  </a:cubicBezTo>
                  <a:lnTo>
                    <a:pt x="34" y="6151"/>
                  </a:lnTo>
                  <a:lnTo>
                    <a:pt x="0" y="8033"/>
                  </a:lnTo>
                  <a:lnTo>
                    <a:pt x="0" y="8033"/>
                  </a:lnTo>
                  <a:lnTo>
                    <a:pt x="9007" y="2824"/>
                  </a:lnTo>
                  <a:cubicBezTo>
                    <a:pt x="9007" y="2790"/>
                    <a:pt x="9007" y="2790"/>
                    <a:pt x="9041" y="2790"/>
                  </a:cubicBezTo>
                  <a:cubicBezTo>
                    <a:pt x="9074" y="2757"/>
                    <a:pt x="9108" y="2723"/>
                    <a:pt x="9142" y="2723"/>
                  </a:cubicBezTo>
                  <a:cubicBezTo>
                    <a:pt x="9209" y="2656"/>
                    <a:pt x="9276" y="2622"/>
                    <a:pt x="9310" y="2589"/>
                  </a:cubicBezTo>
                  <a:cubicBezTo>
                    <a:pt x="9377" y="2521"/>
                    <a:pt x="9411" y="2488"/>
                    <a:pt x="9478" y="2421"/>
                  </a:cubicBezTo>
                  <a:cubicBezTo>
                    <a:pt x="9478" y="2421"/>
                    <a:pt x="9478" y="2421"/>
                    <a:pt x="9478" y="2387"/>
                  </a:cubicBezTo>
                  <a:lnTo>
                    <a:pt x="9511" y="2353"/>
                  </a:lnTo>
                  <a:cubicBezTo>
                    <a:pt x="9511" y="2353"/>
                    <a:pt x="9545" y="2320"/>
                    <a:pt x="9545" y="2286"/>
                  </a:cubicBezTo>
                  <a:cubicBezTo>
                    <a:pt x="9579" y="2253"/>
                    <a:pt x="9612" y="2219"/>
                    <a:pt x="9612" y="2152"/>
                  </a:cubicBezTo>
                  <a:cubicBezTo>
                    <a:pt x="9612" y="2152"/>
                    <a:pt x="9612" y="2118"/>
                    <a:pt x="9612" y="2118"/>
                  </a:cubicBezTo>
                  <a:cubicBezTo>
                    <a:pt x="9646" y="2085"/>
                    <a:pt x="9646" y="2051"/>
                    <a:pt x="9646" y="2051"/>
                  </a:cubicBezTo>
                  <a:cubicBezTo>
                    <a:pt x="9646" y="1984"/>
                    <a:pt x="9679" y="1950"/>
                    <a:pt x="9679" y="1917"/>
                  </a:cubicBezTo>
                  <a:lnTo>
                    <a:pt x="9679" y="1883"/>
                  </a:lnTo>
                  <a:lnTo>
                    <a:pt x="9679" y="1"/>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17" name="Google Shape;2712;p49"/>
            <p:cNvSpPr/>
            <p:nvPr/>
          </p:nvSpPr>
          <p:spPr>
            <a:xfrm>
              <a:off x="-19248475" y="13179975"/>
              <a:ext cx="322675" cy="210900"/>
            </a:xfrm>
            <a:custGeom>
              <a:avLst/>
              <a:gdLst/>
              <a:ahLst/>
              <a:cxnLst/>
              <a:rect l="l" t="t" r="r" b="b"/>
              <a:pathLst>
                <a:path w="12907" h="8436" extrusionOk="0">
                  <a:moveTo>
                    <a:pt x="0" y="0"/>
                  </a:moveTo>
                  <a:lnTo>
                    <a:pt x="0" y="1916"/>
                  </a:lnTo>
                  <a:cubicBezTo>
                    <a:pt x="0" y="2252"/>
                    <a:pt x="202" y="2588"/>
                    <a:pt x="673" y="2823"/>
                  </a:cubicBezTo>
                  <a:lnTo>
                    <a:pt x="9713" y="8066"/>
                  </a:lnTo>
                  <a:cubicBezTo>
                    <a:pt x="9814" y="8134"/>
                    <a:pt x="9915" y="8167"/>
                    <a:pt x="10049" y="8201"/>
                  </a:cubicBezTo>
                  <a:cubicBezTo>
                    <a:pt x="10049" y="8234"/>
                    <a:pt x="10049" y="8234"/>
                    <a:pt x="10049" y="8234"/>
                  </a:cubicBezTo>
                  <a:lnTo>
                    <a:pt x="10117" y="8234"/>
                  </a:lnTo>
                  <a:cubicBezTo>
                    <a:pt x="10184" y="8268"/>
                    <a:pt x="10251" y="8302"/>
                    <a:pt x="10318" y="8302"/>
                  </a:cubicBezTo>
                  <a:cubicBezTo>
                    <a:pt x="10352" y="8302"/>
                    <a:pt x="10386" y="8335"/>
                    <a:pt x="10419" y="8335"/>
                  </a:cubicBezTo>
                  <a:lnTo>
                    <a:pt x="10486" y="8335"/>
                  </a:lnTo>
                  <a:cubicBezTo>
                    <a:pt x="10520" y="8369"/>
                    <a:pt x="10520" y="8369"/>
                    <a:pt x="10554" y="8369"/>
                  </a:cubicBezTo>
                  <a:cubicBezTo>
                    <a:pt x="10621" y="8369"/>
                    <a:pt x="10722" y="8402"/>
                    <a:pt x="10789" y="8402"/>
                  </a:cubicBezTo>
                  <a:lnTo>
                    <a:pt x="10923" y="8402"/>
                  </a:lnTo>
                  <a:cubicBezTo>
                    <a:pt x="10957" y="8402"/>
                    <a:pt x="10990" y="8436"/>
                    <a:pt x="10990" y="8436"/>
                  </a:cubicBezTo>
                  <a:lnTo>
                    <a:pt x="11461" y="8436"/>
                  </a:lnTo>
                  <a:cubicBezTo>
                    <a:pt x="11528" y="8436"/>
                    <a:pt x="11629" y="8436"/>
                    <a:pt x="11696" y="8402"/>
                  </a:cubicBezTo>
                  <a:lnTo>
                    <a:pt x="11797" y="8402"/>
                  </a:lnTo>
                  <a:cubicBezTo>
                    <a:pt x="11864" y="8402"/>
                    <a:pt x="11932" y="8402"/>
                    <a:pt x="11999" y="8369"/>
                  </a:cubicBezTo>
                  <a:lnTo>
                    <a:pt x="12066" y="8369"/>
                  </a:lnTo>
                  <a:cubicBezTo>
                    <a:pt x="12133" y="8335"/>
                    <a:pt x="12234" y="8335"/>
                    <a:pt x="12301" y="8302"/>
                  </a:cubicBezTo>
                  <a:cubicBezTo>
                    <a:pt x="12335" y="8302"/>
                    <a:pt x="12368" y="8268"/>
                    <a:pt x="12436" y="8268"/>
                  </a:cubicBezTo>
                  <a:cubicBezTo>
                    <a:pt x="12436" y="8268"/>
                    <a:pt x="12469" y="8268"/>
                    <a:pt x="12469" y="8234"/>
                  </a:cubicBezTo>
                  <a:cubicBezTo>
                    <a:pt x="12637" y="8201"/>
                    <a:pt x="12772" y="8134"/>
                    <a:pt x="12906" y="8066"/>
                  </a:cubicBezTo>
                  <a:lnTo>
                    <a:pt x="12906" y="6151"/>
                  </a:lnTo>
                  <a:cubicBezTo>
                    <a:pt x="12805" y="6251"/>
                    <a:pt x="12637" y="6319"/>
                    <a:pt x="12469" y="6386"/>
                  </a:cubicBezTo>
                  <a:cubicBezTo>
                    <a:pt x="12436" y="6386"/>
                    <a:pt x="12368" y="6419"/>
                    <a:pt x="12301" y="6419"/>
                  </a:cubicBezTo>
                  <a:cubicBezTo>
                    <a:pt x="12234" y="6453"/>
                    <a:pt x="12167" y="6453"/>
                    <a:pt x="12066" y="6487"/>
                  </a:cubicBezTo>
                  <a:cubicBezTo>
                    <a:pt x="11999" y="6487"/>
                    <a:pt x="11898" y="6520"/>
                    <a:pt x="11797" y="6520"/>
                  </a:cubicBezTo>
                  <a:lnTo>
                    <a:pt x="11730" y="6520"/>
                  </a:lnTo>
                  <a:cubicBezTo>
                    <a:pt x="11629" y="6554"/>
                    <a:pt x="11495" y="6554"/>
                    <a:pt x="11360" y="6554"/>
                  </a:cubicBezTo>
                  <a:lnTo>
                    <a:pt x="11293" y="6554"/>
                  </a:lnTo>
                  <a:cubicBezTo>
                    <a:pt x="11159" y="6554"/>
                    <a:pt x="11058" y="6554"/>
                    <a:pt x="10923" y="6520"/>
                  </a:cubicBezTo>
                  <a:lnTo>
                    <a:pt x="10856" y="6520"/>
                  </a:lnTo>
                  <a:cubicBezTo>
                    <a:pt x="10755" y="6520"/>
                    <a:pt x="10621" y="6487"/>
                    <a:pt x="10486" y="6453"/>
                  </a:cubicBezTo>
                  <a:lnTo>
                    <a:pt x="10419" y="6453"/>
                  </a:lnTo>
                  <a:cubicBezTo>
                    <a:pt x="10318" y="6419"/>
                    <a:pt x="10217" y="6386"/>
                    <a:pt x="10117" y="6352"/>
                  </a:cubicBezTo>
                  <a:lnTo>
                    <a:pt x="10049" y="6352"/>
                  </a:lnTo>
                  <a:cubicBezTo>
                    <a:pt x="9949" y="6285"/>
                    <a:pt x="9814" y="6251"/>
                    <a:pt x="9713" y="6184"/>
                  </a:cubicBezTo>
                  <a:lnTo>
                    <a:pt x="673" y="941"/>
                  </a:lnTo>
                  <a:cubicBezTo>
                    <a:pt x="337" y="740"/>
                    <a:pt x="135" y="504"/>
                    <a:pt x="34" y="269"/>
                  </a:cubicBezTo>
                  <a:cubicBezTo>
                    <a:pt x="0" y="168"/>
                    <a:pt x="0" y="101"/>
                    <a:pt x="0" y="0"/>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18" name="Google Shape;2713;p49"/>
            <p:cNvSpPr/>
            <p:nvPr/>
          </p:nvSpPr>
          <p:spPr>
            <a:xfrm>
              <a:off x="-19254350" y="13016975"/>
              <a:ext cx="575575" cy="327075"/>
            </a:xfrm>
            <a:custGeom>
              <a:avLst/>
              <a:gdLst/>
              <a:ahLst/>
              <a:cxnLst/>
              <a:rect l="l" t="t" r="r" b="b"/>
              <a:pathLst>
                <a:path w="23023" h="13083" extrusionOk="0">
                  <a:moveTo>
                    <a:pt x="11478" y="0"/>
                  </a:moveTo>
                  <a:cubicBezTo>
                    <a:pt x="10898" y="0"/>
                    <a:pt x="10318" y="135"/>
                    <a:pt x="9881" y="403"/>
                  </a:cubicBezTo>
                  <a:lnTo>
                    <a:pt x="874" y="5613"/>
                  </a:lnTo>
                  <a:cubicBezTo>
                    <a:pt x="0" y="6117"/>
                    <a:pt x="0" y="6957"/>
                    <a:pt x="908" y="7461"/>
                  </a:cubicBezTo>
                  <a:lnTo>
                    <a:pt x="9948" y="12704"/>
                  </a:lnTo>
                  <a:cubicBezTo>
                    <a:pt x="10402" y="12956"/>
                    <a:pt x="10982" y="13082"/>
                    <a:pt x="11557" y="13082"/>
                  </a:cubicBezTo>
                  <a:cubicBezTo>
                    <a:pt x="12133" y="13082"/>
                    <a:pt x="12704" y="12956"/>
                    <a:pt x="13141" y="12704"/>
                  </a:cubicBezTo>
                  <a:lnTo>
                    <a:pt x="22148" y="7461"/>
                  </a:lnTo>
                  <a:cubicBezTo>
                    <a:pt x="23022" y="6957"/>
                    <a:pt x="23022" y="6117"/>
                    <a:pt x="22148" y="5613"/>
                  </a:cubicBezTo>
                  <a:lnTo>
                    <a:pt x="13074" y="403"/>
                  </a:lnTo>
                  <a:cubicBezTo>
                    <a:pt x="12637" y="135"/>
                    <a:pt x="12057" y="0"/>
                    <a:pt x="11478"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19" name="Google Shape;2714;p49"/>
            <p:cNvSpPr/>
            <p:nvPr/>
          </p:nvSpPr>
          <p:spPr>
            <a:xfrm>
              <a:off x="-18597300" y="13375750"/>
              <a:ext cx="241150" cy="200825"/>
            </a:xfrm>
            <a:custGeom>
              <a:avLst/>
              <a:gdLst/>
              <a:ahLst/>
              <a:cxnLst/>
              <a:rect l="l" t="t" r="r" b="b"/>
              <a:pathLst>
                <a:path w="9646" h="8033" extrusionOk="0">
                  <a:moveTo>
                    <a:pt x="9646" y="0"/>
                  </a:moveTo>
                  <a:cubicBezTo>
                    <a:pt x="9646" y="67"/>
                    <a:pt x="9646" y="134"/>
                    <a:pt x="9612" y="235"/>
                  </a:cubicBezTo>
                  <a:cubicBezTo>
                    <a:pt x="9579" y="336"/>
                    <a:pt x="9545" y="403"/>
                    <a:pt x="9511" y="471"/>
                  </a:cubicBezTo>
                  <a:lnTo>
                    <a:pt x="9478" y="504"/>
                  </a:lnTo>
                  <a:cubicBezTo>
                    <a:pt x="9411" y="571"/>
                    <a:pt x="9377" y="639"/>
                    <a:pt x="9276" y="706"/>
                  </a:cubicBezTo>
                  <a:cubicBezTo>
                    <a:pt x="9242" y="739"/>
                    <a:pt x="9175" y="773"/>
                    <a:pt x="9142" y="807"/>
                  </a:cubicBezTo>
                  <a:cubicBezTo>
                    <a:pt x="9074" y="840"/>
                    <a:pt x="9041" y="874"/>
                    <a:pt x="8974" y="907"/>
                  </a:cubicBezTo>
                  <a:lnTo>
                    <a:pt x="0" y="6150"/>
                  </a:lnTo>
                  <a:lnTo>
                    <a:pt x="0" y="8033"/>
                  </a:lnTo>
                  <a:lnTo>
                    <a:pt x="8974" y="2823"/>
                  </a:lnTo>
                  <a:cubicBezTo>
                    <a:pt x="9007" y="2790"/>
                    <a:pt x="9007" y="2790"/>
                    <a:pt x="9007" y="2790"/>
                  </a:cubicBezTo>
                  <a:cubicBezTo>
                    <a:pt x="9041" y="2756"/>
                    <a:pt x="9074" y="2722"/>
                    <a:pt x="9142" y="2722"/>
                  </a:cubicBezTo>
                  <a:cubicBezTo>
                    <a:pt x="9175" y="2655"/>
                    <a:pt x="9242" y="2622"/>
                    <a:pt x="9276" y="2588"/>
                  </a:cubicBezTo>
                  <a:lnTo>
                    <a:pt x="9310" y="2588"/>
                  </a:lnTo>
                  <a:cubicBezTo>
                    <a:pt x="9343" y="2521"/>
                    <a:pt x="9411" y="2487"/>
                    <a:pt x="9444" y="2420"/>
                  </a:cubicBezTo>
                  <a:cubicBezTo>
                    <a:pt x="9444" y="2420"/>
                    <a:pt x="9478" y="2386"/>
                    <a:pt x="9478" y="2386"/>
                  </a:cubicBezTo>
                  <a:lnTo>
                    <a:pt x="9511" y="2353"/>
                  </a:lnTo>
                  <a:cubicBezTo>
                    <a:pt x="9511" y="2319"/>
                    <a:pt x="9511" y="2319"/>
                    <a:pt x="9545" y="2285"/>
                  </a:cubicBezTo>
                  <a:cubicBezTo>
                    <a:pt x="9579" y="2252"/>
                    <a:pt x="9579" y="2218"/>
                    <a:pt x="9612" y="2151"/>
                  </a:cubicBezTo>
                  <a:cubicBezTo>
                    <a:pt x="9612" y="2117"/>
                    <a:pt x="9612" y="2117"/>
                    <a:pt x="9612" y="2117"/>
                  </a:cubicBezTo>
                  <a:cubicBezTo>
                    <a:pt x="9612" y="2084"/>
                    <a:pt x="9612" y="2050"/>
                    <a:pt x="9646" y="2017"/>
                  </a:cubicBezTo>
                  <a:cubicBezTo>
                    <a:pt x="9646" y="1983"/>
                    <a:pt x="9646" y="1949"/>
                    <a:pt x="9646" y="1916"/>
                  </a:cubicBezTo>
                  <a:lnTo>
                    <a:pt x="9646" y="1882"/>
                  </a:lnTo>
                  <a:lnTo>
                    <a:pt x="9646" y="0"/>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20" name="Google Shape;2715;p49"/>
            <p:cNvSpPr/>
            <p:nvPr/>
          </p:nvSpPr>
          <p:spPr>
            <a:xfrm>
              <a:off x="-18920800" y="13374900"/>
              <a:ext cx="323525" cy="210925"/>
            </a:xfrm>
            <a:custGeom>
              <a:avLst/>
              <a:gdLst/>
              <a:ahLst/>
              <a:cxnLst/>
              <a:rect l="l" t="t" r="r" b="b"/>
              <a:pathLst>
                <a:path w="12941" h="8437" extrusionOk="0">
                  <a:moveTo>
                    <a:pt x="1" y="0"/>
                  </a:moveTo>
                  <a:lnTo>
                    <a:pt x="1" y="1883"/>
                  </a:lnTo>
                  <a:cubicBezTo>
                    <a:pt x="1" y="2252"/>
                    <a:pt x="236" y="2588"/>
                    <a:pt x="673" y="2824"/>
                  </a:cubicBezTo>
                  <a:lnTo>
                    <a:pt x="9747" y="8067"/>
                  </a:lnTo>
                  <a:cubicBezTo>
                    <a:pt x="9848" y="8100"/>
                    <a:pt x="9949" y="8167"/>
                    <a:pt x="10050" y="8201"/>
                  </a:cubicBezTo>
                  <a:cubicBezTo>
                    <a:pt x="10050" y="8235"/>
                    <a:pt x="10083" y="8235"/>
                    <a:pt x="10083" y="8235"/>
                  </a:cubicBezTo>
                  <a:lnTo>
                    <a:pt x="10117" y="8235"/>
                  </a:lnTo>
                  <a:cubicBezTo>
                    <a:pt x="10184" y="8268"/>
                    <a:pt x="10251" y="8302"/>
                    <a:pt x="10352" y="8302"/>
                  </a:cubicBezTo>
                  <a:cubicBezTo>
                    <a:pt x="10386" y="8302"/>
                    <a:pt x="10419" y="8335"/>
                    <a:pt x="10453" y="8335"/>
                  </a:cubicBezTo>
                  <a:lnTo>
                    <a:pt x="10520" y="8335"/>
                  </a:lnTo>
                  <a:cubicBezTo>
                    <a:pt x="10554" y="8369"/>
                    <a:pt x="10554" y="8369"/>
                    <a:pt x="10588" y="8369"/>
                  </a:cubicBezTo>
                  <a:cubicBezTo>
                    <a:pt x="10655" y="8369"/>
                    <a:pt x="10722" y="8403"/>
                    <a:pt x="10789" y="8403"/>
                  </a:cubicBezTo>
                  <a:lnTo>
                    <a:pt x="10924" y="8403"/>
                  </a:lnTo>
                  <a:cubicBezTo>
                    <a:pt x="10957" y="8403"/>
                    <a:pt x="10991" y="8436"/>
                    <a:pt x="11024" y="8436"/>
                  </a:cubicBezTo>
                  <a:lnTo>
                    <a:pt x="11461" y="8436"/>
                  </a:lnTo>
                  <a:cubicBezTo>
                    <a:pt x="11562" y="8436"/>
                    <a:pt x="11629" y="8436"/>
                    <a:pt x="11730" y="8403"/>
                  </a:cubicBezTo>
                  <a:lnTo>
                    <a:pt x="11831" y="8403"/>
                  </a:lnTo>
                  <a:cubicBezTo>
                    <a:pt x="11898" y="8403"/>
                    <a:pt x="11965" y="8403"/>
                    <a:pt x="11999" y="8369"/>
                  </a:cubicBezTo>
                  <a:lnTo>
                    <a:pt x="12100" y="8369"/>
                  </a:lnTo>
                  <a:cubicBezTo>
                    <a:pt x="12167" y="8335"/>
                    <a:pt x="12234" y="8335"/>
                    <a:pt x="12335" y="8302"/>
                  </a:cubicBezTo>
                  <a:cubicBezTo>
                    <a:pt x="12369" y="8302"/>
                    <a:pt x="12402" y="8268"/>
                    <a:pt x="12436" y="8268"/>
                  </a:cubicBezTo>
                  <a:cubicBezTo>
                    <a:pt x="12470" y="8268"/>
                    <a:pt x="12470" y="8268"/>
                    <a:pt x="12503" y="8235"/>
                  </a:cubicBezTo>
                  <a:cubicBezTo>
                    <a:pt x="12638" y="8201"/>
                    <a:pt x="12806" y="8134"/>
                    <a:pt x="12940" y="8067"/>
                  </a:cubicBezTo>
                  <a:lnTo>
                    <a:pt x="12940" y="6151"/>
                  </a:lnTo>
                  <a:cubicBezTo>
                    <a:pt x="12806" y="6252"/>
                    <a:pt x="12671" y="6319"/>
                    <a:pt x="12503" y="6386"/>
                  </a:cubicBezTo>
                  <a:cubicBezTo>
                    <a:pt x="12436" y="6386"/>
                    <a:pt x="12402" y="6420"/>
                    <a:pt x="12335" y="6420"/>
                  </a:cubicBezTo>
                  <a:cubicBezTo>
                    <a:pt x="12268" y="6453"/>
                    <a:pt x="12167" y="6453"/>
                    <a:pt x="12100" y="6487"/>
                  </a:cubicBezTo>
                  <a:cubicBezTo>
                    <a:pt x="11999" y="6487"/>
                    <a:pt x="11932" y="6521"/>
                    <a:pt x="11831" y="6521"/>
                  </a:cubicBezTo>
                  <a:lnTo>
                    <a:pt x="11764" y="6521"/>
                  </a:lnTo>
                  <a:cubicBezTo>
                    <a:pt x="11629" y="6554"/>
                    <a:pt x="11495" y="6554"/>
                    <a:pt x="11394" y="6554"/>
                  </a:cubicBezTo>
                  <a:lnTo>
                    <a:pt x="11327" y="6554"/>
                  </a:lnTo>
                  <a:cubicBezTo>
                    <a:pt x="11192" y="6554"/>
                    <a:pt x="11058" y="6554"/>
                    <a:pt x="10957" y="6521"/>
                  </a:cubicBezTo>
                  <a:lnTo>
                    <a:pt x="10890" y="6521"/>
                  </a:lnTo>
                  <a:cubicBezTo>
                    <a:pt x="10756" y="6521"/>
                    <a:pt x="10655" y="6487"/>
                    <a:pt x="10520" y="6453"/>
                  </a:cubicBezTo>
                  <a:lnTo>
                    <a:pt x="10453" y="6453"/>
                  </a:lnTo>
                  <a:cubicBezTo>
                    <a:pt x="10352" y="6420"/>
                    <a:pt x="10251" y="6386"/>
                    <a:pt x="10151" y="6352"/>
                  </a:cubicBezTo>
                  <a:cubicBezTo>
                    <a:pt x="10117" y="6352"/>
                    <a:pt x="10117" y="6319"/>
                    <a:pt x="10083" y="6319"/>
                  </a:cubicBezTo>
                  <a:cubicBezTo>
                    <a:pt x="9949" y="6285"/>
                    <a:pt x="9848" y="6218"/>
                    <a:pt x="9747" y="6151"/>
                  </a:cubicBezTo>
                  <a:lnTo>
                    <a:pt x="673" y="941"/>
                  </a:lnTo>
                  <a:cubicBezTo>
                    <a:pt x="337" y="740"/>
                    <a:pt x="135" y="505"/>
                    <a:pt x="68" y="269"/>
                  </a:cubicBezTo>
                  <a:cubicBezTo>
                    <a:pt x="34" y="168"/>
                    <a:pt x="1" y="101"/>
                    <a:pt x="1" y="0"/>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21" name="Google Shape;2716;p49"/>
            <p:cNvSpPr/>
            <p:nvPr/>
          </p:nvSpPr>
          <p:spPr>
            <a:xfrm>
              <a:off x="-18925825" y="13211900"/>
              <a:ext cx="575550" cy="327075"/>
            </a:xfrm>
            <a:custGeom>
              <a:avLst/>
              <a:gdLst/>
              <a:ahLst/>
              <a:cxnLst/>
              <a:rect l="l" t="t" r="r" b="b"/>
              <a:pathLst>
                <a:path w="23022" h="13083" extrusionOk="0">
                  <a:moveTo>
                    <a:pt x="11477" y="0"/>
                  </a:moveTo>
                  <a:cubicBezTo>
                    <a:pt x="10898" y="0"/>
                    <a:pt x="10318" y="135"/>
                    <a:pt x="9881" y="404"/>
                  </a:cubicBezTo>
                  <a:lnTo>
                    <a:pt x="874" y="5613"/>
                  </a:lnTo>
                  <a:cubicBezTo>
                    <a:pt x="0" y="6117"/>
                    <a:pt x="0" y="6957"/>
                    <a:pt x="908" y="7461"/>
                  </a:cubicBezTo>
                  <a:lnTo>
                    <a:pt x="9948" y="12704"/>
                  </a:lnTo>
                  <a:cubicBezTo>
                    <a:pt x="10385" y="12957"/>
                    <a:pt x="10965" y="13083"/>
                    <a:pt x="11545" y="13083"/>
                  </a:cubicBezTo>
                  <a:cubicBezTo>
                    <a:pt x="12124" y="13083"/>
                    <a:pt x="12704" y="12957"/>
                    <a:pt x="13141" y="12704"/>
                  </a:cubicBezTo>
                  <a:lnTo>
                    <a:pt x="22148" y="7461"/>
                  </a:lnTo>
                  <a:cubicBezTo>
                    <a:pt x="23022" y="6957"/>
                    <a:pt x="23022" y="6117"/>
                    <a:pt x="22115" y="5613"/>
                  </a:cubicBezTo>
                  <a:lnTo>
                    <a:pt x="13074" y="404"/>
                  </a:lnTo>
                  <a:cubicBezTo>
                    <a:pt x="12637" y="135"/>
                    <a:pt x="12057" y="0"/>
                    <a:pt x="11477"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22" name="Google Shape;2717;p49"/>
            <p:cNvSpPr/>
            <p:nvPr/>
          </p:nvSpPr>
          <p:spPr>
            <a:xfrm>
              <a:off x="-18265425" y="13570675"/>
              <a:ext cx="241175" cy="200825"/>
            </a:xfrm>
            <a:custGeom>
              <a:avLst/>
              <a:gdLst/>
              <a:ahLst/>
              <a:cxnLst/>
              <a:rect l="l" t="t" r="r" b="b"/>
              <a:pathLst>
                <a:path w="9647" h="8033" extrusionOk="0">
                  <a:moveTo>
                    <a:pt x="9646" y="0"/>
                  </a:moveTo>
                  <a:cubicBezTo>
                    <a:pt x="9646" y="67"/>
                    <a:pt x="9646" y="135"/>
                    <a:pt x="9613" y="236"/>
                  </a:cubicBezTo>
                  <a:cubicBezTo>
                    <a:pt x="9579" y="336"/>
                    <a:pt x="9545" y="404"/>
                    <a:pt x="9478" y="471"/>
                  </a:cubicBezTo>
                  <a:lnTo>
                    <a:pt x="9478" y="504"/>
                  </a:lnTo>
                  <a:cubicBezTo>
                    <a:pt x="9411" y="572"/>
                    <a:pt x="9344" y="639"/>
                    <a:pt x="9277" y="706"/>
                  </a:cubicBezTo>
                  <a:cubicBezTo>
                    <a:pt x="9243" y="740"/>
                    <a:pt x="9176" y="773"/>
                    <a:pt x="9142" y="807"/>
                  </a:cubicBezTo>
                  <a:cubicBezTo>
                    <a:pt x="9075" y="840"/>
                    <a:pt x="9041" y="874"/>
                    <a:pt x="8974" y="908"/>
                  </a:cubicBezTo>
                  <a:lnTo>
                    <a:pt x="1" y="6151"/>
                  </a:lnTo>
                  <a:lnTo>
                    <a:pt x="1" y="8033"/>
                  </a:lnTo>
                  <a:lnTo>
                    <a:pt x="8974" y="2790"/>
                  </a:lnTo>
                  <a:lnTo>
                    <a:pt x="9008" y="2790"/>
                  </a:lnTo>
                  <a:cubicBezTo>
                    <a:pt x="9041" y="2756"/>
                    <a:pt x="9075" y="2723"/>
                    <a:pt x="9142" y="2689"/>
                  </a:cubicBezTo>
                  <a:cubicBezTo>
                    <a:pt x="9176" y="2655"/>
                    <a:pt x="9243" y="2622"/>
                    <a:pt x="9277" y="2588"/>
                  </a:cubicBezTo>
                  <a:lnTo>
                    <a:pt x="9310" y="2588"/>
                  </a:lnTo>
                  <a:cubicBezTo>
                    <a:pt x="9344" y="2521"/>
                    <a:pt x="9411" y="2487"/>
                    <a:pt x="9445" y="2420"/>
                  </a:cubicBezTo>
                  <a:cubicBezTo>
                    <a:pt x="9445" y="2420"/>
                    <a:pt x="9478" y="2386"/>
                    <a:pt x="9478" y="2386"/>
                  </a:cubicBezTo>
                  <a:lnTo>
                    <a:pt x="9512" y="2353"/>
                  </a:lnTo>
                  <a:cubicBezTo>
                    <a:pt x="9512" y="2319"/>
                    <a:pt x="9512" y="2319"/>
                    <a:pt x="9545" y="2286"/>
                  </a:cubicBezTo>
                  <a:cubicBezTo>
                    <a:pt x="9579" y="2252"/>
                    <a:pt x="9579" y="2218"/>
                    <a:pt x="9613" y="2151"/>
                  </a:cubicBezTo>
                  <a:cubicBezTo>
                    <a:pt x="9613" y="2118"/>
                    <a:pt x="9613" y="2118"/>
                    <a:pt x="9613" y="2118"/>
                  </a:cubicBezTo>
                  <a:cubicBezTo>
                    <a:pt x="9613" y="2084"/>
                    <a:pt x="9613" y="2050"/>
                    <a:pt x="9646" y="2017"/>
                  </a:cubicBezTo>
                  <a:cubicBezTo>
                    <a:pt x="9646" y="1983"/>
                    <a:pt x="9646" y="1950"/>
                    <a:pt x="9646" y="1882"/>
                  </a:cubicBezTo>
                  <a:lnTo>
                    <a:pt x="9646" y="0"/>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23" name="Google Shape;2718;p49"/>
            <p:cNvSpPr/>
            <p:nvPr/>
          </p:nvSpPr>
          <p:spPr>
            <a:xfrm>
              <a:off x="-18588900" y="13569825"/>
              <a:ext cx="323500" cy="210925"/>
            </a:xfrm>
            <a:custGeom>
              <a:avLst/>
              <a:gdLst/>
              <a:ahLst/>
              <a:cxnLst/>
              <a:rect l="l" t="t" r="r" b="b"/>
              <a:pathLst>
                <a:path w="12940" h="8437" extrusionOk="0">
                  <a:moveTo>
                    <a:pt x="0" y="1"/>
                  </a:moveTo>
                  <a:lnTo>
                    <a:pt x="0" y="1883"/>
                  </a:lnTo>
                  <a:cubicBezTo>
                    <a:pt x="0" y="2219"/>
                    <a:pt x="235" y="2589"/>
                    <a:pt x="672" y="2824"/>
                  </a:cubicBezTo>
                  <a:lnTo>
                    <a:pt x="9713" y="8067"/>
                  </a:lnTo>
                  <a:cubicBezTo>
                    <a:pt x="9814" y="8100"/>
                    <a:pt x="9948" y="8168"/>
                    <a:pt x="10049" y="8201"/>
                  </a:cubicBezTo>
                  <a:lnTo>
                    <a:pt x="10083" y="8201"/>
                  </a:lnTo>
                  <a:cubicBezTo>
                    <a:pt x="10083" y="8235"/>
                    <a:pt x="10116" y="8235"/>
                    <a:pt x="10116" y="8235"/>
                  </a:cubicBezTo>
                  <a:cubicBezTo>
                    <a:pt x="10184" y="8268"/>
                    <a:pt x="10251" y="8268"/>
                    <a:pt x="10318" y="8302"/>
                  </a:cubicBezTo>
                  <a:cubicBezTo>
                    <a:pt x="10352" y="8302"/>
                    <a:pt x="10419" y="8302"/>
                    <a:pt x="10452" y="8336"/>
                  </a:cubicBezTo>
                  <a:lnTo>
                    <a:pt x="10520" y="8336"/>
                  </a:lnTo>
                  <a:cubicBezTo>
                    <a:pt x="10520" y="8336"/>
                    <a:pt x="10553" y="8369"/>
                    <a:pt x="10553" y="8369"/>
                  </a:cubicBezTo>
                  <a:cubicBezTo>
                    <a:pt x="10654" y="8369"/>
                    <a:pt x="10721" y="8403"/>
                    <a:pt x="10789" y="8403"/>
                  </a:cubicBezTo>
                  <a:lnTo>
                    <a:pt x="10923" y="8403"/>
                  </a:lnTo>
                  <a:cubicBezTo>
                    <a:pt x="10957" y="8403"/>
                    <a:pt x="10990" y="8436"/>
                    <a:pt x="11024" y="8436"/>
                  </a:cubicBezTo>
                  <a:lnTo>
                    <a:pt x="11461" y="8436"/>
                  </a:lnTo>
                  <a:cubicBezTo>
                    <a:pt x="11562" y="8436"/>
                    <a:pt x="11629" y="8436"/>
                    <a:pt x="11730" y="8403"/>
                  </a:cubicBezTo>
                  <a:lnTo>
                    <a:pt x="11797" y="8403"/>
                  </a:lnTo>
                  <a:cubicBezTo>
                    <a:pt x="11864" y="8403"/>
                    <a:pt x="11931" y="8403"/>
                    <a:pt x="11998" y="8369"/>
                  </a:cubicBezTo>
                  <a:lnTo>
                    <a:pt x="12099" y="8369"/>
                  </a:lnTo>
                  <a:cubicBezTo>
                    <a:pt x="12167" y="8336"/>
                    <a:pt x="12234" y="8336"/>
                    <a:pt x="12301" y="8302"/>
                  </a:cubicBezTo>
                  <a:cubicBezTo>
                    <a:pt x="12335" y="8302"/>
                    <a:pt x="12402" y="8268"/>
                    <a:pt x="12435" y="8268"/>
                  </a:cubicBezTo>
                  <a:cubicBezTo>
                    <a:pt x="12435" y="8268"/>
                    <a:pt x="12469" y="8268"/>
                    <a:pt x="12469" y="8235"/>
                  </a:cubicBezTo>
                  <a:cubicBezTo>
                    <a:pt x="12637" y="8201"/>
                    <a:pt x="12805" y="8134"/>
                    <a:pt x="12940" y="8067"/>
                  </a:cubicBezTo>
                  <a:lnTo>
                    <a:pt x="12940" y="6151"/>
                  </a:lnTo>
                  <a:cubicBezTo>
                    <a:pt x="12805" y="6252"/>
                    <a:pt x="12637" y="6319"/>
                    <a:pt x="12503" y="6353"/>
                  </a:cubicBezTo>
                  <a:cubicBezTo>
                    <a:pt x="12435" y="6386"/>
                    <a:pt x="12368" y="6386"/>
                    <a:pt x="12335" y="6420"/>
                  </a:cubicBezTo>
                  <a:cubicBezTo>
                    <a:pt x="12234" y="6420"/>
                    <a:pt x="12167" y="6454"/>
                    <a:pt x="12099" y="6487"/>
                  </a:cubicBezTo>
                  <a:cubicBezTo>
                    <a:pt x="11998" y="6487"/>
                    <a:pt x="11898" y="6487"/>
                    <a:pt x="11830" y="6521"/>
                  </a:cubicBezTo>
                  <a:lnTo>
                    <a:pt x="11763" y="6521"/>
                  </a:lnTo>
                  <a:cubicBezTo>
                    <a:pt x="11629" y="6521"/>
                    <a:pt x="11494" y="6554"/>
                    <a:pt x="11360" y="6554"/>
                  </a:cubicBezTo>
                  <a:lnTo>
                    <a:pt x="11326" y="6554"/>
                  </a:lnTo>
                  <a:cubicBezTo>
                    <a:pt x="11192" y="6554"/>
                    <a:pt x="11057" y="6521"/>
                    <a:pt x="10923" y="6521"/>
                  </a:cubicBezTo>
                  <a:lnTo>
                    <a:pt x="10889" y="6521"/>
                  </a:lnTo>
                  <a:cubicBezTo>
                    <a:pt x="10755" y="6487"/>
                    <a:pt x="10621" y="6487"/>
                    <a:pt x="10520" y="6454"/>
                  </a:cubicBezTo>
                  <a:lnTo>
                    <a:pt x="10452" y="6454"/>
                  </a:lnTo>
                  <a:cubicBezTo>
                    <a:pt x="10352" y="6420"/>
                    <a:pt x="10217" y="6386"/>
                    <a:pt x="10116" y="6353"/>
                  </a:cubicBezTo>
                  <a:cubicBezTo>
                    <a:pt x="10116" y="6319"/>
                    <a:pt x="10083" y="6319"/>
                    <a:pt x="10083" y="6319"/>
                  </a:cubicBezTo>
                  <a:cubicBezTo>
                    <a:pt x="9948" y="6285"/>
                    <a:pt x="9848" y="6218"/>
                    <a:pt x="9713" y="6151"/>
                  </a:cubicBezTo>
                  <a:lnTo>
                    <a:pt x="672" y="942"/>
                  </a:lnTo>
                  <a:cubicBezTo>
                    <a:pt x="336" y="740"/>
                    <a:pt x="135" y="505"/>
                    <a:pt x="34" y="270"/>
                  </a:cubicBezTo>
                  <a:cubicBezTo>
                    <a:pt x="34" y="169"/>
                    <a:pt x="0" y="101"/>
                    <a:pt x="0" y="1"/>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24" name="Google Shape;2719;p49"/>
            <p:cNvSpPr/>
            <p:nvPr/>
          </p:nvSpPr>
          <p:spPr>
            <a:xfrm>
              <a:off x="-18593950" y="13406825"/>
              <a:ext cx="575575" cy="327075"/>
            </a:xfrm>
            <a:custGeom>
              <a:avLst/>
              <a:gdLst/>
              <a:ahLst/>
              <a:cxnLst/>
              <a:rect l="l" t="t" r="r" b="b"/>
              <a:pathLst>
                <a:path w="23023" h="13083" extrusionOk="0">
                  <a:moveTo>
                    <a:pt x="11461" y="1"/>
                  </a:moveTo>
                  <a:cubicBezTo>
                    <a:pt x="10881" y="1"/>
                    <a:pt x="10302" y="135"/>
                    <a:pt x="9848" y="404"/>
                  </a:cubicBezTo>
                  <a:lnTo>
                    <a:pt x="874" y="5613"/>
                  </a:lnTo>
                  <a:cubicBezTo>
                    <a:pt x="1" y="6117"/>
                    <a:pt x="1" y="6958"/>
                    <a:pt x="874" y="7462"/>
                  </a:cubicBezTo>
                  <a:lnTo>
                    <a:pt x="9915" y="12705"/>
                  </a:lnTo>
                  <a:cubicBezTo>
                    <a:pt x="10369" y="12957"/>
                    <a:pt x="10957" y="13083"/>
                    <a:pt x="11541" y="13083"/>
                  </a:cubicBezTo>
                  <a:cubicBezTo>
                    <a:pt x="12125" y="13083"/>
                    <a:pt x="12705" y="12957"/>
                    <a:pt x="13142" y="12705"/>
                  </a:cubicBezTo>
                  <a:lnTo>
                    <a:pt x="22115" y="7462"/>
                  </a:lnTo>
                  <a:cubicBezTo>
                    <a:pt x="23022" y="6958"/>
                    <a:pt x="23022" y="6117"/>
                    <a:pt x="22115" y="5613"/>
                  </a:cubicBezTo>
                  <a:lnTo>
                    <a:pt x="13074" y="404"/>
                  </a:lnTo>
                  <a:cubicBezTo>
                    <a:pt x="12621" y="135"/>
                    <a:pt x="12041" y="1"/>
                    <a:pt x="11461"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25" name="Google Shape;2720;p49"/>
            <p:cNvSpPr/>
            <p:nvPr/>
          </p:nvSpPr>
          <p:spPr>
            <a:xfrm>
              <a:off x="-17936050" y="13757200"/>
              <a:ext cx="241150" cy="200825"/>
            </a:xfrm>
            <a:custGeom>
              <a:avLst/>
              <a:gdLst/>
              <a:ahLst/>
              <a:cxnLst/>
              <a:rect l="l" t="t" r="r" b="b"/>
              <a:pathLst>
                <a:path w="9646" h="8033" extrusionOk="0">
                  <a:moveTo>
                    <a:pt x="9646" y="0"/>
                  </a:moveTo>
                  <a:cubicBezTo>
                    <a:pt x="9646" y="101"/>
                    <a:pt x="9646" y="168"/>
                    <a:pt x="9612" y="236"/>
                  </a:cubicBezTo>
                  <a:cubicBezTo>
                    <a:pt x="9612" y="269"/>
                    <a:pt x="9612" y="269"/>
                    <a:pt x="9612" y="269"/>
                  </a:cubicBezTo>
                  <a:cubicBezTo>
                    <a:pt x="9579" y="336"/>
                    <a:pt x="9545" y="404"/>
                    <a:pt x="9511" y="471"/>
                  </a:cubicBezTo>
                  <a:lnTo>
                    <a:pt x="9478" y="505"/>
                  </a:lnTo>
                  <a:cubicBezTo>
                    <a:pt x="9411" y="572"/>
                    <a:pt x="9377" y="639"/>
                    <a:pt x="9276" y="706"/>
                  </a:cubicBezTo>
                  <a:cubicBezTo>
                    <a:pt x="9242" y="740"/>
                    <a:pt x="9175" y="807"/>
                    <a:pt x="9142" y="841"/>
                  </a:cubicBezTo>
                  <a:cubicBezTo>
                    <a:pt x="9074" y="874"/>
                    <a:pt x="9041" y="908"/>
                    <a:pt x="9007" y="941"/>
                  </a:cubicBezTo>
                  <a:lnTo>
                    <a:pt x="0" y="6151"/>
                  </a:lnTo>
                  <a:lnTo>
                    <a:pt x="0" y="8033"/>
                  </a:lnTo>
                  <a:lnTo>
                    <a:pt x="8974" y="2824"/>
                  </a:lnTo>
                  <a:lnTo>
                    <a:pt x="9007" y="2824"/>
                  </a:lnTo>
                  <a:cubicBezTo>
                    <a:pt x="9074" y="2790"/>
                    <a:pt x="9108" y="2756"/>
                    <a:pt x="9142" y="2723"/>
                  </a:cubicBezTo>
                  <a:cubicBezTo>
                    <a:pt x="9175" y="2689"/>
                    <a:pt x="9242" y="2655"/>
                    <a:pt x="9276" y="2622"/>
                  </a:cubicBezTo>
                  <a:cubicBezTo>
                    <a:pt x="9310" y="2588"/>
                    <a:pt x="9310" y="2588"/>
                    <a:pt x="9310" y="2588"/>
                  </a:cubicBezTo>
                  <a:cubicBezTo>
                    <a:pt x="9377" y="2555"/>
                    <a:pt x="9411" y="2487"/>
                    <a:pt x="9444" y="2454"/>
                  </a:cubicBezTo>
                  <a:cubicBezTo>
                    <a:pt x="9444" y="2420"/>
                    <a:pt x="9478" y="2420"/>
                    <a:pt x="9478" y="2420"/>
                  </a:cubicBezTo>
                  <a:lnTo>
                    <a:pt x="9511" y="2387"/>
                  </a:lnTo>
                  <a:cubicBezTo>
                    <a:pt x="9511" y="2353"/>
                    <a:pt x="9545" y="2319"/>
                    <a:pt x="9545" y="2319"/>
                  </a:cubicBezTo>
                  <a:cubicBezTo>
                    <a:pt x="9579" y="2286"/>
                    <a:pt x="9579" y="2219"/>
                    <a:pt x="9612" y="2185"/>
                  </a:cubicBezTo>
                  <a:cubicBezTo>
                    <a:pt x="9612" y="2185"/>
                    <a:pt x="9612" y="2185"/>
                    <a:pt x="9612" y="2151"/>
                  </a:cubicBezTo>
                  <a:cubicBezTo>
                    <a:pt x="9612" y="2118"/>
                    <a:pt x="9646" y="2084"/>
                    <a:pt x="9646" y="2051"/>
                  </a:cubicBezTo>
                  <a:cubicBezTo>
                    <a:pt x="9646" y="2017"/>
                    <a:pt x="9646" y="1950"/>
                    <a:pt x="9646" y="1916"/>
                  </a:cubicBezTo>
                  <a:lnTo>
                    <a:pt x="9646" y="0"/>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26" name="Google Shape;2721;p49"/>
            <p:cNvSpPr/>
            <p:nvPr/>
          </p:nvSpPr>
          <p:spPr>
            <a:xfrm>
              <a:off x="-18259550" y="13757200"/>
              <a:ext cx="323525" cy="210075"/>
            </a:xfrm>
            <a:custGeom>
              <a:avLst/>
              <a:gdLst/>
              <a:ahLst/>
              <a:cxnLst/>
              <a:rect l="l" t="t" r="r" b="b"/>
              <a:pathLst>
                <a:path w="12941" h="8403" extrusionOk="0">
                  <a:moveTo>
                    <a:pt x="1" y="0"/>
                  </a:moveTo>
                  <a:lnTo>
                    <a:pt x="1" y="1882"/>
                  </a:lnTo>
                  <a:cubicBezTo>
                    <a:pt x="1" y="2219"/>
                    <a:pt x="236" y="2555"/>
                    <a:pt x="673" y="2824"/>
                  </a:cubicBezTo>
                  <a:lnTo>
                    <a:pt x="9747" y="8033"/>
                  </a:lnTo>
                  <a:cubicBezTo>
                    <a:pt x="9848" y="8100"/>
                    <a:pt x="9949" y="8167"/>
                    <a:pt x="10050" y="8201"/>
                  </a:cubicBezTo>
                  <a:lnTo>
                    <a:pt x="10083" y="8201"/>
                  </a:lnTo>
                  <a:cubicBezTo>
                    <a:pt x="10083" y="8201"/>
                    <a:pt x="10117" y="8201"/>
                    <a:pt x="10117" y="8235"/>
                  </a:cubicBezTo>
                  <a:cubicBezTo>
                    <a:pt x="10184" y="8235"/>
                    <a:pt x="10251" y="8268"/>
                    <a:pt x="10352" y="8302"/>
                  </a:cubicBezTo>
                  <a:lnTo>
                    <a:pt x="10453" y="8302"/>
                  </a:lnTo>
                  <a:cubicBezTo>
                    <a:pt x="10487" y="8335"/>
                    <a:pt x="10487" y="8335"/>
                    <a:pt x="10520" y="8335"/>
                  </a:cubicBezTo>
                  <a:lnTo>
                    <a:pt x="10587" y="8335"/>
                  </a:lnTo>
                  <a:cubicBezTo>
                    <a:pt x="10655" y="8369"/>
                    <a:pt x="10722" y="8369"/>
                    <a:pt x="10789" y="8369"/>
                  </a:cubicBezTo>
                  <a:cubicBezTo>
                    <a:pt x="10823" y="8403"/>
                    <a:pt x="10856" y="8403"/>
                    <a:pt x="10890" y="8403"/>
                  </a:cubicBezTo>
                  <a:lnTo>
                    <a:pt x="11831" y="8403"/>
                  </a:lnTo>
                  <a:cubicBezTo>
                    <a:pt x="11898" y="8369"/>
                    <a:pt x="11965" y="8369"/>
                    <a:pt x="11999" y="8369"/>
                  </a:cubicBezTo>
                  <a:cubicBezTo>
                    <a:pt x="12033" y="8369"/>
                    <a:pt x="12066" y="8335"/>
                    <a:pt x="12100" y="8335"/>
                  </a:cubicBezTo>
                  <a:cubicBezTo>
                    <a:pt x="12167" y="8335"/>
                    <a:pt x="12234" y="8302"/>
                    <a:pt x="12335" y="8268"/>
                  </a:cubicBezTo>
                  <a:lnTo>
                    <a:pt x="12436" y="8268"/>
                  </a:lnTo>
                  <a:cubicBezTo>
                    <a:pt x="12470" y="8235"/>
                    <a:pt x="12470" y="8235"/>
                    <a:pt x="12503" y="8235"/>
                  </a:cubicBezTo>
                  <a:cubicBezTo>
                    <a:pt x="12638" y="8167"/>
                    <a:pt x="12806" y="8100"/>
                    <a:pt x="12940" y="8033"/>
                  </a:cubicBezTo>
                  <a:lnTo>
                    <a:pt x="12940" y="6151"/>
                  </a:lnTo>
                  <a:cubicBezTo>
                    <a:pt x="12806" y="6252"/>
                    <a:pt x="12671" y="6285"/>
                    <a:pt x="12503" y="6352"/>
                  </a:cubicBezTo>
                  <a:cubicBezTo>
                    <a:pt x="12436" y="6386"/>
                    <a:pt x="12402" y="6386"/>
                    <a:pt x="12335" y="6386"/>
                  </a:cubicBezTo>
                  <a:cubicBezTo>
                    <a:pt x="12268" y="6420"/>
                    <a:pt x="12167" y="6453"/>
                    <a:pt x="12100" y="6453"/>
                  </a:cubicBezTo>
                  <a:cubicBezTo>
                    <a:pt x="11999" y="6487"/>
                    <a:pt x="11932" y="6487"/>
                    <a:pt x="11831" y="6487"/>
                  </a:cubicBezTo>
                  <a:cubicBezTo>
                    <a:pt x="11797" y="6520"/>
                    <a:pt x="11797" y="6520"/>
                    <a:pt x="11764" y="6520"/>
                  </a:cubicBezTo>
                  <a:lnTo>
                    <a:pt x="10890" y="6520"/>
                  </a:lnTo>
                  <a:cubicBezTo>
                    <a:pt x="10756" y="6487"/>
                    <a:pt x="10655" y="6487"/>
                    <a:pt x="10520" y="6453"/>
                  </a:cubicBezTo>
                  <a:cubicBezTo>
                    <a:pt x="10487" y="6453"/>
                    <a:pt x="10487" y="6420"/>
                    <a:pt x="10453" y="6420"/>
                  </a:cubicBezTo>
                  <a:cubicBezTo>
                    <a:pt x="10352" y="6386"/>
                    <a:pt x="10251" y="6352"/>
                    <a:pt x="10151" y="6319"/>
                  </a:cubicBezTo>
                  <a:lnTo>
                    <a:pt x="10083" y="6319"/>
                  </a:lnTo>
                  <a:cubicBezTo>
                    <a:pt x="9949" y="6252"/>
                    <a:pt x="9848" y="6218"/>
                    <a:pt x="9747" y="6151"/>
                  </a:cubicBezTo>
                  <a:lnTo>
                    <a:pt x="673" y="941"/>
                  </a:lnTo>
                  <a:cubicBezTo>
                    <a:pt x="337" y="740"/>
                    <a:pt x="135" y="505"/>
                    <a:pt x="68" y="236"/>
                  </a:cubicBezTo>
                  <a:cubicBezTo>
                    <a:pt x="34" y="168"/>
                    <a:pt x="1" y="68"/>
                    <a:pt x="1" y="0"/>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27" name="Google Shape;2722;p49"/>
            <p:cNvSpPr/>
            <p:nvPr/>
          </p:nvSpPr>
          <p:spPr>
            <a:xfrm>
              <a:off x="-18264575" y="13593975"/>
              <a:ext cx="575550" cy="327100"/>
            </a:xfrm>
            <a:custGeom>
              <a:avLst/>
              <a:gdLst/>
              <a:ahLst/>
              <a:cxnLst/>
              <a:rect l="l" t="t" r="r" b="b"/>
              <a:pathLst>
                <a:path w="23022" h="13084" extrusionOk="0">
                  <a:moveTo>
                    <a:pt x="11461" y="1"/>
                  </a:moveTo>
                  <a:cubicBezTo>
                    <a:pt x="10881" y="1"/>
                    <a:pt x="10301" y="127"/>
                    <a:pt x="9847" y="379"/>
                  </a:cubicBezTo>
                  <a:lnTo>
                    <a:pt x="874" y="5622"/>
                  </a:lnTo>
                  <a:cubicBezTo>
                    <a:pt x="0" y="6126"/>
                    <a:pt x="0" y="6966"/>
                    <a:pt x="874" y="7470"/>
                  </a:cubicBezTo>
                  <a:lnTo>
                    <a:pt x="9948" y="12680"/>
                  </a:lnTo>
                  <a:cubicBezTo>
                    <a:pt x="10385" y="12949"/>
                    <a:pt x="10965" y="13083"/>
                    <a:pt x="11545" y="13083"/>
                  </a:cubicBezTo>
                  <a:cubicBezTo>
                    <a:pt x="12124" y="13083"/>
                    <a:pt x="12704" y="12949"/>
                    <a:pt x="13141" y="12680"/>
                  </a:cubicBezTo>
                  <a:lnTo>
                    <a:pt x="22148" y="7470"/>
                  </a:lnTo>
                  <a:cubicBezTo>
                    <a:pt x="23022" y="6966"/>
                    <a:pt x="23022" y="6126"/>
                    <a:pt x="22115" y="5622"/>
                  </a:cubicBezTo>
                  <a:lnTo>
                    <a:pt x="13074" y="379"/>
                  </a:lnTo>
                  <a:cubicBezTo>
                    <a:pt x="12620" y="127"/>
                    <a:pt x="12040" y="1"/>
                    <a:pt x="11461"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28" name="Google Shape;2723;p49"/>
            <p:cNvSpPr/>
            <p:nvPr/>
          </p:nvSpPr>
          <p:spPr>
            <a:xfrm>
              <a:off x="-21265000" y="12208675"/>
              <a:ext cx="241175" cy="200850"/>
            </a:xfrm>
            <a:custGeom>
              <a:avLst/>
              <a:gdLst/>
              <a:ahLst/>
              <a:cxnLst/>
              <a:rect l="l" t="t" r="r" b="b"/>
              <a:pathLst>
                <a:path w="9647" h="8034" extrusionOk="0">
                  <a:moveTo>
                    <a:pt x="9646" y="1"/>
                  </a:moveTo>
                  <a:cubicBezTo>
                    <a:pt x="9646" y="101"/>
                    <a:pt x="9613" y="169"/>
                    <a:pt x="9613" y="236"/>
                  </a:cubicBezTo>
                  <a:cubicBezTo>
                    <a:pt x="9613" y="236"/>
                    <a:pt x="9613" y="269"/>
                    <a:pt x="9613" y="269"/>
                  </a:cubicBezTo>
                  <a:cubicBezTo>
                    <a:pt x="9579" y="337"/>
                    <a:pt x="9546" y="404"/>
                    <a:pt x="9478" y="471"/>
                  </a:cubicBezTo>
                  <a:lnTo>
                    <a:pt x="9445" y="505"/>
                  </a:lnTo>
                  <a:cubicBezTo>
                    <a:pt x="9411" y="572"/>
                    <a:pt x="9344" y="639"/>
                    <a:pt x="9277" y="706"/>
                  </a:cubicBezTo>
                  <a:cubicBezTo>
                    <a:pt x="9243" y="740"/>
                    <a:pt x="9176" y="807"/>
                    <a:pt x="9109" y="841"/>
                  </a:cubicBezTo>
                  <a:cubicBezTo>
                    <a:pt x="9075" y="874"/>
                    <a:pt x="9041" y="908"/>
                    <a:pt x="8974" y="942"/>
                  </a:cubicBezTo>
                  <a:lnTo>
                    <a:pt x="1" y="6151"/>
                  </a:lnTo>
                  <a:lnTo>
                    <a:pt x="1" y="8033"/>
                  </a:lnTo>
                  <a:lnTo>
                    <a:pt x="8974" y="2824"/>
                  </a:lnTo>
                  <a:cubicBezTo>
                    <a:pt x="8974" y="2824"/>
                    <a:pt x="9008" y="2790"/>
                    <a:pt x="9008" y="2790"/>
                  </a:cubicBezTo>
                  <a:cubicBezTo>
                    <a:pt x="9041" y="2790"/>
                    <a:pt x="9075" y="2757"/>
                    <a:pt x="9109" y="2723"/>
                  </a:cubicBezTo>
                  <a:cubicBezTo>
                    <a:pt x="9176" y="2689"/>
                    <a:pt x="9243" y="2656"/>
                    <a:pt x="9277" y="2588"/>
                  </a:cubicBezTo>
                  <a:lnTo>
                    <a:pt x="9310" y="2588"/>
                  </a:lnTo>
                  <a:cubicBezTo>
                    <a:pt x="9344" y="2555"/>
                    <a:pt x="9411" y="2488"/>
                    <a:pt x="9445" y="2454"/>
                  </a:cubicBezTo>
                  <a:cubicBezTo>
                    <a:pt x="9445" y="2420"/>
                    <a:pt x="9445" y="2420"/>
                    <a:pt x="9445" y="2420"/>
                  </a:cubicBezTo>
                  <a:lnTo>
                    <a:pt x="9478" y="2353"/>
                  </a:lnTo>
                  <a:cubicBezTo>
                    <a:pt x="9512" y="2353"/>
                    <a:pt x="9512" y="2320"/>
                    <a:pt x="9512" y="2320"/>
                  </a:cubicBezTo>
                  <a:cubicBezTo>
                    <a:pt x="9546" y="2252"/>
                    <a:pt x="9579" y="2219"/>
                    <a:pt x="9579" y="2185"/>
                  </a:cubicBezTo>
                  <a:cubicBezTo>
                    <a:pt x="9579" y="2152"/>
                    <a:pt x="9579" y="2152"/>
                    <a:pt x="9579" y="2152"/>
                  </a:cubicBezTo>
                  <a:cubicBezTo>
                    <a:pt x="9613" y="2152"/>
                    <a:pt x="9613" y="2152"/>
                    <a:pt x="9613" y="2118"/>
                  </a:cubicBezTo>
                  <a:cubicBezTo>
                    <a:pt x="9613" y="2084"/>
                    <a:pt x="9613" y="2084"/>
                    <a:pt x="9613" y="2051"/>
                  </a:cubicBezTo>
                  <a:cubicBezTo>
                    <a:pt x="9646" y="2017"/>
                    <a:pt x="9646" y="1950"/>
                    <a:pt x="9646" y="1916"/>
                  </a:cubicBezTo>
                  <a:lnTo>
                    <a:pt x="9646" y="1883"/>
                  </a:lnTo>
                  <a:lnTo>
                    <a:pt x="9646" y="1"/>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29" name="Google Shape;2724;p49"/>
            <p:cNvSpPr/>
            <p:nvPr/>
          </p:nvSpPr>
          <p:spPr>
            <a:xfrm>
              <a:off x="-21588475" y="12208675"/>
              <a:ext cx="323500" cy="210075"/>
            </a:xfrm>
            <a:custGeom>
              <a:avLst/>
              <a:gdLst/>
              <a:ahLst/>
              <a:cxnLst/>
              <a:rect l="l" t="t" r="r" b="b"/>
              <a:pathLst>
                <a:path w="12940" h="8403" extrusionOk="0">
                  <a:moveTo>
                    <a:pt x="0" y="1"/>
                  </a:moveTo>
                  <a:lnTo>
                    <a:pt x="0" y="1883"/>
                  </a:lnTo>
                  <a:cubicBezTo>
                    <a:pt x="0" y="2219"/>
                    <a:pt x="236" y="2555"/>
                    <a:pt x="673" y="2824"/>
                  </a:cubicBezTo>
                  <a:lnTo>
                    <a:pt x="9713" y="8033"/>
                  </a:lnTo>
                  <a:cubicBezTo>
                    <a:pt x="9814" y="8100"/>
                    <a:pt x="9949" y="8134"/>
                    <a:pt x="10049" y="8201"/>
                  </a:cubicBezTo>
                  <a:lnTo>
                    <a:pt x="10117" y="8201"/>
                  </a:lnTo>
                  <a:cubicBezTo>
                    <a:pt x="10184" y="8235"/>
                    <a:pt x="10251" y="8268"/>
                    <a:pt x="10318" y="8268"/>
                  </a:cubicBezTo>
                  <a:cubicBezTo>
                    <a:pt x="10352" y="8302"/>
                    <a:pt x="10386" y="8302"/>
                    <a:pt x="10453" y="8302"/>
                  </a:cubicBezTo>
                  <a:cubicBezTo>
                    <a:pt x="10453" y="8302"/>
                    <a:pt x="10486" y="8336"/>
                    <a:pt x="10520" y="8336"/>
                  </a:cubicBezTo>
                  <a:lnTo>
                    <a:pt x="10554" y="8336"/>
                  </a:lnTo>
                  <a:cubicBezTo>
                    <a:pt x="10654" y="8369"/>
                    <a:pt x="10722" y="8369"/>
                    <a:pt x="10789" y="8369"/>
                  </a:cubicBezTo>
                  <a:lnTo>
                    <a:pt x="10856" y="8369"/>
                  </a:lnTo>
                  <a:cubicBezTo>
                    <a:pt x="10890" y="8369"/>
                    <a:pt x="10923" y="8403"/>
                    <a:pt x="10923" y="8403"/>
                  </a:cubicBezTo>
                  <a:lnTo>
                    <a:pt x="11730" y="8403"/>
                  </a:lnTo>
                  <a:cubicBezTo>
                    <a:pt x="11763" y="8369"/>
                    <a:pt x="11797" y="8369"/>
                    <a:pt x="11797" y="8369"/>
                  </a:cubicBezTo>
                  <a:cubicBezTo>
                    <a:pt x="11864" y="8369"/>
                    <a:pt x="11932" y="8369"/>
                    <a:pt x="11999" y="8336"/>
                  </a:cubicBezTo>
                  <a:lnTo>
                    <a:pt x="12066" y="8336"/>
                  </a:lnTo>
                  <a:cubicBezTo>
                    <a:pt x="12167" y="8302"/>
                    <a:pt x="12234" y="8302"/>
                    <a:pt x="12301" y="8268"/>
                  </a:cubicBezTo>
                  <a:cubicBezTo>
                    <a:pt x="12335" y="8268"/>
                    <a:pt x="12402" y="8268"/>
                    <a:pt x="12436" y="8235"/>
                  </a:cubicBezTo>
                  <a:lnTo>
                    <a:pt x="12469" y="8235"/>
                  </a:lnTo>
                  <a:cubicBezTo>
                    <a:pt x="12637" y="8168"/>
                    <a:pt x="12772" y="8100"/>
                    <a:pt x="12940" y="8033"/>
                  </a:cubicBezTo>
                  <a:lnTo>
                    <a:pt x="12940" y="6151"/>
                  </a:lnTo>
                  <a:cubicBezTo>
                    <a:pt x="12805" y="6252"/>
                    <a:pt x="12637" y="6285"/>
                    <a:pt x="12503" y="6353"/>
                  </a:cubicBezTo>
                  <a:cubicBezTo>
                    <a:pt x="12436" y="6386"/>
                    <a:pt x="12368" y="6386"/>
                    <a:pt x="12301" y="6420"/>
                  </a:cubicBezTo>
                  <a:cubicBezTo>
                    <a:pt x="12234" y="6420"/>
                    <a:pt x="12167" y="6453"/>
                    <a:pt x="12100" y="6453"/>
                  </a:cubicBezTo>
                  <a:cubicBezTo>
                    <a:pt x="11999" y="6487"/>
                    <a:pt x="11898" y="6487"/>
                    <a:pt x="11831" y="6521"/>
                  </a:cubicBezTo>
                  <a:lnTo>
                    <a:pt x="10890" y="6521"/>
                  </a:lnTo>
                  <a:cubicBezTo>
                    <a:pt x="10755" y="6487"/>
                    <a:pt x="10621" y="6453"/>
                    <a:pt x="10520" y="6453"/>
                  </a:cubicBezTo>
                  <a:cubicBezTo>
                    <a:pt x="10486" y="6453"/>
                    <a:pt x="10486" y="6420"/>
                    <a:pt x="10453" y="6420"/>
                  </a:cubicBezTo>
                  <a:cubicBezTo>
                    <a:pt x="10352" y="6386"/>
                    <a:pt x="10217" y="6353"/>
                    <a:pt x="10117" y="6319"/>
                  </a:cubicBezTo>
                  <a:lnTo>
                    <a:pt x="10083" y="6319"/>
                  </a:lnTo>
                  <a:cubicBezTo>
                    <a:pt x="9949" y="6252"/>
                    <a:pt x="9848" y="6218"/>
                    <a:pt x="9713" y="6151"/>
                  </a:cubicBezTo>
                  <a:lnTo>
                    <a:pt x="673" y="908"/>
                  </a:lnTo>
                  <a:cubicBezTo>
                    <a:pt x="337" y="740"/>
                    <a:pt x="135" y="505"/>
                    <a:pt x="34" y="236"/>
                  </a:cubicBezTo>
                  <a:cubicBezTo>
                    <a:pt x="34" y="169"/>
                    <a:pt x="0" y="68"/>
                    <a:pt x="0" y="1"/>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30" name="Google Shape;2725;p49"/>
            <p:cNvSpPr/>
            <p:nvPr/>
          </p:nvSpPr>
          <p:spPr>
            <a:xfrm>
              <a:off x="-21593525" y="12045475"/>
              <a:ext cx="575575" cy="327075"/>
            </a:xfrm>
            <a:custGeom>
              <a:avLst/>
              <a:gdLst/>
              <a:ahLst/>
              <a:cxnLst/>
              <a:rect l="l" t="t" r="r" b="b"/>
              <a:pathLst>
                <a:path w="23023" h="13083" extrusionOk="0">
                  <a:moveTo>
                    <a:pt x="11461" y="0"/>
                  </a:moveTo>
                  <a:cubicBezTo>
                    <a:pt x="10882" y="0"/>
                    <a:pt x="10302" y="126"/>
                    <a:pt x="9848" y="378"/>
                  </a:cubicBezTo>
                  <a:lnTo>
                    <a:pt x="875" y="5621"/>
                  </a:lnTo>
                  <a:cubicBezTo>
                    <a:pt x="1" y="6125"/>
                    <a:pt x="1" y="6966"/>
                    <a:pt x="875" y="7470"/>
                  </a:cubicBezTo>
                  <a:lnTo>
                    <a:pt x="9949" y="12679"/>
                  </a:lnTo>
                  <a:cubicBezTo>
                    <a:pt x="10386" y="12948"/>
                    <a:pt x="10966" y="13082"/>
                    <a:pt x="11545" y="13082"/>
                  </a:cubicBezTo>
                  <a:cubicBezTo>
                    <a:pt x="12125" y="13082"/>
                    <a:pt x="12705" y="12948"/>
                    <a:pt x="13142" y="12679"/>
                  </a:cubicBezTo>
                  <a:lnTo>
                    <a:pt x="22115" y="7470"/>
                  </a:lnTo>
                  <a:cubicBezTo>
                    <a:pt x="23023" y="6966"/>
                    <a:pt x="22989" y="6125"/>
                    <a:pt x="22115" y="5621"/>
                  </a:cubicBezTo>
                  <a:lnTo>
                    <a:pt x="13075" y="378"/>
                  </a:lnTo>
                  <a:cubicBezTo>
                    <a:pt x="12621" y="126"/>
                    <a:pt x="12041" y="0"/>
                    <a:pt x="11461"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31" name="Google Shape;2726;p49"/>
            <p:cNvSpPr/>
            <p:nvPr/>
          </p:nvSpPr>
          <p:spPr>
            <a:xfrm>
              <a:off x="-20935625" y="12410325"/>
              <a:ext cx="241150" cy="200850"/>
            </a:xfrm>
            <a:custGeom>
              <a:avLst/>
              <a:gdLst/>
              <a:ahLst/>
              <a:cxnLst/>
              <a:rect l="l" t="t" r="r" b="b"/>
              <a:pathLst>
                <a:path w="9646" h="8034" extrusionOk="0">
                  <a:moveTo>
                    <a:pt x="9646" y="1"/>
                  </a:moveTo>
                  <a:cubicBezTo>
                    <a:pt x="9646" y="102"/>
                    <a:pt x="9646" y="169"/>
                    <a:pt x="9612" y="236"/>
                  </a:cubicBezTo>
                  <a:cubicBezTo>
                    <a:pt x="9612" y="270"/>
                    <a:pt x="9612" y="270"/>
                    <a:pt x="9612" y="270"/>
                  </a:cubicBezTo>
                  <a:cubicBezTo>
                    <a:pt x="9579" y="337"/>
                    <a:pt x="9545" y="404"/>
                    <a:pt x="9478" y="471"/>
                  </a:cubicBezTo>
                  <a:lnTo>
                    <a:pt x="9478" y="505"/>
                  </a:lnTo>
                  <a:cubicBezTo>
                    <a:pt x="9411" y="572"/>
                    <a:pt x="9344" y="639"/>
                    <a:pt x="9276" y="706"/>
                  </a:cubicBezTo>
                  <a:cubicBezTo>
                    <a:pt x="9243" y="740"/>
                    <a:pt x="9175" y="807"/>
                    <a:pt x="9142" y="841"/>
                  </a:cubicBezTo>
                  <a:cubicBezTo>
                    <a:pt x="9075" y="875"/>
                    <a:pt x="9041" y="908"/>
                    <a:pt x="8974" y="942"/>
                  </a:cubicBezTo>
                  <a:lnTo>
                    <a:pt x="0" y="6151"/>
                  </a:lnTo>
                  <a:lnTo>
                    <a:pt x="0" y="8033"/>
                  </a:lnTo>
                  <a:lnTo>
                    <a:pt x="8974" y="2824"/>
                  </a:lnTo>
                  <a:cubicBezTo>
                    <a:pt x="9007" y="2824"/>
                    <a:pt x="9007" y="2824"/>
                    <a:pt x="9007" y="2790"/>
                  </a:cubicBezTo>
                  <a:cubicBezTo>
                    <a:pt x="9041" y="2790"/>
                    <a:pt x="9075" y="2757"/>
                    <a:pt x="9142" y="2723"/>
                  </a:cubicBezTo>
                  <a:cubicBezTo>
                    <a:pt x="9175" y="2689"/>
                    <a:pt x="9243" y="2656"/>
                    <a:pt x="9276" y="2589"/>
                  </a:cubicBezTo>
                  <a:lnTo>
                    <a:pt x="9310" y="2589"/>
                  </a:lnTo>
                  <a:cubicBezTo>
                    <a:pt x="9344" y="2555"/>
                    <a:pt x="9411" y="2488"/>
                    <a:pt x="9444" y="2454"/>
                  </a:cubicBezTo>
                  <a:cubicBezTo>
                    <a:pt x="9444" y="2421"/>
                    <a:pt x="9478" y="2421"/>
                    <a:pt x="9478" y="2421"/>
                  </a:cubicBezTo>
                  <a:lnTo>
                    <a:pt x="9512" y="2387"/>
                  </a:lnTo>
                  <a:cubicBezTo>
                    <a:pt x="9512" y="2353"/>
                    <a:pt x="9512" y="2320"/>
                    <a:pt x="9545" y="2320"/>
                  </a:cubicBezTo>
                  <a:cubicBezTo>
                    <a:pt x="9579" y="2252"/>
                    <a:pt x="9579" y="2219"/>
                    <a:pt x="9612" y="2185"/>
                  </a:cubicBezTo>
                  <a:cubicBezTo>
                    <a:pt x="9612" y="2185"/>
                    <a:pt x="9612" y="2152"/>
                    <a:pt x="9612" y="2152"/>
                  </a:cubicBezTo>
                  <a:cubicBezTo>
                    <a:pt x="9612" y="2152"/>
                    <a:pt x="9612" y="2152"/>
                    <a:pt x="9612" y="2118"/>
                  </a:cubicBezTo>
                  <a:cubicBezTo>
                    <a:pt x="9612" y="2118"/>
                    <a:pt x="9612" y="2084"/>
                    <a:pt x="9646" y="2051"/>
                  </a:cubicBezTo>
                  <a:cubicBezTo>
                    <a:pt x="9646" y="2017"/>
                    <a:pt x="9646" y="1950"/>
                    <a:pt x="9646" y="1916"/>
                  </a:cubicBezTo>
                  <a:lnTo>
                    <a:pt x="9646" y="1883"/>
                  </a:lnTo>
                  <a:lnTo>
                    <a:pt x="9646" y="1"/>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32" name="Google Shape;2727;p49"/>
            <p:cNvSpPr/>
            <p:nvPr/>
          </p:nvSpPr>
          <p:spPr>
            <a:xfrm>
              <a:off x="-21259100" y="12410325"/>
              <a:ext cx="323500" cy="210925"/>
            </a:xfrm>
            <a:custGeom>
              <a:avLst/>
              <a:gdLst/>
              <a:ahLst/>
              <a:cxnLst/>
              <a:rect l="l" t="t" r="r" b="b"/>
              <a:pathLst>
                <a:path w="12940" h="8437" extrusionOk="0">
                  <a:moveTo>
                    <a:pt x="0" y="1"/>
                  </a:moveTo>
                  <a:lnTo>
                    <a:pt x="0" y="1883"/>
                  </a:lnTo>
                  <a:cubicBezTo>
                    <a:pt x="0" y="2219"/>
                    <a:pt x="235" y="2555"/>
                    <a:pt x="672" y="2824"/>
                  </a:cubicBezTo>
                  <a:lnTo>
                    <a:pt x="9747" y="8033"/>
                  </a:lnTo>
                  <a:cubicBezTo>
                    <a:pt x="9814" y="8100"/>
                    <a:pt x="9948" y="8168"/>
                    <a:pt x="10049" y="8201"/>
                  </a:cubicBezTo>
                  <a:lnTo>
                    <a:pt x="10083" y="8201"/>
                  </a:lnTo>
                  <a:cubicBezTo>
                    <a:pt x="10083" y="8201"/>
                    <a:pt x="10116" y="8235"/>
                    <a:pt x="10116" y="8235"/>
                  </a:cubicBezTo>
                  <a:cubicBezTo>
                    <a:pt x="10183" y="8235"/>
                    <a:pt x="10251" y="8268"/>
                    <a:pt x="10351" y="8302"/>
                  </a:cubicBezTo>
                  <a:lnTo>
                    <a:pt x="10452" y="8302"/>
                  </a:lnTo>
                  <a:cubicBezTo>
                    <a:pt x="10486" y="8336"/>
                    <a:pt x="10486" y="8336"/>
                    <a:pt x="10520" y="8336"/>
                  </a:cubicBezTo>
                  <a:lnTo>
                    <a:pt x="10587" y="8336"/>
                  </a:lnTo>
                  <a:cubicBezTo>
                    <a:pt x="10654" y="8369"/>
                    <a:pt x="10721" y="8369"/>
                    <a:pt x="10788" y="8403"/>
                  </a:cubicBezTo>
                  <a:lnTo>
                    <a:pt x="11024" y="8403"/>
                  </a:lnTo>
                  <a:cubicBezTo>
                    <a:pt x="11091" y="8403"/>
                    <a:pt x="11158" y="8403"/>
                    <a:pt x="11259" y="8436"/>
                  </a:cubicBezTo>
                  <a:lnTo>
                    <a:pt x="11461" y="8436"/>
                  </a:lnTo>
                  <a:cubicBezTo>
                    <a:pt x="11561" y="8403"/>
                    <a:pt x="11629" y="8403"/>
                    <a:pt x="11729" y="8403"/>
                  </a:cubicBezTo>
                  <a:lnTo>
                    <a:pt x="11797" y="8403"/>
                  </a:lnTo>
                  <a:cubicBezTo>
                    <a:pt x="11864" y="8369"/>
                    <a:pt x="11931" y="8369"/>
                    <a:pt x="11998" y="8369"/>
                  </a:cubicBezTo>
                  <a:cubicBezTo>
                    <a:pt x="12032" y="8369"/>
                    <a:pt x="12066" y="8336"/>
                    <a:pt x="12099" y="8336"/>
                  </a:cubicBezTo>
                  <a:cubicBezTo>
                    <a:pt x="12166" y="8336"/>
                    <a:pt x="12234" y="8302"/>
                    <a:pt x="12301" y="8302"/>
                  </a:cubicBezTo>
                  <a:cubicBezTo>
                    <a:pt x="12368" y="8268"/>
                    <a:pt x="12402" y="8268"/>
                    <a:pt x="12435" y="8268"/>
                  </a:cubicBezTo>
                  <a:cubicBezTo>
                    <a:pt x="12469" y="8268"/>
                    <a:pt x="12469" y="8235"/>
                    <a:pt x="12502" y="8235"/>
                  </a:cubicBezTo>
                  <a:cubicBezTo>
                    <a:pt x="12637" y="8168"/>
                    <a:pt x="12805" y="8134"/>
                    <a:pt x="12939" y="8033"/>
                  </a:cubicBezTo>
                  <a:lnTo>
                    <a:pt x="12939" y="6151"/>
                  </a:lnTo>
                  <a:cubicBezTo>
                    <a:pt x="12805" y="6252"/>
                    <a:pt x="12637" y="6319"/>
                    <a:pt x="12502" y="6353"/>
                  </a:cubicBezTo>
                  <a:cubicBezTo>
                    <a:pt x="12435" y="6386"/>
                    <a:pt x="12368" y="6386"/>
                    <a:pt x="12334" y="6420"/>
                  </a:cubicBezTo>
                  <a:cubicBezTo>
                    <a:pt x="12267" y="6420"/>
                    <a:pt x="12166" y="6454"/>
                    <a:pt x="12099" y="6454"/>
                  </a:cubicBezTo>
                  <a:cubicBezTo>
                    <a:pt x="11998" y="6487"/>
                    <a:pt x="11897" y="6487"/>
                    <a:pt x="11830" y="6521"/>
                  </a:cubicBezTo>
                  <a:lnTo>
                    <a:pt x="10889" y="6521"/>
                  </a:lnTo>
                  <a:cubicBezTo>
                    <a:pt x="10755" y="6487"/>
                    <a:pt x="10654" y="6487"/>
                    <a:pt x="10520" y="6454"/>
                  </a:cubicBezTo>
                  <a:cubicBezTo>
                    <a:pt x="10486" y="6454"/>
                    <a:pt x="10486" y="6420"/>
                    <a:pt x="10452" y="6420"/>
                  </a:cubicBezTo>
                  <a:cubicBezTo>
                    <a:pt x="10351" y="6420"/>
                    <a:pt x="10251" y="6386"/>
                    <a:pt x="10150" y="6319"/>
                  </a:cubicBezTo>
                  <a:lnTo>
                    <a:pt x="10083" y="6319"/>
                  </a:lnTo>
                  <a:cubicBezTo>
                    <a:pt x="9948" y="6286"/>
                    <a:pt x="9847" y="6218"/>
                    <a:pt x="9747" y="6151"/>
                  </a:cubicBezTo>
                  <a:lnTo>
                    <a:pt x="672" y="942"/>
                  </a:lnTo>
                  <a:cubicBezTo>
                    <a:pt x="336" y="740"/>
                    <a:pt x="134" y="505"/>
                    <a:pt x="67" y="236"/>
                  </a:cubicBezTo>
                  <a:cubicBezTo>
                    <a:pt x="34" y="169"/>
                    <a:pt x="0" y="68"/>
                    <a:pt x="0" y="1"/>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33" name="Google Shape;2728;p49"/>
            <p:cNvSpPr/>
            <p:nvPr/>
          </p:nvSpPr>
          <p:spPr>
            <a:xfrm>
              <a:off x="-21264150" y="12247125"/>
              <a:ext cx="575575" cy="327075"/>
            </a:xfrm>
            <a:custGeom>
              <a:avLst/>
              <a:gdLst/>
              <a:ahLst/>
              <a:cxnLst/>
              <a:rect l="l" t="t" r="r" b="b"/>
              <a:pathLst>
                <a:path w="23023" h="13083" extrusionOk="0">
                  <a:moveTo>
                    <a:pt x="11461" y="0"/>
                  </a:moveTo>
                  <a:cubicBezTo>
                    <a:pt x="10881" y="0"/>
                    <a:pt x="10301" y="126"/>
                    <a:pt x="9848" y="378"/>
                  </a:cubicBezTo>
                  <a:lnTo>
                    <a:pt x="874" y="5621"/>
                  </a:lnTo>
                  <a:cubicBezTo>
                    <a:pt x="0" y="6125"/>
                    <a:pt x="0" y="6966"/>
                    <a:pt x="874" y="7470"/>
                  </a:cubicBezTo>
                  <a:lnTo>
                    <a:pt x="9949" y="12679"/>
                  </a:lnTo>
                  <a:cubicBezTo>
                    <a:pt x="10385" y="12948"/>
                    <a:pt x="10965" y="13082"/>
                    <a:pt x="11545" y="13082"/>
                  </a:cubicBezTo>
                  <a:cubicBezTo>
                    <a:pt x="12125" y="13082"/>
                    <a:pt x="12704" y="12948"/>
                    <a:pt x="13141" y="12679"/>
                  </a:cubicBezTo>
                  <a:lnTo>
                    <a:pt x="22115" y="7470"/>
                  </a:lnTo>
                  <a:cubicBezTo>
                    <a:pt x="23022" y="6966"/>
                    <a:pt x="23022" y="6125"/>
                    <a:pt x="22115" y="5621"/>
                  </a:cubicBezTo>
                  <a:lnTo>
                    <a:pt x="13074" y="378"/>
                  </a:lnTo>
                  <a:cubicBezTo>
                    <a:pt x="12620" y="126"/>
                    <a:pt x="12041" y="0"/>
                    <a:pt x="11461"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34" name="Google Shape;2729;p49"/>
            <p:cNvSpPr/>
            <p:nvPr/>
          </p:nvSpPr>
          <p:spPr>
            <a:xfrm>
              <a:off x="-20601225" y="12597700"/>
              <a:ext cx="241175" cy="200825"/>
            </a:xfrm>
            <a:custGeom>
              <a:avLst/>
              <a:gdLst/>
              <a:ahLst/>
              <a:cxnLst/>
              <a:rect l="l" t="t" r="r" b="b"/>
              <a:pathLst>
                <a:path w="9647" h="8033" extrusionOk="0">
                  <a:moveTo>
                    <a:pt x="9646" y="0"/>
                  </a:moveTo>
                  <a:cubicBezTo>
                    <a:pt x="9646" y="68"/>
                    <a:pt x="9646" y="168"/>
                    <a:pt x="9613" y="236"/>
                  </a:cubicBezTo>
                  <a:cubicBezTo>
                    <a:pt x="9613" y="236"/>
                    <a:pt x="9613" y="236"/>
                    <a:pt x="9613" y="269"/>
                  </a:cubicBezTo>
                  <a:cubicBezTo>
                    <a:pt x="9579" y="337"/>
                    <a:pt x="9545" y="404"/>
                    <a:pt x="9478" y="471"/>
                  </a:cubicBezTo>
                  <a:lnTo>
                    <a:pt x="9478" y="505"/>
                  </a:lnTo>
                  <a:cubicBezTo>
                    <a:pt x="9411" y="572"/>
                    <a:pt x="9344" y="639"/>
                    <a:pt x="9277" y="706"/>
                  </a:cubicBezTo>
                  <a:cubicBezTo>
                    <a:pt x="9243" y="740"/>
                    <a:pt x="9176" y="773"/>
                    <a:pt x="9142" y="807"/>
                  </a:cubicBezTo>
                  <a:cubicBezTo>
                    <a:pt x="9075" y="841"/>
                    <a:pt x="9041" y="874"/>
                    <a:pt x="8974" y="908"/>
                  </a:cubicBezTo>
                  <a:lnTo>
                    <a:pt x="1" y="6151"/>
                  </a:lnTo>
                  <a:lnTo>
                    <a:pt x="1" y="8033"/>
                  </a:lnTo>
                  <a:lnTo>
                    <a:pt x="8974" y="2824"/>
                  </a:lnTo>
                  <a:cubicBezTo>
                    <a:pt x="9008" y="2824"/>
                    <a:pt x="9008" y="2790"/>
                    <a:pt x="9008" y="2790"/>
                  </a:cubicBezTo>
                  <a:cubicBezTo>
                    <a:pt x="9041" y="2756"/>
                    <a:pt x="9075" y="2756"/>
                    <a:pt x="9142" y="2723"/>
                  </a:cubicBezTo>
                  <a:cubicBezTo>
                    <a:pt x="9176" y="2689"/>
                    <a:pt x="9243" y="2622"/>
                    <a:pt x="9277" y="2588"/>
                  </a:cubicBezTo>
                  <a:lnTo>
                    <a:pt x="9310" y="2588"/>
                  </a:lnTo>
                  <a:cubicBezTo>
                    <a:pt x="9344" y="2521"/>
                    <a:pt x="9411" y="2487"/>
                    <a:pt x="9445" y="2420"/>
                  </a:cubicBezTo>
                  <a:cubicBezTo>
                    <a:pt x="9445" y="2420"/>
                    <a:pt x="9478" y="2420"/>
                    <a:pt x="9478" y="2387"/>
                  </a:cubicBezTo>
                  <a:lnTo>
                    <a:pt x="9512" y="2353"/>
                  </a:lnTo>
                  <a:cubicBezTo>
                    <a:pt x="9512" y="2353"/>
                    <a:pt x="9512" y="2319"/>
                    <a:pt x="9545" y="2286"/>
                  </a:cubicBezTo>
                  <a:cubicBezTo>
                    <a:pt x="9579" y="2252"/>
                    <a:pt x="9579" y="2219"/>
                    <a:pt x="9613" y="2185"/>
                  </a:cubicBezTo>
                  <a:cubicBezTo>
                    <a:pt x="9613" y="2151"/>
                    <a:pt x="9613" y="2151"/>
                    <a:pt x="9613" y="2151"/>
                  </a:cubicBezTo>
                  <a:cubicBezTo>
                    <a:pt x="9613" y="2151"/>
                    <a:pt x="9613" y="2118"/>
                    <a:pt x="9613" y="2118"/>
                  </a:cubicBezTo>
                  <a:cubicBezTo>
                    <a:pt x="9613" y="2084"/>
                    <a:pt x="9613" y="2084"/>
                    <a:pt x="9646" y="2051"/>
                  </a:cubicBezTo>
                  <a:cubicBezTo>
                    <a:pt x="9646" y="1983"/>
                    <a:pt x="9646" y="1950"/>
                    <a:pt x="9646" y="1916"/>
                  </a:cubicBezTo>
                  <a:lnTo>
                    <a:pt x="9646" y="1883"/>
                  </a:lnTo>
                  <a:lnTo>
                    <a:pt x="9646" y="0"/>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35" name="Google Shape;2730;p49"/>
            <p:cNvSpPr/>
            <p:nvPr/>
          </p:nvSpPr>
          <p:spPr>
            <a:xfrm>
              <a:off x="-20924700" y="12596850"/>
              <a:ext cx="323500" cy="210925"/>
            </a:xfrm>
            <a:custGeom>
              <a:avLst/>
              <a:gdLst/>
              <a:ahLst/>
              <a:cxnLst/>
              <a:rect l="l" t="t" r="r" b="b"/>
              <a:pathLst>
                <a:path w="12940" h="8437" extrusionOk="0">
                  <a:moveTo>
                    <a:pt x="0" y="1"/>
                  </a:moveTo>
                  <a:lnTo>
                    <a:pt x="0" y="1917"/>
                  </a:lnTo>
                  <a:cubicBezTo>
                    <a:pt x="0" y="2253"/>
                    <a:pt x="236" y="2589"/>
                    <a:pt x="672" y="2858"/>
                  </a:cubicBezTo>
                  <a:lnTo>
                    <a:pt x="9747" y="8067"/>
                  </a:lnTo>
                  <a:cubicBezTo>
                    <a:pt x="9848" y="8134"/>
                    <a:pt x="9948" y="8168"/>
                    <a:pt x="10049" y="8235"/>
                  </a:cubicBezTo>
                  <a:lnTo>
                    <a:pt x="10116" y="8235"/>
                  </a:lnTo>
                  <a:cubicBezTo>
                    <a:pt x="10184" y="8269"/>
                    <a:pt x="10251" y="8302"/>
                    <a:pt x="10352" y="8302"/>
                  </a:cubicBezTo>
                  <a:cubicBezTo>
                    <a:pt x="10385" y="8302"/>
                    <a:pt x="10419" y="8336"/>
                    <a:pt x="10453" y="8336"/>
                  </a:cubicBezTo>
                  <a:cubicBezTo>
                    <a:pt x="10486" y="8336"/>
                    <a:pt x="10486" y="8336"/>
                    <a:pt x="10520" y="8369"/>
                  </a:cubicBezTo>
                  <a:lnTo>
                    <a:pt x="10587" y="8369"/>
                  </a:lnTo>
                  <a:cubicBezTo>
                    <a:pt x="10654" y="8369"/>
                    <a:pt x="10721" y="8403"/>
                    <a:pt x="10789" y="8403"/>
                  </a:cubicBezTo>
                  <a:lnTo>
                    <a:pt x="10889" y="8403"/>
                  </a:lnTo>
                  <a:cubicBezTo>
                    <a:pt x="10889" y="8403"/>
                    <a:pt x="10923" y="8403"/>
                    <a:pt x="10923" y="8437"/>
                  </a:cubicBezTo>
                  <a:lnTo>
                    <a:pt x="11763" y="8437"/>
                  </a:lnTo>
                  <a:cubicBezTo>
                    <a:pt x="11763" y="8403"/>
                    <a:pt x="11797" y="8403"/>
                    <a:pt x="11797" y="8403"/>
                  </a:cubicBezTo>
                  <a:cubicBezTo>
                    <a:pt x="11864" y="8403"/>
                    <a:pt x="11965" y="8403"/>
                    <a:pt x="11999" y="8369"/>
                  </a:cubicBezTo>
                  <a:lnTo>
                    <a:pt x="12099" y="8369"/>
                  </a:lnTo>
                  <a:cubicBezTo>
                    <a:pt x="12167" y="8336"/>
                    <a:pt x="12234" y="8336"/>
                    <a:pt x="12301" y="8302"/>
                  </a:cubicBezTo>
                  <a:cubicBezTo>
                    <a:pt x="12368" y="8302"/>
                    <a:pt x="12402" y="8302"/>
                    <a:pt x="12435" y="8269"/>
                  </a:cubicBezTo>
                  <a:lnTo>
                    <a:pt x="12503" y="8269"/>
                  </a:lnTo>
                  <a:cubicBezTo>
                    <a:pt x="12637" y="8201"/>
                    <a:pt x="12805" y="8134"/>
                    <a:pt x="12940" y="8067"/>
                  </a:cubicBezTo>
                  <a:lnTo>
                    <a:pt x="12940" y="6185"/>
                  </a:lnTo>
                  <a:cubicBezTo>
                    <a:pt x="12805" y="6252"/>
                    <a:pt x="12671" y="6319"/>
                    <a:pt x="12503" y="6386"/>
                  </a:cubicBezTo>
                  <a:cubicBezTo>
                    <a:pt x="12435" y="6386"/>
                    <a:pt x="12368" y="6420"/>
                    <a:pt x="12335" y="6420"/>
                  </a:cubicBezTo>
                  <a:cubicBezTo>
                    <a:pt x="12267" y="6454"/>
                    <a:pt x="12167" y="6454"/>
                    <a:pt x="12099" y="6487"/>
                  </a:cubicBezTo>
                  <a:cubicBezTo>
                    <a:pt x="11999" y="6487"/>
                    <a:pt x="11931" y="6521"/>
                    <a:pt x="11830" y="6521"/>
                  </a:cubicBezTo>
                  <a:cubicBezTo>
                    <a:pt x="11797" y="6521"/>
                    <a:pt x="11797" y="6554"/>
                    <a:pt x="11763" y="6554"/>
                  </a:cubicBezTo>
                  <a:lnTo>
                    <a:pt x="10957" y="6554"/>
                  </a:lnTo>
                  <a:cubicBezTo>
                    <a:pt x="10923" y="6554"/>
                    <a:pt x="10889" y="6521"/>
                    <a:pt x="10889" y="6521"/>
                  </a:cubicBezTo>
                  <a:cubicBezTo>
                    <a:pt x="10755" y="6521"/>
                    <a:pt x="10654" y="6487"/>
                    <a:pt x="10520" y="6454"/>
                  </a:cubicBezTo>
                  <a:lnTo>
                    <a:pt x="10453" y="6454"/>
                  </a:lnTo>
                  <a:cubicBezTo>
                    <a:pt x="10352" y="6420"/>
                    <a:pt x="10251" y="6386"/>
                    <a:pt x="10150" y="6353"/>
                  </a:cubicBezTo>
                  <a:lnTo>
                    <a:pt x="10083" y="6353"/>
                  </a:lnTo>
                  <a:cubicBezTo>
                    <a:pt x="9948" y="6286"/>
                    <a:pt x="9848" y="6252"/>
                    <a:pt x="9747" y="6185"/>
                  </a:cubicBezTo>
                  <a:lnTo>
                    <a:pt x="672" y="942"/>
                  </a:lnTo>
                  <a:cubicBezTo>
                    <a:pt x="336" y="774"/>
                    <a:pt x="135" y="505"/>
                    <a:pt x="67" y="270"/>
                  </a:cubicBezTo>
                  <a:cubicBezTo>
                    <a:pt x="34" y="169"/>
                    <a:pt x="0" y="102"/>
                    <a:pt x="0" y="1"/>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36" name="Google Shape;2731;p49"/>
            <p:cNvSpPr/>
            <p:nvPr/>
          </p:nvSpPr>
          <p:spPr>
            <a:xfrm>
              <a:off x="-20929750" y="12433850"/>
              <a:ext cx="575575" cy="327075"/>
            </a:xfrm>
            <a:custGeom>
              <a:avLst/>
              <a:gdLst/>
              <a:ahLst/>
              <a:cxnLst/>
              <a:rect l="l" t="t" r="r" b="b"/>
              <a:pathLst>
                <a:path w="23023" h="13083" extrusionOk="0">
                  <a:moveTo>
                    <a:pt x="11461" y="1"/>
                  </a:moveTo>
                  <a:cubicBezTo>
                    <a:pt x="10881" y="1"/>
                    <a:pt x="10302" y="135"/>
                    <a:pt x="9848" y="404"/>
                  </a:cubicBezTo>
                  <a:lnTo>
                    <a:pt x="874" y="5613"/>
                  </a:lnTo>
                  <a:cubicBezTo>
                    <a:pt x="1" y="6118"/>
                    <a:pt x="1" y="6958"/>
                    <a:pt x="874" y="7462"/>
                  </a:cubicBezTo>
                  <a:lnTo>
                    <a:pt x="9949" y="12705"/>
                  </a:lnTo>
                  <a:cubicBezTo>
                    <a:pt x="10386" y="12957"/>
                    <a:pt x="10965" y="13083"/>
                    <a:pt x="11545" y="13083"/>
                  </a:cubicBezTo>
                  <a:cubicBezTo>
                    <a:pt x="12125" y="13083"/>
                    <a:pt x="12705" y="12957"/>
                    <a:pt x="13142" y="12705"/>
                  </a:cubicBezTo>
                  <a:lnTo>
                    <a:pt x="22115" y="7495"/>
                  </a:lnTo>
                  <a:cubicBezTo>
                    <a:pt x="23023" y="6958"/>
                    <a:pt x="23023" y="6118"/>
                    <a:pt x="22115" y="5613"/>
                  </a:cubicBezTo>
                  <a:lnTo>
                    <a:pt x="13074" y="404"/>
                  </a:lnTo>
                  <a:cubicBezTo>
                    <a:pt x="12621" y="135"/>
                    <a:pt x="12041" y="1"/>
                    <a:pt x="11461"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37" name="Google Shape;2732;p49"/>
            <p:cNvSpPr/>
            <p:nvPr/>
          </p:nvSpPr>
          <p:spPr>
            <a:xfrm>
              <a:off x="-20268500" y="12785075"/>
              <a:ext cx="241175" cy="200825"/>
            </a:xfrm>
            <a:custGeom>
              <a:avLst/>
              <a:gdLst/>
              <a:ahLst/>
              <a:cxnLst/>
              <a:rect l="l" t="t" r="r" b="b"/>
              <a:pathLst>
                <a:path w="9647" h="8033" extrusionOk="0">
                  <a:moveTo>
                    <a:pt x="9646" y="0"/>
                  </a:moveTo>
                  <a:cubicBezTo>
                    <a:pt x="9646" y="67"/>
                    <a:pt x="9646" y="135"/>
                    <a:pt x="9613" y="235"/>
                  </a:cubicBezTo>
                  <a:cubicBezTo>
                    <a:pt x="9579" y="336"/>
                    <a:pt x="9545" y="403"/>
                    <a:pt x="9512" y="471"/>
                  </a:cubicBezTo>
                  <a:lnTo>
                    <a:pt x="9478" y="504"/>
                  </a:lnTo>
                  <a:cubicBezTo>
                    <a:pt x="9445" y="571"/>
                    <a:pt x="9377" y="639"/>
                    <a:pt x="9310" y="706"/>
                  </a:cubicBezTo>
                  <a:cubicBezTo>
                    <a:pt x="9243" y="740"/>
                    <a:pt x="9176" y="773"/>
                    <a:pt x="9142" y="807"/>
                  </a:cubicBezTo>
                  <a:cubicBezTo>
                    <a:pt x="9075" y="840"/>
                    <a:pt x="9041" y="874"/>
                    <a:pt x="9008" y="908"/>
                  </a:cubicBezTo>
                  <a:lnTo>
                    <a:pt x="1" y="6151"/>
                  </a:lnTo>
                  <a:lnTo>
                    <a:pt x="1" y="8033"/>
                  </a:lnTo>
                  <a:lnTo>
                    <a:pt x="8974" y="2823"/>
                  </a:lnTo>
                  <a:cubicBezTo>
                    <a:pt x="9008" y="2790"/>
                    <a:pt x="9008" y="2790"/>
                    <a:pt x="9008" y="2790"/>
                  </a:cubicBezTo>
                  <a:cubicBezTo>
                    <a:pt x="9075" y="2756"/>
                    <a:pt x="9109" y="2722"/>
                    <a:pt x="9142" y="2722"/>
                  </a:cubicBezTo>
                  <a:cubicBezTo>
                    <a:pt x="9176" y="2655"/>
                    <a:pt x="9243" y="2622"/>
                    <a:pt x="9277" y="2588"/>
                  </a:cubicBezTo>
                  <a:lnTo>
                    <a:pt x="9310" y="2588"/>
                  </a:lnTo>
                  <a:cubicBezTo>
                    <a:pt x="9377" y="2521"/>
                    <a:pt x="9411" y="2487"/>
                    <a:pt x="9445" y="2420"/>
                  </a:cubicBezTo>
                  <a:cubicBezTo>
                    <a:pt x="9445" y="2420"/>
                    <a:pt x="9478" y="2386"/>
                    <a:pt x="9478" y="2386"/>
                  </a:cubicBezTo>
                  <a:lnTo>
                    <a:pt x="9512" y="2353"/>
                  </a:lnTo>
                  <a:cubicBezTo>
                    <a:pt x="9512" y="2319"/>
                    <a:pt x="9545" y="2319"/>
                    <a:pt x="9545" y="2286"/>
                  </a:cubicBezTo>
                  <a:cubicBezTo>
                    <a:pt x="9579" y="2252"/>
                    <a:pt x="9579" y="2218"/>
                    <a:pt x="9613" y="2151"/>
                  </a:cubicBezTo>
                  <a:cubicBezTo>
                    <a:pt x="9613" y="2117"/>
                    <a:pt x="9613" y="2117"/>
                    <a:pt x="9613" y="2117"/>
                  </a:cubicBezTo>
                  <a:cubicBezTo>
                    <a:pt x="9613" y="2084"/>
                    <a:pt x="9646" y="2050"/>
                    <a:pt x="9646" y="2017"/>
                  </a:cubicBezTo>
                  <a:cubicBezTo>
                    <a:pt x="9646" y="1983"/>
                    <a:pt x="9646" y="1949"/>
                    <a:pt x="9646" y="1916"/>
                  </a:cubicBezTo>
                  <a:lnTo>
                    <a:pt x="9646" y="1882"/>
                  </a:lnTo>
                  <a:lnTo>
                    <a:pt x="9646" y="0"/>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38" name="Google Shape;2733;p49"/>
            <p:cNvSpPr/>
            <p:nvPr/>
          </p:nvSpPr>
          <p:spPr>
            <a:xfrm>
              <a:off x="-20591975" y="12784225"/>
              <a:ext cx="323500" cy="210925"/>
            </a:xfrm>
            <a:custGeom>
              <a:avLst/>
              <a:gdLst/>
              <a:ahLst/>
              <a:cxnLst/>
              <a:rect l="l" t="t" r="r" b="b"/>
              <a:pathLst>
                <a:path w="12940" h="8437" extrusionOk="0">
                  <a:moveTo>
                    <a:pt x="34" y="1"/>
                  </a:moveTo>
                  <a:lnTo>
                    <a:pt x="0" y="1883"/>
                  </a:lnTo>
                  <a:cubicBezTo>
                    <a:pt x="0" y="2219"/>
                    <a:pt x="236" y="2588"/>
                    <a:pt x="672" y="2824"/>
                  </a:cubicBezTo>
                  <a:lnTo>
                    <a:pt x="9747" y="8067"/>
                  </a:lnTo>
                  <a:cubicBezTo>
                    <a:pt x="9848" y="8100"/>
                    <a:pt x="9948" y="8167"/>
                    <a:pt x="10049" y="8201"/>
                  </a:cubicBezTo>
                  <a:lnTo>
                    <a:pt x="10083" y="8201"/>
                  </a:lnTo>
                  <a:cubicBezTo>
                    <a:pt x="10083" y="8235"/>
                    <a:pt x="10116" y="8235"/>
                    <a:pt x="10150" y="8235"/>
                  </a:cubicBezTo>
                  <a:cubicBezTo>
                    <a:pt x="10217" y="8268"/>
                    <a:pt x="10284" y="8268"/>
                    <a:pt x="10352" y="8302"/>
                  </a:cubicBezTo>
                  <a:cubicBezTo>
                    <a:pt x="10385" y="8302"/>
                    <a:pt x="10419" y="8302"/>
                    <a:pt x="10453" y="8335"/>
                  </a:cubicBezTo>
                  <a:lnTo>
                    <a:pt x="10520" y="8335"/>
                  </a:lnTo>
                  <a:cubicBezTo>
                    <a:pt x="10553" y="8335"/>
                    <a:pt x="10553" y="8369"/>
                    <a:pt x="10587" y="8369"/>
                  </a:cubicBezTo>
                  <a:cubicBezTo>
                    <a:pt x="10654" y="8369"/>
                    <a:pt x="10721" y="8403"/>
                    <a:pt x="10822" y="8403"/>
                  </a:cubicBezTo>
                  <a:lnTo>
                    <a:pt x="11024" y="8403"/>
                  </a:lnTo>
                  <a:cubicBezTo>
                    <a:pt x="11091" y="8436"/>
                    <a:pt x="11158" y="8436"/>
                    <a:pt x="11259" y="8436"/>
                  </a:cubicBezTo>
                  <a:lnTo>
                    <a:pt x="11494" y="8436"/>
                  </a:lnTo>
                  <a:cubicBezTo>
                    <a:pt x="11562" y="8436"/>
                    <a:pt x="11662" y="8436"/>
                    <a:pt x="11730" y="8403"/>
                  </a:cubicBezTo>
                  <a:lnTo>
                    <a:pt x="11830" y="8403"/>
                  </a:lnTo>
                  <a:cubicBezTo>
                    <a:pt x="11898" y="8403"/>
                    <a:pt x="11965" y="8369"/>
                    <a:pt x="12032" y="8369"/>
                  </a:cubicBezTo>
                  <a:cubicBezTo>
                    <a:pt x="12032" y="8369"/>
                    <a:pt x="12066" y="8369"/>
                    <a:pt x="12099" y="8335"/>
                  </a:cubicBezTo>
                  <a:cubicBezTo>
                    <a:pt x="12167" y="8335"/>
                    <a:pt x="12234" y="8302"/>
                    <a:pt x="12335" y="8302"/>
                  </a:cubicBezTo>
                  <a:cubicBezTo>
                    <a:pt x="12368" y="8268"/>
                    <a:pt x="12402" y="8268"/>
                    <a:pt x="12435" y="8268"/>
                  </a:cubicBezTo>
                  <a:cubicBezTo>
                    <a:pt x="12469" y="8268"/>
                    <a:pt x="12469" y="8235"/>
                    <a:pt x="12503" y="8235"/>
                  </a:cubicBezTo>
                  <a:cubicBezTo>
                    <a:pt x="12637" y="8201"/>
                    <a:pt x="12805" y="8134"/>
                    <a:pt x="12940" y="8067"/>
                  </a:cubicBezTo>
                  <a:lnTo>
                    <a:pt x="12940" y="6151"/>
                  </a:lnTo>
                  <a:cubicBezTo>
                    <a:pt x="12805" y="6252"/>
                    <a:pt x="12671" y="6319"/>
                    <a:pt x="12503" y="6353"/>
                  </a:cubicBezTo>
                  <a:cubicBezTo>
                    <a:pt x="12435" y="6386"/>
                    <a:pt x="12402" y="6420"/>
                    <a:pt x="12335" y="6420"/>
                  </a:cubicBezTo>
                  <a:cubicBezTo>
                    <a:pt x="12267" y="6420"/>
                    <a:pt x="12200" y="6453"/>
                    <a:pt x="12099" y="6487"/>
                  </a:cubicBezTo>
                  <a:cubicBezTo>
                    <a:pt x="11999" y="6487"/>
                    <a:pt x="11931" y="6521"/>
                    <a:pt x="11830" y="6521"/>
                  </a:cubicBezTo>
                  <a:lnTo>
                    <a:pt x="11763" y="6521"/>
                  </a:lnTo>
                  <a:cubicBezTo>
                    <a:pt x="11629" y="6521"/>
                    <a:pt x="11528" y="6554"/>
                    <a:pt x="11394" y="6554"/>
                  </a:cubicBezTo>
                  <a:lnTo>
                    <a:pt x="11326" y="6554"/>
                  </a:lnTo>
                  <a:cubicBezTo>
                    <a:pt x="11192" y="6554"/>
                    <a:pt x="11057" y="6521"/>
                    <a:pt x="10957" y="6521"/>
                  </a:cubicBezTo>
                  <a:lnTo>
                    <a:pt x="10889" y="6521"/>
                  </a:lnTo>
                  <a:cubicBezTo>
                    <a:pt x="10755" y="6521"/>
                    <a:pt x="10654" y="6487"/>
                    <a:pt x="10520" y="6453"/>
                  </a:cubicBezTo>
                  <a:lnTo>
                    <a:pt x="10453" y="6453"/>
                  </a:lnTo>
                  <a:cubicBezTo>
                    <a:pt x="10352" y="6420"/>
                    <a:pt x="10251" y="6386"/>
                    <a:pt x="10150" y="6353"/>
                  </a:cubicBezTo>
                  <a:cubicBezTo>
                    <a:pt x="10116" y="6319"/>
                    <a:pt x="10116" y="6319"/>
                    <a:pt x="10083" y="6319"/>
                  </a:cubicBezTo>
                  <a:cubicBezTo>
                    <a:pt x="9982" y="6285"/>
                    <a:pt x="9848" y="6218"/>
                    <a:pt x="9747" y="6151"/>
                  </a:cubicBezTo>
                  <a:lnTo>
                    <a:pt x="706" y="942"/>
                  </a:lnTo>
                  <a:cubicBezTo>
                    <a:pt x="370" y="740"/>
                    <a:pt x="135" y="505"/>
                    <a:pt x="67" y="269"/>
                  </a:cubicBezTo>
                  <a:cubicBezTo>
                    <a:pt x="34" y="169"/>
                    <a:pt x="34" y="101"/>
                    <a:pt x="34" y="1"/>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39" name="Google Shape;2734;p49"/>
            <p:cNvSpPr/>
            <p:nvPr/>
          </p:nvSpPr>
          <p:spPr>
            <a:xfrm>
              <a:off x="-20597025" y="12621025"/>
              <a:ext cx="575575" cy="327175"/>
            </a:xfrm>
            <a:custGeom>
              <a:avLst/>
              <a:gdLst/>
              <a:ahLst/>
              <a:cxnLst/>
              <a:rect l="l" t="t" r="r" b="b"/>
              <a:pathLst>
                <a:path w="23023" h="13087" extrusionOk="0">
                  <a:moveTo>
                    <a:pt x="11478" y="0"/>
                  </a:moveTo>
                  <a:cubicBezTo>
                    <a:pt x="10898" y="0"/>
                    <a:pt x="10318" y="126"/>
                    <a:pt x="9882" y="378"/>
                  </a:cubicBezTo>
                  <a:lnTo>
                    <a:pt x="874" y="5621"/>
                  </a:lnTo>
                  <a:cubicBezTo>
                    <a:pt x="1" y="6125"/>
                    <a:pt x="1" y="6965"/>
                    <a:pt x="908" y="7470"/>
                  </a:cubicBezTo>
                  <a:lnTo>
                    <a:pt x="9949" y="12679"/>
                  </a:lnTo>
                  <a:cubicBezTo>
                    <a:pt x="10393" y="12952"/>
                    <a:pt x="10984" y="13087"/>
                    <a:pt x="11573" y="13087"/>
                  </a:cubicBezTo>
                  <a:cubicBezTo>
                    <a:pt x="12144" y="13087"/>
                    <a:pt x="12712" y="12961"/>
                    <a:pt x="13142" y="12713"/>
                  </a:cubicBezTo>
                  <a:lnTo>
                    <a:pt x="22149" y="7470"/>
                  </a:lnTo>
                  <a:cubicBezTo>
                    <a:pt x="23023" y="6965"/>
                    <a:pt x="23023" y="6125"/>
                    <a:pt x="22115" y="5621"/>
                  </a:cubicBezTo>
                  <a:lnTo>
                    <a:pt x="13074" y="378"/>
                  </a:lnTo>
                  <a:cubicBezTo>
                    <a:pt x="12637" y="126"/>
                    <a:pt x="12058" y="0"/>
                    <a:pt x="11478"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40" name="Google Shape;2735;p49"/>
            <p:cNvSpPr/>
            <p:nvPr/>
          </p:nvSpPr>
          <p:spPr>
            <a:xfrm>
              <a:off x="-19939975" y="12987550"/>
              <a:ext cx="241175" cy="201675"/>
            </a:xfrm>
            <a:custGeom>
              <a:avLst/>
              <a:gdLst/>
              <a:ahLst/>
              <a:cxnLst/>
              <a:rect l="l" t="t" r="r" b="b"/>
              <a:pathLst>
                <a:path w="9647" h="8067" extrusionOk="0">
                  <a:moveTo>
                    <a:pt x="9646" y="1"/>
                  </a:moveTo>
                  <a:cubicBezTo>
                    <a:pt x="9646" y="102"/>
                    <a:pt x="9646" y="169"/>
                    <a:pt x="9613" y="270"/>
                  </a:cubicBezTo>
                  <a:cubicBezTo>
                    <a:pt x="9579" y="337"/>
                    <a:pt x="9545" y="404"/>
                    <a:pt x="9512" y="505"/>
                  </a:cubicBezTo>
                  <a:lnTo>
                    <a:pt x="9478" y="539"/>
                  </a:lnTo>
                  <a:cubicBezTo>
                    <a:pt x="9411" y="606"/>
                    <a:pt x="9377" y="673"/>
                    <a:pt x="9277" y="707"/>
                  </a:cubicBezTo>
                  <a:cubicBezTo>
                    <a:pt x="9243" y="774"/>
                    <a:pt x="9176" y="807"/>
                    <a:pt x="9142" y="841"/>
                  </a:cubicBezTo>
                  <a:cubicBezTo>
                    <a:pt x="9075" y="875"/>
                    <a:pt x="9041" y="908"/>
                    <a:pt x="9008" y="942"/>
                  </a:cubicBezTo>
                  <a:lnTo>
                    <a:pt x="1" y="6151"/>
                  </a:lnTo>
                  <a:lnTo>
                    <a:pt x="1" y="8067"/>
                  </a:lnTo>
                  <a:lnTo>
                    <a:pt x="8974" y="2824"/>
                  </a:lnTo>
                  <a:lnTo>
                    <a:pt x="9008" y="2824"/>
                  </a:lnTo>
                  <a:cubicBezTo>
                    <a:pt x="9075" y="2790"/>
                    <a:pt x="9108" y="2757"/>
                    <a:pt x="9142" y="2723"/>
                  </a:cubicBezTo>
                  <a:cubicBezTo>
                    <a:pt x="9176" y="2690"/>
                    <a:pt x="9243" y="2656"/>
                    <a:pt x="9277" y="2622"/>
                  </a:cubicBezTo>
                  <a:cubicBezTo>
                    <a:pt x="9310" y="2622"/>
                    <a:pt x="9310" y="2589"/>
                    <a:pt x="9310" y="2589"/>
                  </a:cubicBezTo>
                  <a:cubicBezTo>
                    <a:pt x="9377" y="2555"/>
                    <a:pt x="9411" y="2488"/>
                    <a:pt x="9445" y="2454"/>
                  </a:cubicBezTo>
                  <a:cubicBezTo>
                    <a:pt x="9445" y="2454"/>
                    <a:pt x="9478" y="2421"/>
                    <a:pt x="9478" y="2421"/>
                  </a:cubicBezTo>
                  <a:lnTo>
                    <a:pt x="9512" y="2387"/>
                  </a:lnTo>
                  <a:cubicBezTo>
                    <a:pt x="9512" y="2353"/>
                    <a:pt x="9545" y="2353"/>
                    <a:pt x="9545" y="2320"/>
                  </a:cubicBezTo>
                  <a:cubicBezTo>
                    <a:pt x="9579" y="2286"/>
                    <a:pt x="9579" y="2219"/>
                    <a:pt x="9613" y="2185"/>
                  </a:cubicBezTo>
                  <a:cubicBezTo>
                    <a:pt x="9613" y="2185"/>
                    <a:pt x="9613" y="2185"/>
                    <a:pt x="9613" y="2152"/>
                  </a:cubicBezTo>
                  <a:cubicBezTo>
                    <a:pt x="9613" y="2118"/>
                    <a:pt x="9646" y="2085"/>
                    <a:pt x="9646" y="2051"/>
                  </a:cubicBezTo>
                  <a:cubicBezTo>
                    <a:pt x="9646" y="2017"/>
                    <a:pt x="9646" y="1984"/>
                    <a:pt x="9646" y="1917"/>
                  </a:cubicBezTo>
                  <a:lnTo>
                    <a:pt x="9646" y="1"/>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41" name="Google Shape;2736;p49"/>
            <p:cNvSpPr/>
            <p:nvPr/>
          </p:nvSpPr>
          <p:spPr>
            <a:xfrm>
              <a:off x="-20263450" y="12987550"/>
              <a:ext cx="323500" cy="210925"/>
            </a:xfrm>
            <a:custGeom>
              <a:avLst/>
              <a:gdLst/>
              <a:ahLst/>
              <a:cxnLst/>
              <a:rect l="l" t="t" r="r" b="b"/>
              <a:pathLst>
                <a:path w="12940" h="8437" extrusionOk="0">
                  <a:moveTo>
                    <a:pt x="0" y="1"/>
                  </a:moveTo>
                  <a:lnTo>
                    <a:pt x="0" y="1883"/>
                  </a:lnTo>
                  <a:cubicBezTo>
                    <a:pt x="0" y="2219"/>
                    <a:pt x="235" y="2555"/>
                    <a:pt x="672" y="2824"/>
                  </a:cubicBezTo>
                  <a:lnTo>
                    <a:pt x="9747" y="8033"/>
                  </a:lnTo>
                  <a:cubicBezTo>
                    <a:pt x="9848" y="8101"/>
                    <a:pt x="9948" y="8168"/>
                    <a:pt x="10049" y="8201"/>
                  </a:cubicBezTo>
                  <a:lnTo>
                    <a:pt x="10083" y="8201"/>
                  </a:lnTo>
                  <a:cubicBezTo>
                    <a:pt x="10083" y="8235"/>
                    <a:pt x="10116" y="8235"/>
                    <a:pt x="10116" y="8235"/>
                  </a:cubicBezTo>
                  <a:cubicBezTo>
                    <a:pt x="10184" y="8269"/>
                    <a:pt x="10251" y="8269"/>
                    <a:pt x="10352" y="8302"/>
                  </a:cubicBezTo>
                  <a:cubicBezTo>
                    <a:pt x="10385" y="8302"/>
                    <a:pt x="10419" y="8302"/>
                    <a:pt x="10453" y="8336"/>
                  </a:cubicBezTo>
                  <a:lnTo>
                    <a:pt x="10520" y="8336"/>
                  </a:lnTo>
                  <a:cubicBezTo>
                    <a:pt x="10553" y="8336"/>
                    <a:pt x="10553" y="8336"/>
                    <a:pt x="10587" y="8369"/>
                  </a:cubicBezTo>
                  <a:cubicBezTo>
                    <a:pt x="10654" y="8369"/>
                    <a:pt x="10721" y="8369"/>
                    <a:pt x="10789" y="8403"/>
                  </a:cubicBezTo>
                  <a:lnTo>
                    <a:pt x="11024" y="8403"/>
                  </a:lnTo>
                  <a:cubicBezTo>
                    <a:pt x="11091" y="8437"/>
                    <a:pt x="11158" y="8437"/>
                    <a:pt x="11259" y="8437"/>
                  </a:cubicBezTo>
                  <a:lnTo>
                    <a:pt x="11461" y="8437"/>
                  </a:lnTo>
                  <a:cubicBezTo>
                    <a:pt x="11562" y="8437"/>
                    <a:pt x="11629" y="8437"/>
                    <a:pt x="11730" y="8403"/>
                  </a:cubicBezTo>
                  <a:lnTo>
                    <a:pt x="11830" y="8403"/>
                  </a:lnTo>
                  <a:cubicBezTo>
                    <a:pt x="11898" y="8403"/>
                    <a:pt x="11965" y="8369"/>
                    <a:pt x="11999" y="8369"/>
                  </a:cubicBezTo>
                  <a:cubicBezTo>
                    <a:pt x="12032" y="8369"/>
                    <a:pt x="12066" y="8369"/>
                    <a:pt x="12099" y="8336"/>
                  </a:cubicBezTo>
                  <a:cubicBezTo>
                    <a:pt x="12167" y="8336"/>
                    <a:pt x="12234" y="8302"/>
                    <a:pt x="12335" y="8302"/>
                  </a:cubicBezTo>
                  <a:cubicBezTo>
                    <a:pt x="12368" y="8269"/>
                    <a:pt x="12402" y="8269"/>
                    <a:pt x="12435" y="8269"/>
                  </a:cubicBezTo>
                  <a:cubicBezTo>
                    <a:pt x="12469" y="8269"/>
                    <a:pt x="12469" y="8235"/>
                    <a:pt x="12503" y="8235"/>
                  </a:cubicBezTo>
                  <a:cubicBezTo>
                    <a:pt x="12637" y="8201"/>
                    <a:pt x="12805" y="8134"/>
                    <a:pt x="12940" y="8067"/>
                  </a:cubicBezTo>
                  <a:lnTo>
                    <a:pt x="12940" y="6151"/>
                  </a:lnTo>
                  <a:cubicBezTo>
                    <a:pt x="12805" y="6252"/>
                    <a:pt x="12671" y="6319"/>
                    <a:pt x="12503" y="6353"/>
                  </a:cubicBezTo>
                  <a:cubicBezTo>
                    <a:pt x="12435" y="6386"/>
                    <a:pt x="12402" y="6386"/>
                    <a:pt x="12335" y="6420"/>
                  </a:cubicBezTo>
                  <a:cubicBezTo>
                    <a:pt x="12267" y="6420"/>
                    <a:pt x="12167" y="6454"/>
                    <a:pt x="12099" y="6454"/>
                  </a:cubicBezTo>
                  <a:cubicBezTo>
                    <a:pt x="11999" y="6487"/>
                    <a:pt x="11931" y="6487"/>
                    <a:pt x="11830" y="6521"/>
                  </a:cubicBezTo>
                  <a:lnTo>
                    <a:pt x="11763" y="6521"/>
                  </a:lnTo>
                  <a:cubicBezTo>
                    <a:pt x="11629" y="6521"/>
                    <a:pt x="11494" y="6555"/>
                    <a:pt x="11394" y="6555"/>
                  </a:cubicBezTo>
                  <a:lnTo>
                    <a:pt x="11326" y="6555"/>
                  </a:lnTo>
                  <a:cubicBezTo>
                    <a:pt x="11192" y="6555"/>
                    <a:pt x="11057" y="6521"/>
                    <a:pt x="10957" y="6521"/>
                  </a:cubicBezTo>
                  <a:lnTo>
                    <a:pt x="10889" y="6521"/>
                  </a:lnTo>
                  <a:cubicBezTo>
                    <a:pt x="10755" y="6487"/>
                    <a:pt x="10654" y="6487"/>
                    <a:pt x="10520" y="6454"/>
                  </a:cubicBezTo>
                  <a:cubicBezTo>
                    <a:pt x="10486" y="6454"/>
                    <a:pt x="10486" y="6454"/>
                    <a:pt x="10453" y="6420"/>
                  </a:cubicBezTo>
                  <a:cubicBezTo>
                    <a:pt x="10352" y="6420"/>
                    <a:pt x="10251" y="6386"/>
                    <a:pt x="10150" y="6353"/>
                  </a:cubicBezTo>
                  <a:cubicBezTo>
                    <a:pt x="10116" y="6319"/>
                    <a:pt x="10116" y="6319"/>
                    <a:pt x="10083" y="6319"/>
                  </a:cubicBezTo>
                  <a:cubicBezTo>
                    <a:pt x="9948" y="6286"/>
                    <a:pt x="9848" y="6218"/>
                    <a:pt x="9747" y="6151"/>
                  </a:cubicBezTo>
                  <a:lnTo>
                    <a:pt x="672" y="942"/>
                  </a:lnTo>
                  <a:cubicBezTo>
                    <a:pt x="336" y="740"/>
                    <a:pt x="135" y="505"/>
                    <a:pt x="67" y="236"/>
                  </a:cubicBezTo>
                  <a:cubicBezTo>
                    <a:pt x="34" y="169"/>
                    <a:pt x="0" y="68"/>
                    <a:pt x="0" y="1"/>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42" name="Google Shape;2737;p49"/>
            <p:cNvSpPr/>
            <p:nvPr/>
          </p:nvSpPr>
          <p:spPr>
            <a:xfrm>
              <a:off x="-20268500" y="12824350"/>
              <a:ext cx="575575" cy="327175"/>
            </a:xfrm>
            <a:custGeom>
              <a:avLst/>
              <a:gdLst/>
              <a:ahLst/>
              <a:cxnLst/>
              <a:rect l="l" t="t" r="r" b="b"/>
              <a:pathLst>
                <a:path w="23023" h="13087" extrusionOk="0">
                  <a:moveTo>
                    <a:pt x="11461" y="0"/>
                  </a:moveTo>
                  <a:cubicBezTo>
                    <a:pt x="10881" y="0"/>
                    <a:pt x="10302" y="126"/>
                    <a:pt x="9848" y="378"/>
                  </a:cubicBezTo>
                  <a:lnTo>
                    <a:pt x="874" y="5621"/>
                  </a:lnTo>
                  <a:cubicBezTo>
                    <a:pt x="1" y="6126"/>
                    <a:pt x="1" y="6966"/>
                    <a:pt x="874" y="7470"/>
                  </a:cubicBezTo>
                  <a:lnTo>
                    <a:pt x="9949" y="12679"/>
                  </a:lnTo>
                  <a:cubicBezTo>
                    <a:pt x="10393" y="12952"/>
                    <a:pt x="10984" y="13087"/>
                    <a:pt x="11573" y="13087"/>
                  </a:cubicBezTo>
                  <a:cubicBezTo>
                    <a:pt x="12144" y="13087"/>
                    <a:pt x="12712" y="12961"/>
                    <a:pt x="13142" y="12713"/>
                  </a:cubicBezTo>
                  <a:lnTo>
                    <a:pt x="22115" y="7470"/>
                  </a:lnTo>
                  <a:cubicBezTo>
                    <a:pt x="23022" y="6966"/>
                    <a:pt x="23022" y="6126"/>
                    <a:pt x="22115" y="5621"/>
                  </a:cubicBezTo>
                  <a:lnTo>
                    <a:pt x="13074" y="378"/>
                  </a:lnTo>
                  <a:cubicBezTo>
                    <a:pt x="12621" y="126"/>
                    <a:pt x="12041" y="0"/>
                    <a:pt x="11461"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43" name="Google Shape;2738;p49"/>
            <p:cNvSpPr/>
            <p:nvPr/>
          </p:nvSpPr>
          <p:spPr>
            <a:xfrm>
              <a:off x="-19605575" y="13187525"/>
              <a:ext cx="242000" cy="200850"/>
            </a:xfrm>
            <a:custGeom>
              <a:avLst/>
              <a:gdLst/>
              <a:ahLst/>
              <a:cxnLst/>
              <a:rect l="l" t="t" r="r" b="b"/>
              <a:pathLst>
                <a:path w="9680" h="8034" extrusionOk="0">
                  <a:moveTo>
                    <a:pt x="9680" y="1"/>
                  </a:moveTo>
                  <a:cubicBezTo>
                    <a:pt x="9680" y="102"/>
                    <a:pt x="9646" y="169"/>
                    <a:pt x="9646" y="236"/>
                  </a:cubicBezTo>
                  <a:cubicBezTo>
                    <a:pt x="9613" y="236"/>
                    <a:pt x="9613" y="270"/>
                    <a:pt x="9613" y="270"/>
                  </a:cubicBezTo>
                  <a:cubicBezTo>
                    <a:pt x="9613" y="337"/>
                    <a:pt x="9546" y="404"/>
                    <a:pt x="9512" y="471"/>
                  </a:cubicBezTo>
                  <a:lnTo>
                    <a:pt x="9478" y="505"/>
                  </a:lnTo>
                  <a:cubicBezTo>
                    <a:pt x="9445" y="572"/>
                    <a:pt x="9378" y="639"/>
                    <a:pt x="9310" y="706"/>
                  </a:cubicBezTo>
                  <a:cubicBezTo>
                    <a:pt x="9277" y="740"/>
                    <a:pt x="9210" y="774"/>
                    <a:pt x="9142" y="841"/>
                  </a:cubicBezTo>
                  <a:cubicBezTo>
                    <a:pt x="9109" y="875"/>
                    <a:pt x="9075" y="908"/>
                    <a:pt x="9008" y="942"/>
                  </a:cubicBezTo>
                  <a:lnTo>
                    <a:pt x="34" y="6151"/>
                  </a:lnTo>
                  <a:lnTo>
                    <a:pt x="1" y="8033"/>
                  </a:lnTo>
                  <a:lnTo>
                    <a:pt x="1" y="8033"/>
                  </a:lnTo>
                  <a:lnTo>
                    <a:pt x="9008" y="2824"/>
                  </a:lnTo>
                  <a:cubicBezTo>
                    <a:pt x="9008" y="2824"/>
                    <a:pt x="9008" y="2824"/>
                    <a:pt x="9041" y="2790"/>
                  </a:cubicBezTo>
                  <a:cubicBezTo>
                    <a:pt x="9075" y="2790"/>
                    <a:pt x="9109" y="2757"/>
                    <a:pt x="9142" y="2723"/>
                  </a:cubicBezTo>
                  <a:cubicBezTo>
                    <a:pt x="9210" y="2689"/>
                    <a:pt x="9277" y="2656"/>
                    <a:pt x="9310" y="2589"/>
                  </a:cubicBezTo>
                  <a:cubicBezTo>
                    <a:pt x="9378" y="2555"/>
                    <a:pt x="9411" y="2488"/>
                    <a:pt x="9478" y="2454"/>
                  </a:cubicBezTo>
                  <a:cubicBezTo>
                    <a:pt x="9478" y="2421"/>
                    <a:pt x="9478" y="2421"/>
                    <a:pt x="9478" y="2421"/>
                  </a:cubicBezTo>
                  <a:lnTo>
                    <a:pt x="9512" y="2387"/>
                  </a:lnTo>
                  <a:cubicBezTo>
                    <a:pt x="9546" y="2353"/>
                    <a:pt x="9546" y="2320"/>
                    <a:pt x="9546" y="2320"/>
                  </a:cubicBezTo>
                  <a:cubicBezTo>
                    <a:pt x="9579" y="2252"/>
                    <a:pt x="9613" y="2219"/>
                    <a:pt x="9613" y="2185"/>
                  </a:cubicBezTo>
                  <a:cubicBezTo>
                    <a:pt x="9613" y="2185"/>
                    <a:pt x="9613" y="2152"/>
                    <a:pt x="9613" y="2152"/>
                  </a:cubicBezTo>
                  <a:cubicBezTo>
                    <a:pt x="9613" y="2152"/>
                    <a:pt x="9613" y="2152"/>
                    <a:pt x="9646" y="2118"/>
                  </a:cubicBezTo>
                  <a:cubicBezTo>
                    <a:pt x="9646" y="2118"/>
                    <a:pt x="9646" y="2084"/>
                    <a:pt x="9646" y="2051"/>
                  </a:cubicBezTo>
                  <a:cubicBezTo>
                    <a:pt x="9680" y="2017"/>
                    <a:pt x="9680" y="1950"/>
                    <a:pt x="9680" y="1916"/>
                  </a:cubicBezTo>
                  <a:lnTo>
                    <a:pt x="9680" y="1883"/>
                  </a:lnTo>
                  <a:lnTo>
                    <a:pt x="9680" y="1"/>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44" name="Google Shape;2739;p49"/>
            <p:cNvSpPr/>
            <p:nvPr/>
          </p:nvSpPr>
          <p:spPr>
            <a:xfrm>
              <a:off x="-19928200" y="13187525"/>
              <a:ext cx="323500" cy="210075"/>
            </a:xfrm>
            <a:custGeom>
              <a:avLst/>
              <a:gdLst/>
              <a:ahLst/>
              <a:cxnLst/>
              <a:rect l="l" t="t" r="r" b="b"/>
              <a:pathLst>
                <a:path w="12940" h="8403" extrusionOk="0">
                  <a:moveTo>
                    <a:pt x="0" y="1"/>
                  </a:moveTo>
                  <a:lnTo>
                    <a:pt x="0" y="1883"/>
                  </a:lnTo>
                  <a:cubicBezTo>
                    <a:pt x="0" y="2219"/>
                    <a:pt x="202" y="2555"/>
                    <a:pt x="672" y="2824"/>
                  </a:cubicBezTo>
                  <a:lnTo>
                    <a:pt x="9713" y="8033"/>
                  </a:lnTo>
                  <a:cubicBezTo>
                    <a:pt x="9814" y="8100"/>
                    <a:pt x="9915" y="8134"/>
                    <a:pt x="10049" y="8201"/>
                  </a:cubicBezTo>
                  <a:lnTo>
                    <a:pt x="10116" y="8201"/>
                  </a:lnTo>
                  <a:cubicBezTo>
                    <a:pt x="10183" y="8235"/>
                    <a:pt x="10251" y="8268"/>
                    <a:pt x="10318" y="8268"/>
                  </a:cubicBezTo>
                  <a:cubicBezTo>
                    <a:pt x="10352" y="8302"/>
                    <a:pt x="10385" y="8302"/>
                    <a:pt x="10419" y="8302"/>
                  </a:cubicBezTo>
                  <a:cubicBezTo>
                    <a:pt x="10452" y="8302"/>
                    <a:pt x="10486" y="8336"/>
                    <a:pt x="10486" y="8336"/>
                  </a:cubicBezTo>
                  <a:lnTo>
                    <a:pt x="10553" y="8336"/>
                  </a:lnTo>
                  <a:cubicBezTo>
                    <a:pt x="10620" y="8369"/>
                    <a:pt x="10721" y="8369"/>
                    <a:pt x="10788" y="8369"/>
                  </a:cubicBezTo>
                  <a:lnTo>
                    <a:pt x="10856" y="8369"/>
                  </a:lnTo>
                  <a:cubicBezTo>
                    <a:pt x="10889" y="8403"/>
                    <a:pt x="10889" y="8403"/>
                    <a:pt x="10923" y="8403"/>
                  </a:cubicBezTo>
                  <a:lnTo>
                    <a:pt x="11729" y="8403"/>
                  </a:lnTo>
                  <a:cubicBezTo>
                    <a:pt x="11763" y="8403"/>
                    <a:pt x="11763" y="8369"/>
                    <a:pt x="11797" y="8369"/>
                  </a:cubicBezTo>
                  <a:lnTo>
                    <a:pt x="11998" y="8369"/>
                  </a:lnTo>
                  <a:cubicBezTo>
                    <a:pt x="12032" y="8336"/>
                    <a:pt x="12066" y="8336"/>
                    <a:pt x="12066" y="8336"/>
                  </a:cubicBezTo>
                  <a:cubicBezTo>
                    <a:pt x="12166" y="8302"/>
                    <a:pt x="12234" y="8302"/>
                    <a:pt x="12301" y="8268"/>
                  </a:cubicBezTo>
                  <a:cubicBezTo>
                    <a:pt x="12334" y="8268"/>
                    <a:pt x="12402" y="8268"/>
                    <a:pt x="12435" y="8235"/>
                  </a:cubicBezTo>
                  <a:lnTo>
                    <a:pt x="12469" y="8235"/>
                  </a:lnTo>
                  <a:cubicBezTo>
                    <a:pt x="12637" y="8168"/>
                    <a:pt x="12771" y="8100"/>
                    <a:pt x="12906" y="8033"/>
                  </a:cubicBezTo>
                  <a:lnTo>
                    <a:pt x="12939" y="6151"/>
                  </a:lnTo>
                  <a:lnTo>
                    <a:pt x="12939" y="6151"/>
                  </a:lnTo>
                  <a:cubicBezTo>
                    <a:pt x="12805" y="6218"/>
                    <a:pt x="12637" y="6286"/>
                    <a:pt x="12469" y="6353"/>
                  </a:cubicBezTo>
                  <a:cubicBezTo>
                    <a:pt x="12435" y="6353"/>
                    <a:pt x="12368" y="6386"/>
                    <a:pt x="12301" y="6386"/>
                  </a:cubicBezTo>
                  <a:cubicBezTo>
                    <a:pt x="12234" y="6420"/>
                    <a:pt x="12166" y="6454"/>
                    <a:pt x="12099" y="6454"/>
                  </a:cubicBezTo>
                  <a:cubicBezTo>
                    <a:pt x="11998" y="6454"/>
                    <a:pt x="11898" y="6487"/>
                    <a:pt x="11797" y="6487"/>
                  </a:cubicBezTo>
                  <a:cubicBezTo>
                    <a:pt x="11797" y="6487"/>
                    <a:pt x="11763" y="6521"/>
                    <a:pt x="11729" y="6521"/>
                  </a:cubicBezTo>
                  <a:lnTo>
                    <a:pt x="10923" y="6521"/>
                  </a:lnTo>
                  <a:cubicBezTo>
                    <a:pt x="10923" y="6521"/>
                    <a:pt x="10889" y="6487"/>
                    <a:pt x="10856" y="6487"/>
                  </a:cubicBezTo>
                  <a:cubicBezTo>
                    <a:pt x="10755" y="6487"/>
                    <a:pt x="10620" y="6454"/>
                    <a:pt x="10520" y="6454"/>
                  </a:cubicBezTo>
                  <a:cubicBezTo>
                    <a:pt x="10486" y="6420"/>
                    <a:pt x="10452" y="6420"/>
                    <a:pt x="10452" y="6420"/>
                  </a:cubicBezTo>
                  <a:cubicBezTo>
                    <a:pt x="10318" y="6386"/>
                    <a:pt x="10217" y="6353"/>
                    <a:pt x="10116" y="6319"/>
                  </a:cubicBezTo>
                  <a:lnTo>
                    <a:pt x="10083" y="6319"/>
                  </a:lnTo>
                  <a:cubicBezTo>
                    <a:pt x="9948" y="6252"/>
                    <a:pt x="9814" y="6218"/>
                    <a:pt x="9713" y="6151"/>
                  </a:cubicBezTo>
                  <a:lnTo>
                    <a:pt x="672" y="908"/>
                  </a:lnTo>
                  <a:cubicBezTo>
                    <a:pt x="336" y="740"/>
                    <a:pt x="135" y="505"/>
                    <a:pt x="34" y="236"/>
                  </a:cubicBezTo>
                  <a:cubicBezTo>
                    <a:pt x="0" y="169"/>
                    <a:pt x="0" y="68"/>
                    <a:pt x="0" y="1"/>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45" name="Google Shape;2740;p49"/>
            <p:cNvSpPr/>
            <p:nvPr/>
          </p:nvSpPr>
          <p:spPr>
            <a:xfrm>
              <a:off x="-19934100" y="13024325"/>
              <a:ext cx="576425" cy="326450"/>
            </a:xfrm>
            <a:custGeom>
              <a:avLst/>
              <a:gdLst/>
              <a:ahLst/>
              <a:cxnLst/>
              <a:rect l="l" t="t" r="r" b="b"/>
              <a:pathLst>
                <a:path w="23057" h="13058" extrusionOk="0">
                  <a:moveTo>
                    <a:pt x="11478" y="0"/>
                  </a:moveTo>
                  <a:cubicBezTo>
                    <a:pt x="10898" y="0"/>
                    <a:pt x="10319" y="126"/>
                    <a:pt x="9882" y="378"/>
                  </a:cubicBezTo>
                  <a:lnTo>
                    <a:pt x="875" y="5588"/>
                  </a:lnTo>
                  <a:cubicBezTo>
                    <a:pt x="1" y="6125"/>
                    <a:pt x="1" y="6932"/>
                    <a:pt x="908" y="7470"/>
                  </a:cubicBezTo>
                  <a:lnTo>
                    <a:pt x="9949" y="12679"/>
                  </a:lnTo>
                  <a:cubicBezTo>
                    <a:pt x="10403" y="12931"/>
                    <a:pt x="10982" y="13057"/>
                    <a:pt x="11562" y="13057"/>
                  </a:cubicBezTo>
                  <a:cubicBezTo>
                    <a:pt x="12142" y="13057"/>
                    <a:pt x="12722" y="12931"/>
                    <a:pt x="13175" y="12679"/>
                  </a:cubicBezTo>
                  <a:lnTo>
                    <a:pt x="22149" y="7470"/>
                  </a:lnTo>
                  <a:cubicBezTo>
                    <a:pt x="23056" y="6932"/>
                    <a:pt x="23023" y="6125"/>
                    <a:pt x="22149" y="5588"/>
                  </a:cubicBezTo>
                  <a:lnTo>
                    <a:pt x="13075" y="378"/>
                  </a:lnTo>
                  <a:cubicBezTo>
                    <a:pt x="12638" y="126"/>
                    <a:pt x="12058" y="0"/>
                    <a:pt x="11478"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46" name="Google Shape;2741;p49"/>
            <p:cNvSpPr/>
            <p:nvPr/>
          </p:nvSpPr>
          <p:spPr>
            <a:xfrm>
              <a:off x="-19262750" y="13387500"/>
              <a:ext cx="241150" cy="200825"/>
            </a:xfrm>
            <a:custGeom>
              <a:avLst/>
              <a:gdLst/>
              <a:ahLst/>
              <a:cxnLst/>
              <a:rect l="l" t="t" r="r" b="b"/>
              <a:pathLst>
                <a:path w="9646" h="8033" extrusionOk="0">
                  <a:moveTo>
                    <a:pt x="9646" y="1"/>
                  </a:moveTo>
                  <a:cubicBezTo>
                    <a:pt x="9646" y="101"/>
                    <a:pt x="9646" y="169"/>
                    <a:pt x="9612" y="236"/>
                  </a:cubicBezTo>
                  <a:cubicBezTo>
                    <a:pt x="9612" y="269"/>
                    <a:pt x="9612" y="269"/>
                    <a:pt x="9612" y="269"/>
                  </a:cubicBezTo>
                  <a:cubicBezTo>
                    <a:pt x="9579" y="337"/>
                    <a:pt x="9545" y="404"/>
                    <a:pt x="9478" y="471"/>
                  </a:cubicBezTo>
                  <a:lnTo>
                    <a:pt x="9478" y="505"/>
                  </a:lnTo>
                  <a:cubicBezTo>
                    <a:pt x="9411" y="572"/>
                    <a:pt x="9343" y="639"/>
                    <a:pt x="9276" y="706"/>
                  </a:cubicBezTo>
                  <a:cubicBezTo>
                    <a:pt x="9242" y="774"/>
                    <a:pt x="9175" y="807"/>
                    <a:pt x="9108" y="841"/>
                  </a:cubicBezTo>
                  <a:cubicBezTo>
                    <a:pt x="9074" y="874"/>
                    <a:pt x="9041" y="908"/>
                    <a:pt x="8974" y="942"/>
                  </a:cubicBezTo>
                  <a:lnTo>
                    <a:pt x="0" y="6151"/>
                  </a:lnTo>
                  <a:lnTo>
                    <a:pt x="0" y="8033"/>
                  </a:lnTo>
                  <a:lnTo>
                    <a:pt x="8974" y="2824"/>
                  </a:lnTo>
                  <a:lnTo>
                    <a:pt x="9007" y="2824"/>
                  </a:lnTo>
                  <a:cubicBezTo>
                    <a:pt x="9041" y="2790"/>
                    <a:pt x="9074" y="2756"/>
                    <a:pt x="9108" y="2723"/>
                  </a:cubicBezTo>
                  <a:cubicBezTo>
                    <a:pt x="9175" y="2689"/>
                    <a:pt x="9242" y="2656"/>
                    <a:pt x="9276" y="2622"/>
                  </a:cubicBezTo>
                  <a:cubicBezTo>
                    <a:pt x="9276" y="2588"/>
                    <a:pt x="9310" y="2588"/>
                    <a:pt x="9310" y="2588"/>
                  </a:cubicBezTo>
                  <a:cubicBezTo>
                    <a:pt x="9343" y="2555"/>
                    <a:pt x="9411" y="2488"/>
                    <a:pt x="9444" y="2454"/>
                  </a:cubicBezTo>
                  <a:cubicBezTo>
                    <a:pt x="9444" y="2420"/>
                    <a:pt x="9444" y="2420"/>
                    <a:pt x="9478" y="2420"/>
                  </a:cubicBezTo>
                  <a:lnTo>
                    <a:pt x="9478" y="2387"/>
                  </a:lnTo>
                  <a:cubicBezTo>
                    <a:pt x="9511" y="2353"/>
                    <a:pt x="9511" y="2320"/>
                    <a:pt x="9545" y="2320"/>
                  </a:cubicBezTo>
                  <a:cubicBezTo>
                    <a:pt x="9545" y="2286"/>
                    <a:pt x="9579" y="2219"/>
                    <a:pt x="9579" y="2185"/>
                  </a:cubicBezTo>
                  <a:cubicBezTo>
                    <a:pt x="9612" y="2185"/>
                    <a:pt x="9612" y="2185"/>
                    <a:pt x="9612" y="2152"/>
                  </a:cubicBezTo>
                  <a:cubicBezTo>
                    <a:pt x="9612" y="2118"/>
                    <a:pt x="9612" y="2084"/>
                    <a:pt x="9646" y="2051"/>
                  </a:cubicBezTo>
                  <a:cubicBezTo>
                    <a:pt x="9646" y="2017"/>
                    <a:pt x="9646" y="1950"/>
                    <a:pt x="9646" y="1916"/>
                  </a:cubicBezTo>
                  <a:lnTo>
                    <a:pt x="9646" y="1"/>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47" name="Google Shape;2742;p49"/>
            <p:cNvSpPr/>
            <p:nvPr/>
          </p:nvSpPr>
          <p:spPr>
            <a:xfrm>
              <a:off x="-19586250" y="13387500"/>
              <a:ext cx="323525" cy="210075"/>
            </a:xfrm>
            <a:custGeom>
              <a:avLst/>
              <a:gdLst/>
              <a:ahLst/>
              <a:cxnLst/>
              <a:rect l="l" t="t" r="r" b="b"/>
              <a:pathLst>
                <a:path w="12941" h="8403" extrusionOk="0">
                  <a:moveTo>
                    <a:pt x="1" y="1"/>
                  </a:moveTo>
                  <a:lnTo>
                    <a:pt x="1" y="1883"/>
                  </a:lnTo>
                  <a:cubicBezTo>
                    <a:pt x="1" y="2219"/>
                    <a:pt x="236" y="2555"/>
                    <a:pt x="673" y="2824"/>
                  </a:cubicBezTo>
                  <a:lnTo>
                    <a:pt x="9714" y="8033"/>
                  </a:lnTo>
                  <a:cubicBezTo>
                    <a:pt x="9814" y="8100"/>
                    <a:pt x="9949" y="8167"/>
                    <a:pt x="10050" y="8201"/>
                  </a:cubicBezTo>
                  <a:lnTo>
                    <a:pt x="10083" y="8201"/>
                  </a:lnTo>
                  <a:cubicBezTo>
                    <a:pt x="10083" y="8201"/>
                    <a:pt x="10117" y="8235"/>
                    <a:pt x="10117" y="8235"/>
                  </a:cubicBezTo>
                  <a:cubicBezTo>
                    <a:pt x="10184" y="8235"/>
                    <a:pt x="10251" y="8268"/>
                    <a:pt x="10319" y="8302"/>
                  </a:cubicBezTo>
                  <a:cubicBezTo>
                    <a:pt x="10352" y="8302"/>
                    <a:pt x="10419" y="8302"/>
                    <a:pt x="10453" y="8336"/>
                  </a:cubicBezTo>
                  <a:lnTo>
                    <a:pt x="10554" y="8336"/>
                  </a:lnTo>
                  <a:cubicBezTo>
                    <a:pt x="10655" y="8369"/>
                    <a:pt x="10722" y="8369"/>
                    <a:pt x="10789" y="8369"/>
                  </a:cubicBezTo>
                  <a:cubicBezTo>
                    <a:pt x="10823" y="8403"/>
                    <a:pt x="10856" y="8403"/>
                    <a:pt x="10890" y="8403"/>
                  </a:cubicBezTo>
                  <a:lnTo>
                    <a:pt x="11797" y="8403"/>
                  </a:lnTo>
                  <a:cubicBezTo>
                    <a:pt x="11865" y="8369"/>
                    <a:pt x="11932" y="8369"/>
                    <a:pt x="11999" y="8369"/>
                  </a:cubicBezTo>
                  <a:cubicBezTo>
                    <a:pt x="12033" y="8369"/>
                    <a:pt x="12066" y="8336"/>
                    <a:pt x="12100" y="8336"/>
                  </a:cubicBezTo>
                  <a:cubicBezTo>
                    <a:pt x="12167" y="8336"/>
                    <a:pt x="12234" y="8302"/>
                    <a:pt x="12302" y="8268"/>
                  </a:cubicBezTo>
                  <a:lnTo>
                    <a:pt x="12436" y="8268"/>
                  </a:lnTo>
                  <a:cubicBezTo>
                    <a:pt x="12436" y="8235"/>
                    <a:pt x="12470" y="8235"/>
                    <a:pt x="12470" y="8235"/>
                  </a:cubicBezTo>
                  <a:cubicBezTo>
                    <a:pt x="12638" y="8167"/>
                    <a:pt x="12806" y="8134"/>
                    <a:pt x="12940" y="8033"/>
                  </a:cubicBezTo>
                  <a:lnTo>
                    <a:pt x="12940" y="6151"/>
                  </a:lnTo>
                  <a:cubicBezTo>
                    <a:pt x="12806" y="6252"/>
                    <a:pt x="12638" y="6319"/>
                    <a:pt x="12503" y="6353"/>
                  </a:cubicBezTo>
                  <a:cubicBezTo>
                    <a:pt x="12436" y="6386"/>
                    <a:pt x="12369" y="6386"/>
                    <a:pt x="12335" y="6420"/>
                  </a:cubicBezTo>
                  <a:cubicBezTo>
                    <a:pt x="12234" y="6420"/>
                    <a:pt x="12167" y="6453"/>
                    <a:pt x="12100" y="6453"/>
                  </a:cubicBezTo>
                  <a:cubicBezTo>
                    <a:pt x="11999" y="6487"/>
                    <a:pt x="11898" y="6487"/>
                    <a:pt x="11831" y="6521"/>
                  </a:cubicBezTo>
                  <a:lnTo>
                    <a:pt x="11764" y="6521"/>
                  </a:lnTo>
                  <a:cubicBezTo>
                    <a:pt x="11629" y="6521"/>
                    <a:pt x="11495" y="6554"/>
                    <a:pt x="11360" y="6554"/>
                  </a:cubicBezTo>
                  <a:lnTo>
                    <a:pt x="11327" y="6554"/>
                  </a:lnTo>
                  <a:cubicBezTo>
                    <a:pt x="11192" y="6554"/>
                    <a:pt x="11058" y="6521"/>
                    <a:pt x="10924" y="6521"/>
                  </a:cubicBezTo>
                  <a:lnTo>
                    <a:pt x="10890" y="6521"/>
                  </a:lnTo>
                  <a:cubicBezTo>
                    <a:pt x="10756" y="6487"/>
                    <a:pt x="10621" y="6487"/>
                    <a:pt x="10520" y="6453"/>
                  </a:cubicBezTo>
                  <a:cubicBezTo>
                    <a:pt x="10487" y="6453"/>
                    <a:pt x="10487" y="6420"/>
                    <a:pt x="10453" y="6420"/>
                  </a:cubicBezTo>
                  <a:cubicBezTo>
                    <a:pt x="10352" y="6420"/>
                    <a:pt x="10218" y="6353"/>
                    <a:pt x="10117" y="6319"/>
                  </a:cubicBezTo>
                  <a:lnTo>
                    <a:pt x="10083" y="6319"/>
                  </a:lnTo>
                  <a:cubicBezTo>
                    <a:pt x="9949" y="6285"/>
                    <a:pt x="9848" y="6218"/>
                    <a:pt x="9714" y="6151"/>
                  </a:cubicBezTo>
                  <a:lnTo>
                    <a:pt x="673" y="942"/>
                  </a:lnTo>
                  <a:cubicBezTo>
                    <a:pt x="337" y="740"/>
                    <a:pt x="135" y="505"/>
                    <a:pt x="34" y="236"/>
                  </a:cubicBezTo>
                  <a:cubicBezTo>
                    <a:pt x="34" y="169"/>
                    <a:pt x="1" y="68"/>
                    <a:pt x="1" y="1"/>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48" name="Google Shape;2743;p49"/>
            <p:cNvSpPr/>
            <p:nvPr/>
          </p:nvSpPr>
          <p:spPr>
            <a:xfrm>
              <a:off x="-19591275" y="13224300"/>
              <a:ext cx="575550" cy="327075"/>
            </a:xfrm>
            <a:custGeom>
              <a:avLst/>
              <a:gdLst/>
              <a:ahLst/>
              <a:cxnLst/>
              <a:rect l="l" t="t" r="r" b="b"/>
              <a:pathLst>
                <a:path w="23022" h="13083" extrusionOk="0">
                  <a:moveTo>
                    <a:pt x="11461" y="0"/>
                  </a:moveTo>
                  <a:cubicBezTo>
                    <a:pt x="10881" y="0"/>
                    <a:pt x="10301" y="126"/>
                    <a:pt x="9847" y="378"/>
                  </a:cubicBezTo>
                  <a:lnTo>
                    <a:pt x="874" y="5621"/>
                  </a:lnTo>
                  <a:cubicBezTo>
                    <a:pt x="0" y="6125"/>
                    <a:pt x="0" y="6965"/>
                    <a:pt x="874" y="7470"/>
                  </a:cubicBezTo>
                  <a:lnTo>
                    <a:pt x="9915" y="12679"/>
                  </a:lnTo>
                  <a:cubicBezTo>
                    <a:pt x="10368" y="12948"/>
                    <a:pt x="10957" y="13082"/>
                    <a:pt x="11540" y="13082"/>
                  </a:cubicBezTo>
                  <a:cubicBezTo>
                    <a:pt x="12124" y="13082"/>
                    <a:pt x="12704" y="12948"/>
                    <a:pt x="13141" y="12679"/>
                  </a:cubicBezTo>
                  <a:lnTo>
                    <a:pt x="22115" y="7470"/>
                  </a:lnTo>
                  <a:cubicBezTo>
                    <a:pt x="23022" y="6965"/>
                    <a:pt x="23022" y="6125"/>
                    <a:pt x="22115" y="5621"/>
                  </a:cubicBezTo>
                  <a:lnTo>
                    <a:pt x="13074" y="378"/>
                  </a:lnTo>
                  <a:cubicBezTo>
                    <a:pt x="12620" y="126"/>
                    <a:pt x="12040" y="0"/>
                    <a:pt x="11461"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49" name="Google Shape;2744;p49"/>
            <p:cNvSpPr/>
            <p:nvPr/>
          </p:nvSpPr>
          <p:spPr>
            <a:xfrm>
              <a:off x="-18935075" y="13582425"/>
              <a:ext cx="242000" cy="200850"/>
            </a:xfrm>
            <a:custGeom>
              <a:avLst/>
              <a:gdLst/>
              <a:ahLst/>
              <a:cxnLst/>
              <a:rect l="l" t="t" r="r" b="b"/>
              <a:pathLst>
                <a:path w="9680" h="8034" extrusionOk="0">
                  <a:moveTo>
                    <a:pt x="9680" y="1"/>
                  </a:moveTo>
                  <a:cubicBezTo>
                    <a:pt x="9680" y="102"/>
                    <a:pt x="9646" y="169"/>
                    <a:pt x="9613" y="236"/>
                  </a:cubicBezTo>
                  <a:cubicBezTo>
                    <a:pt x="9613" y="236"/>
                    <a:pt x="9613" y="270"/>
                    <a:pt x="9613" y="270"/>
                  </a:cubicBezTo>
                  <a:cubicBezTo>
                    <a:pt x="9579" y="337"/>
                    <a:pt x="9545" y="404"/>
                    <a:pt x="9512" y="471"/>
                  </a:cubicBezTo>
                  <a:lnTo>
                    <a:pt x="9478" y="505"/>
                  </a:lnTo>
                  <a:cubicBezTo>
                    <a:pt x="9444" y="572"/>
                    <a:pt x="9377" y="639"/>
                    <a:pt x="9310" y="707"/>
                  </a:cubicBezTo>
                  <a:cubicBezTo>
                    <a:pt x="9243" y="740"/>
                    <a:pt x="9209" y="807"/>
                    <a:pt x="9142" y="841"/>
                  </a:cubicBezTo>
                  <a:cubicBezTo>
                    <a:pt x="9108" y="875"/>
                    <a:pt x="9041" y="908"/>
                    <a:pt x="9008" y="942"/>
                  </a:cubicBezTo>
                  <a:lnTo>
                    <a:pt x="0" y="6151"/>
                  </a:lnTo>
                  <a:lnTo>
                    <a:pt x="0" y="8033"/>
                  </a:lnTo>
                  <a:lnTo>
                    <a:pt x="9008" y="2824"/>
                  </a:lnTo>
                  <a:lnTo>
                    <a:pt x="9041" y="2824"/>
                  </a:lnTo>
                  <a:cubicBezTo>
                    <a:pt x="9075" y="2790"/>
                    <a:pt x="9108" y="2757"/>
                    <a:pt x="9142" y="2723"/>
                  </a:cubicBezTo>
                  <a:cubicBezTo>
                    <a:pt x="9209" y="2689"/>
                    <a:pt x="9243" y="2656"/>
                    <a:pt x="9310" y="2622"/>
                  </a:cubicBezTo>
                  <a:cubicBezTo>
                    <a:pt x="9310" y="2589"/>
                    <a:pt x="9310" y="2589"/>
                    <a:pt x="9310" y="2589"/>
                  </a:cubicBezTo>
                  <a:cubicBezTo>
                    <a:pt x="9377" y="2555"/>
                    <a:pt x="9411" y="2488"/>
                    <a:pt x="9478" y="2454"/>
                  </a:cubicBezTo>
                  <a:cubicBezTo>
                    <a:pt x="9478" y="2421"/>
                    <a:pt x="9478" y="2421"/>
                    <a:pt x="9478" y="2421"/>
                  </a:cubicBezTo>
                  <a:lnTo>
                    <a:pt x="9512" y="2387"/>
                  </a:lnTo>
                  <a:cubicBezTo>
                    <a:pt x="9512" y="2353"/>
                    <a:pt x="9545" y="2320"/>
                    <a:pt x="9545" y="2320"/>
                  </a:cubicBezTo>
                  <a:cubicBezTo>
                    <a:pt x="9579" y="2253"/>
                    <a:pt x="9613" y="2219"/>
                    <a:pt x="9613" y="2185"/>
                  </a:cubicBezTo>
                  <a:cubicBezTo>
                    <a:pt x="9613" y="2185"/>
                    <a:pt x="9613" y="2152"/>
                    <a:pt x="9613" y="2152"/>
                  </a:cubicBezTo>
                  <a:cubicBezTo>
                    <a:pt x="9613" y="2152"/>
                    <a:pt x="9613" y="2152"/>
                    <a:pt x="9613" y="2118"/>
                  </a:cubicBezTo>
                  <a:cubicBezTo>
                    <a:pt x="9646" y="2118"/>
                    <a:pt x="9646" y="2085"/>
                    <a:pt x="9646" y="2051"/>
                  </a:cubicBezTo>
                  <a:cubicBezTo>
                    <a:pt x="9646" y="2017"/>
                    <a:pt x="9680" y="1950"/>
                    <a:pt x="9680" y="1916"/>
                  </a:cubicBezTo>
                  <a:lnTo>
                    <a:pt x="9680" y="1883"/>
                  </a:lnTo>
                  <a:lnTo>
                    <a:pt x="9680" y="1"/>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50" name="Google Shape;2745;p49"/>
            <p:cNvSpPr/>
            <p:nvPr/>
          </p:nvSpPr>
          <p:spPr>
            <a:xfrm>
              <a:off x="-19257725" y="13582425"/>
              <a:ext cx="322675" cy="210075"/>
            </a:xfrm>
            <a:custGeom>
              <a:avLst/>
              <a:gdLst/>
              <a:ahLst/>
              <a:cxnLst/>
              <a:rect l="l" t="t" r="r" b="b"/>
              <a:pathLst>
                <a:path w="12907" h="8403" extrusionOk="0">
                  <a:moveTo>
                    <a:pt x="1" y="1"/>
                  </a:moveTo>
                  <a:lnTo>
                    <a:pt x="1" y="1883"/>
                  </a:lnTo>
                  <a:cubicBezTo>
                    <a:pt x="1" y="2219"/>
                    <a:pt x="202" y="2555"/>
                    <a:pt x="673" y="2824"/>
                  </a:cubicBezTo>
                  <a:lnTo>
                    <a:pt x="9714" y="8033"/>
                  </a:lnTo>
                  <a:cubicBezTo>
                    <a:pt x="9814" y="8100"/>
                    <a:pt x="9915" y="8134"/>
                    <a:pt x="10050" y="8201"/>
                  </a:cubicBezTo>
                  <a:lnTo>
                    <a:pt x="10117" y="8201"/>
                  </a:lnTo>
                  <a:cubicBezTo>
                    <a:pt x="10184" y="8235"/>
                    <a:pt x="10251" y="8269"/>
                    <a:pt x="10319" y="8269"/>
                  </a:cubicBezTo>
                  <a:cubicBezTo>
                    <a:pt x="10352" y="8302"/>
                    <a:pt x="10386" y="8302"/>
                    <a:pt x="10419" y="8302"/>
                  </a:cubicBezTo>
                  <a:cubicBezTo>
                    <a:pt x="10453" y="8302"/>
                    <a:pt x="10487" y="8336"/>
                    <a:pt x="10487" y="8336"/>
                  </a:cubicBezTo>
                  <a:lnTo>
                    <a:pt x="10554" y="8336"/>
                  </a:lnTo>
                  <a:cubicBezTo>
                    <a:pt x="10621" y="8369"/>
                    <a:pt x="10722" y="8369"/>
                    <a:pt x="10789" y="8369"/>
                  </a:cubicBezTo>
                  <a:lnTo>
                    <a:pt x="10856" y="8369"/>
                  </a:lnTo>
                  <a:cubicBezTo>
                    <a:pt x="10890" y="8403"/>
                    <a:pt x="10890" y="8403"/>
                    <a:pt x="10924" y="8403"/>
                  </a:cubicBezTo>
                  <a:lnTo>
                    <a:pt x="11730" y="8403"/>
                  </a:lnTo>
                  <a:cubicBezTo>
                    <a:pt x="11764" y="8369"/>
                    <a:pt x="11764" y="8369"/>
                    <a:pt x="11797" y="8369"/>
                  </a:cubicBezTo>
                  <a:cubicBezTo>
                    <a:pt x="11865" y="8369"/>
                    <a:pt x="11932" y="8369"/>
                    <a:pt x="11999" y="8336"/>
                  </a:cubicBezTo>
                  <a:lnTo>
                    <a:pt x="12066" y="8336"/>
                  </a:lnTo>
                  <a:cubicBezTo>
                    <a:pt x="12133" y="8302"/>
                    <a:pt x="12234" y="8302"/>
                    <a:pt x="12302" y="8269"/>
                  </a:cubicBezTo>
                  <a:cubicBezTo>
                    <a:pt x="12335" y="8269"/>
                    <a:pt x="12369" y="8269"/>
                    <a:pt x="12436" y="8235"/>
                  </a:cubicBezTo>
                  <a:lnTo>
                    <a:pt x="12470" y="8235"/>
                  </a:lnTo>
                  <a:cubicBezTo>
                    <a:pt x="12638" y="8168"/>
                    <a:pt x="12772" y="8100"/>
                    <a:pt x="12906" y="8033"/>
                  </a:cubicBezTo>
                  <a:lnTo>
                    <a:pt x="12906" y="6151"/>
                  </a:lnTo>
                  <a:cubicBezTo>
                    <a:pt x="12806" y="6252"/>
                    <a:pt x="12638" y="6286"/>
                    <a:pt x="12470" y="6353"/>
                  </a:cubicBezTo>
                  <a:cubicBezTo>
                    <a:pt x="12436" y="6386"/>
                    <a:pt x="12369" y="6386"/>
                    <a:pt x="12302" y="6386"/>
                  </a:cubicBezTo>
                  <a:cubicBezTo>
                    <a:pt x="12234" y="6420"/>
                    <a:pt x="12167" y="6454"/>
                    <a:pt x="12066" y="6454"/>
                  </a:cubicBezTo>
                  <a:cubicBezTo>
                    <a:pt x="11999" y="6487"/>
                    <a:pt x="11898" y="6487"/>
                    <a:pt x="11797" y="6487"/>
                  </a:cubicBezTo>
                  <a:cubicBezTo>
                    <a:pt x="11797" y="6521"/>
                    <a:pt x="11764" y="6521"/>
                    <a:pt x="11730" y="6521"/>
                  </a:cubicBezTo>
                  <a:lnTo>
                    <a:pt x="10856" y="6521"/>
                  </a:lnTo>
                  <a:cubicBezTo>
                    <a:pt x="10756" y="6487"/>
                    <a:pt x="10621" y="6454"/>
                    <a:pt x="10487" y="6454"/>
                  </a:cubicBezTo>
                  <a:cubicBezTo>
                    <a:pt x="10487" y="6420"/>
                    <a:pt x="10453" y="6420"/>
                    <a:pt x="10419" y="6420"/>
                  </a:cubicBezTo>
                  <a:cubicBezTo>
                    <a:pt x="10319" y="6386"/>
                    <a:pt x="10218" y="6353"/>
                    <a:pt x="10117" y="6319"/>
                  </a:cubicBezTo>
                  <a:lnTo>
                    <a:pt x="10050" y="6319"/>
                  </a:lnTo>
                  <a:cubicBezTo>
                    <a:pt x="9949" y="6252"/>
                    <a:pt x="9814" y="6218"/>
                    <a:pt x="9714" y="6151"/>
                  </a:cubicBezTo>
                  <a:lnTo>
                    <a:pt x="673" y="908"/>
                  </a:lnTo>
                  <a:cubicBezTo>
                    <a:pt x="337" y="740"/>
                    <a:pt x="135" y="505"/>
                    <a:pt x="34" y="236"/>
                  </a:cubicBezTo>
                  <a:cubicBezTo>
                    <a:pt x="1" y="169"/>
                    <a:pt x="1" y="68"/>
                    <a:pt x="1" y="1"/>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51" name="Google Shape;2746;p49"/>
            <p:cNvSpPr/>
            <p:nvPr/>
          </p:nvSpPr>
          <p:spPr>
            <a:xfrm>
              <a:off x="-19263600" y="13419225"/>
              <a:ext cx="575575" cy="326450"/>
            </a:xfrm>
            <a:custGeom>
              <a:avLst/>
              <a:gdLst/>
              <a:ahLst/>
              <a:cxnLst/>
              <a:rect l="l" t="t" r="r" b="b"/>
              <a:pathLst>
                <a:path w="23023" h="13058" extrusionOk="0">
                  <a:moveTo>
                    <a:pt x="11478" y="0"/>
                  </a:moveTo>
                  <a:cubicBezTo>
                    <a:pt x="10898" y="0"/>
                    <a:pt x="10318" y="126"/>
                    <a:pt x="9881" y="378"/>
                  </a:cubicBezTo>
                  <a:lnTo>
                    <a:pt x="874" y="5588"/>
                  </a:lnTo>
                  <a:cubicBezTo>
                    <a:pt x="0" y="6125"/>
                    <a:pt x="0" y="6932"/>
                    <a:pt x="908" y="7470"/>
                  </a:cubicBezTo>
                  <a:lnTo>
                    <a:pt x="9949" y="12679"/>
                  </a:lnTo>
                  <a:cubicBezTo>
                    <a:pt x="10402" y="12931"/>
                    <a:pt x="10982" y="13057"/>
                    <a:pt x="11562" y="13057"/>
                  </a:cubicBezTo>
                  <a:cubicBezTo>
                    <a:pt x="12142" y="13057"/>
                    <a:pt x="12721" y="12931"/>
                    <a:pt x="13175" y="12679"/>
                  </a:cubicBezTo>
                  <a:lnTo>
                    <a:pt x="22149" y="7470"/>
                  </a:lnTo>
                  <a:cubicBezTo>
                    <a:pt x="23022" y="6932"/>
                    <a:pt x="23022" y="6125"/>
                    <a:pt x="22149" y="5588"/>
                  </a:cubicBezTo>
                  <a:lnTo>
                    <a:pt x="13074" y="378"/>
                  </a:lnTo>
                  <a:cubicBezTo>
                    <a:pt x="12637" y="126"/>
                    <a:pt x="12058" y="0"/>
                    <a:pt x="11478"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52" name="Google Shape;2747;p49"/>
            <p:cNvSpPr/>
            <p:nvPr/>
          </p:nvSpPr>
          <p:spPr>
            <a:xfrm>
              <a:off x="-18603200" y="13777350"/>
              <a:ext cx="242025" cy="200850"/>
            </a:xfrm>
            <a:custGeom>
              <a:avLst/>
              <a:gdLst/>
              <a:ahLst/>
              <a:cxnLst/>
              <a:rect l="l" t="t" r="r" b="b"/>
              <a:pathLst>
                <a:path w="9681" h="8034" extrusionOk="0">
                  <a:moveTo>
                    <a:pt x="9680" y="1"/>
                  </a:moveTo>
                  <a:lnTo>
                    <a:pt x="9680" y="1"/>
                  </a:lnTo>
                  <a:cubicBezTo>
                    <a:pt x="9647" y="102"/>
                    <a:pt x="9647" y="169"/>
                    <a:pt x="9613" y="236"/>
                  </a:cubicBezTo>
                  <a:cubicBezTo>
                    <a:pt x="9613" y="236"/>
                    <a:pt x="9613" y="270"/>
                    <a:pt x="9613" y="270"/>
                  </a:cubicBezTo>
                  <a:cubicBezTo>
                    <a:pt x="9579" y="337"/>
                    <a:pt x="9546" y="404"/>
                    <a:pt x="9512" y="472"/>
                  </a:cubicBezTo>
                  <a:lnTo>
                    <a:pt x="9478" y="505"/>
                  </a:lnTo>
                  <a:cubicBezTo>
                    <a:pt x="9445" y="572"/>
                    <a:pt x="9378" y="640"/>
                    <a:pt x="9310" y="707"/>
                  </a:cubicBezTo>
                  <a:cubicBezTo>
                    <a:pt x="9243" y="740"/>
                    <a:pt x="9210" y="808"/>
                    <a:pt x="9142" y="841"/>
                  </a:cubicBezTo>
                  <a:cubicBezTo>
                    <a:pt x="9075" y="875"/>
                    <a:pt x="9042" y="908"/>
                    <a:pt x="9008" y="942"/>
                  </a:cubicBezTo>
                  <a:lnTo>
                    <a:pt x="1" y="6151"/>
                  </a:lnTo>
                  <a:lnTo>
                    <a:pt x="1" y="8033"/>
                  </a:lnTo>
                  <a:lnTo>
                    <a:pt x="9008" y="2824"/>
                  </a:lnTo>
                  <a:cubicBezTo>
                    <a:pt x="9008" y="2824"/>
                    <a:pt x="9008" y="2824"/>
                    <a:pt x="9008" y="2791"/>
                  </a:cubicBezTo>
                  <a:cubicBezTo>
                    <a:pt x="9075" y="2791"/>
                    <a:pt x="9109" y="2757"/>
                    <a:pt x="9142" y="2723"/>
                  </a:cubicBezTo>
                  <a:cubicBezTo>
                    <a:pt x="9176" y="2690"/>
                    <a:pt x="9243" y="2656"/>
                    <a:pt x="9310" y="2589"/>
                  </a:cubicBezTo>
                  <a:cubicBezTo>
                    <a:pt x="9378" y="2555"/>
                    <a:pt x="9411" y="2488"/>
                    <a:pt x="9445" y="2454"/>
                  </a:cubicBezTo>
                  <a:cubicBezTo>
                    <a:pt x="9478" y="2421"/>
                    <a:pt x="9478" y="2421"/>
                    <a:pt x="9478" y="2421"/>
                  </a:cubicBezTo>
                  <a:lnTo>
                    <a:pt x="9512" y="2354"/>
                  </a:lnTo>
                  <a:cubicBezTo>
                    <a:pt x="9512" y="2354"/>
                    <a:pt x="9546" y="2320"/>
                    <a:pt x="9546" y="2320"/>
                  </a:cubicBezTo>
                  <a:cubicBezTo>
                    <a:pt x="9579" y="2253"/>
                    <a:pt x="9579" y="2219"/>
                    <a:pt x="9613" y="2186"/>
                  </a:cubicBezTo>
                  <a:cubicBezTo>
                    <a:pt x="9613" y="2152"/>
                    <a:pt x="9613" y="2152"/>
                    <a:pt x="9613" y="2152"/>
                  </a:cubicBezTo>
                  <a:cubicBezTo>
                    <a:pt x="9613" y="2152"/>
                    <a:pt x="9613" y="2152"/>
                    <a:pt x="9613" y="2118"/>
                  </a:cubicBezTo>
                  <a:cubicBezTo>
                    <a:pt x="9613" y="2085"/>
                    <a:pt x="9647" y="2085"/>
                    <a:pt x="9647" y="2051"/>
                  </a:cubicBezTo>
                  <a:cubicBezTo>
                    <a:pt x="9647" y="2018"/>
                    <a:pt x="9647" y="1950"/>
                    <a:pt x="9647" y="1917"/>
                  </a:cubicBezTo>
                  <a:lnTo>
                    <a:pt x="9647" y="1883"/>
                  </a:lnTo>
                  <a:lnTo>
                    <a:pt x="9680" y="1"/>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53" name="Google Shape;2748;p49"/>
            <p:cNvSpPr/>
            <p:nvPr/>
          </p:nvSpPr>
          <p:spPr>
            <a:xfrm>
              <a:off x="-18925825" y="13776525"/>
              <a:ext cx="322650" cy="210925"/>
            </a:xfrm>
            <a:custGeom>
              <a:avLst/>
              <a:gdLst/>
              <a:ahLst/>
              <a:cxnLst/>
              <a:rect l="l" t="t" r="r" b="b"/>
              <a:pathLst>
                <a:path w="12906" h="8437" extrusionOk="0">
                  <a:moveTo>
                    <a:pt x="0" y="0"/>
                  </a:moveTo>
                  <a:lnTo>
                    <a:pt x="0" y="1916"/>
                  </a:lnTo>
                  <a:cubicBezTo>
                    <a:pt x="0" y="2252"/>
                    <a:pt x="202" y="2588"/>
                    <a:pt x="672" y="2857"/>
                  </a:cubicBezTo>
                  <a:lnTo>
                    <a:pt x="9713" y="8066"/>
                  </a:lnTo>
                  <a:cubicBezTo>
                    <a:pt x="9814" y="8134"/>
                    <a:pt x="9915" y="8167"/>
                    <a:pt x="10049" y="8235"/>
                  </a:cubicBezTo>
                  <a:lnTo>
                    <a:pt x="10116" y="8235"/>
                  </a:lnTo>
                  <a:cubicBezTo>
                    <a:pt x="10184" y="8268"/>
                    <a:pt x="10251" y="8302"/>
                    <a:pt x="10318" y="8302"/>
                  </a:cubicBezTo>
                  <a:cubicBezTo>
                    <a:pt x="10352" y="8335"/>
                    <a:pt x="10385" y="8335"/>
                    <a:pt x="10419" y="8335"/>
                  </a:cubicBezTo>
                  <a:cubicBezTo>
                    <a:pt x="10452" y="8335"/>
                    <a:pt x="10452" y="8369"/>
                    <a:pt x="10486" y="8369"/>
                  </a:cubicBezTo>
                  <a:lnTo>
                    <a:pt x="10553" y="8369"/>
                  </a:lnTo>
                  <a:cubicBezTo>
                    <a:pt x="10620" y="8403"/>
                    <a:pt x="10688" y="8403"/>
                    <a:pt x="10789" y="8403"/>
                  </a:cubicBezTo>
                  <a:lnTo>
                    <a:pt x="10856" y="8403"/>
                  </a:lnTo>
                  <a:cubicBezTo>
                    <a:pt x="10889" y="8436"/>
                    <a:pt x="10889" y="8436"/>
                    <a:pt x="10923" y="8436"/>
                  </a:cubicBezTo>
                  <a:lnTo>
                    <a:pt x="11730" y="8436"/>
                  </a:lnTo>
                  <a:cubicBezTo>
                    <a:pt x="11763" y="8403"/>
                    <a:pt x="11763" y="8403"/>
                    <a:pt x="11797" y="8403"/>
                  </a:cubicBezTo>
                  <a:cubicBezTo>
                    <a:pt x="11864" y="8403"/>
                    <a:pt x="11931" y="8403"/>
                    <a:pt x="11998" y="8369"/>
                  </a:cubicBezTo>
                  <a:lnTo>
                    <a:pt x="12066" y="8369"/>
                  </a:lnTo>
                  <a:cubicBezTo>
                    <a:pt x="12133" y="8335"/>
                    <a:pt x="12234" y="8335"/>
                    <a:pt x="12301" y="8302"/>
                  </a:cubicBezTo>
                  <a:cubicBezTo>
                    <a:pt x="12335" y="8302"/>
                    <a:pt x="12368" y="8302"/>
                    <a:pt x="12402" y="8268"/>
                  </a:cubicBezTo>
                  <a:lnTo>
                    <a:pt x="12469" y="8268"/>
                  </a:lnTo>
                  <a:cubicBezTo>
                    <a:pt x="12637" y="8201"/>
                    <a:pt x="12771" y="8134"/>
                    <a:pt x="12906" y="8066"/>
                  </a:cubicBezTo>
                  <a:lnTo>
                    <a:pt x="12906" y="6184"/>
                  </a:lnTo>
                  <a:cubicBezTo>
                    <a:pt x="12771" y="6252"/>
                    <a:pt x="12637" y="6319"/>
                    <a:pt x="12469" y="6386"/>
                  </a:cubicBezTo>
                  <a:cubicBezTo>
                    <a:pt x="12435" y="6420"/>
                    <a:pt x="12368" y="6420"/>
                    <a:pt x="12301" y="6420"/>
                  </a:cubicBezTo>
                  <a:cubicBezTo>
                    <a:pt x="12234" y="6453"/>
                    <a:pt x="12166" y="6487"/>
                    <a:pt x="12066" y="6487"/>
                  </a:cubicBezTo>
                  <a:cubicBezTo>
                    <a:pt x="11998" y="6520"/>
                    <a:pt x="11898" y="6520"/>
                    <a:pt x="11797" y="6520"/>
                  </a:cubicBezTo>
                  <a:cubicBezTo>
                    <a:pt x="11763" y="6520"/>
                    <a:pt x="11763" y="6554"/>
                    <a:pt x="11730" y="6554"/>
                  </a:cubicBezTo>
                  <a:lnTo>
                    <a:pt x="10923" y="6554"/>
                  </a:lnTo>
                  <a:cubicBezTo>
                    <a:pt x="10889" y="6554"/>
                    <a:pt x="10889" y="6520"/>
                    <a:pt x="10856" y="6520"/>
                  </a:cubicBezTo>
                  <a:cubicBezTo>
                    <a:pt x="10755" y="6520"/>
                    <a:pt x="10620" y="6487"/>
                    <a:pt x="10486" y="6453"/>
                  </a:cubicBezTo>
                  <a:lnTo>
                    <a:pt x="10419" y="6453"/>
                  </a:lnTo>
                  <a:cubicBezTo>
                    <a:pt x="10318" y="6420"/>
                    <a:pt x="10217" y="6386"/>
                    <a:pt x="10116" y="6352"/>
                  </a:cubicBezTo>
                  <a:lnTo>
                    <a:pt x="10049" y="6352"/>
                  </a:lnTo>
                  <a:cubicBezTo>
                    <a:pt x="9948" y="6285"/>
                    <a:pt x="9814" y="6252"/>
                    <a:pt x="9713" y="6184"/>
                  </a:cubicBezTo>
                  <a:lnTo>
                    <a:pt x="672" y="941"/>
                  </a:lnTo>
                  <a:cubicBezTo>
                    <a:pt x="336" y="773"/>
                    <a:pt x="101" y="505"/>
                    <a:pt x="34" y="269"/>
                  </a:cubicBezTo>
                  <a:cubicBezTo>
                    <a:pt x="0" y="168"/>
                    <a:pt x="0" y="101"/>
                    <a:pt x="0" y="0"/>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54" name="Google Shape;2749;p49"/>
            <p:cNvSpPr/>
            <p:nvPr/>
          </p:nvSpPr>
          <p:spPr>
            <a:xfrm>
              <a:off x="-18931725" y="13614150"/>
              <a:ext cx="575575" cy="326450"/>
            </a:xfrm>
            <a:custGeom>
              <a:avLst/>
              <a:gdLst/>
              <a:ahLst/>
              <a:cxnLst/>
              <a:rect l="l" t="t" r="r" b="b"/>
              <a:pathLst>
                <a:path w="23023" h="13058" extrusionOk="0">
                  <a:moveTo>
                    <a:pt x="11478" y="1"/>
                  </a:moveTo>
                  <a:cubicBezTo>
                    <a:pt x="10898" y="1"/>
                    <a:pt x="10319" y="127"/>
                    <a:pt x="9882" y="379"/>
                  </a:cubicBezTo>
                  <a:lnTo>
                    <a:pt x="875" y="5588"/>
                  </a:lnTo>
                  <a:cubicBezTo>
                    <a:pt x="1" y="6126"/>
                    <a:pt x="1" y="6932"/>
                    <a:pt x="908" y="7470"/>
                  </a:cubicBezTo>
                  <a:lnTo>
                    <a:pt x="9949" y="12679"/>
                  </a:lnTo>
                  <a:cubicBezTo>
                    <a:pt x="10386" y="12931"/>
                    <a:pt x="10966" y="13057"/>
                    <a:pt x="11545" y="13057"/>
                  </a:cubicBezTo>
                  <a:cubicBezTo>
                    <a:pt x="12125" y="13057"/>
                    <a:pt x="12705" y="12931"/>
                    <a:pt x="13142" y="12679"/>
                  </a:cubicBezTo>
                  <a:lnTo>
                    <a:pt x="22149" y="7470"/>
                  </a:lnTo>
                  <a:cubicBezTo>
                    <a:pt x="23023" y="6932"/>
                    <a:pt x="23023" y="6126"/>
                    <a:pt x="22115" y="5588"/>
                  </a:cubicBezTo>
                  <a:lnTo>
                    <a:pt x="13075" y="379"/>
                  </a:lnTo>
                  <a:cubicBezTo>
                    <a:pt x="12638" y="127"/>
                    <a:pt x="12058" y="1"/>
                    <a:pt x="11478"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55" name="Google Shape;2750;p49"/>
            <p:cNvSpPr/>
            <p:nvPr/>
          </p:nvSpPr>
          <p:spPr>
            <a:xfrm>
              <a:off x="-18273825" y="13964725"/>
              <a:ext cx="242000" cy="200850"/>
            </a:xfrm>
            <a:custGeom>
              <a:avLst/>
              <a:gdLst/>
              <a:ahLst/>
              <a:cxnLst/>
              <a:rect l="l" t="t" r="r" b="b"/>
              <a:pathLst>
                <a:path w="9680" h="8034" extrusionOk="0">
                  <a:moveTo>
                    <a:pt x="9680" y="1"/>
                  </a:moveTo>
                  <a:cubicBezTo>
                    <a:pt x="9680" y="68"/>
                    <a:pt x="9646" y="169"/>
                    <a:pt x="9613" y="236"/>
                  </a:cubicBezTo>
                  <a:cubicBezTo>
                    <a:pt x="9613" y="236"/>
                    <a:pt x="9613" y="236"/>
                    <a:pt x="9613" y="270"/>
                  </a:cubicBezTo>
                  <a:cubicBezTo>
                    <a:pt x="9579" y="337"/>
                    <a:pt x="9545" y="404"/>
                    <a:pt x="9512" y="471"/>
                  </a:cubicBezTo>
                  <a:lnTo>
                    <a:pt x="9478" y="505"/>
                  </a:lnTo>
                  <a:cubicBezTo>
                    <a:pt x="9444" y="572"/>
                    <a:pt x="9377" y="639"/>
                    <a:pt x="9310" y="707"/>
                  </a:cubicBezTo>
                  <a:cubicBezTo>
                    <a:pt x="9276" y="740"/>
                    <a:pt x="9209" y="774"/>
                    <a:pt x="9142" y="807"/>
                  </a:cubicBezTo>
                  <a:cubicBezTo>
                    <a:pt x="9108" y="841"/>
                    <a:pt x="9041" y="875"/>
                    <a:pt x="9008" y="908"/>
                  </a:cubicBezTo>
                  <a:lnTo>
                    <a:pt x="0" y="6151"/>
                  </a:lnTo>
                  <a:lnTo>
                    <a:pt x="0" y="8033"/>
                  </a:lnTo>
                  <a:lnTo>
                    <a:pt x="9008" y="2824"/>
                  </a:lnTo>
                  <a:cubicBezTo>
                    <a:pt x="9008" y="2824"/>
                    <a:pt x="9008" y="2790"/>
                    <a:pt x="9041" y="2790"/>
                  </a:cubicBezTo>
                  <a:cubicBezTo>
                    <a:pt x="9075" y="2757"/>
                    <a:pt x="9108" y="2723"/>
                    <a:pt x="9142" y="2723"/>
                  </a:cubicBezTo>
                  <a:cubicBezTo>
                    <a:pt x="9209" y="2689"/>
                    <a:pt x="9243" y="2622"/>
                    <a:pt x="9310" y="2589"/>
                  </a:cubicBezTo>
                  <a:cubicBezTo>
                    <a:pt x="9377" y="2521"/>
                    <a:pt x="9411" y="2488"/>
                    <a:pt x="9444" y="2421"/>
                  </a:cubicBezTo>
                  <a:cubicBezTo>
                    <a:pt x="9478" y="2421"/>
                    <a:pt x="9478" y="2421"/>
                    <a:pt x="9478" y="2387"/>
                  </a:cubicBezTo>
                  <a:lnTo>
                    <a:pt x="9512" y="2353"/>
                  </a:lnTo>
                  <a:cubicBezTo>
                    <a:pt x="9512" y="2353"/>
                    <a:pt x="9545" y="2320"/>
                    <a:pt x="9545" y="2286"/>
                  </a:cubicBezTo>
                  <a:cubicBezTo>
                    <a:pt x="9579" y="2253"/>
                    <a:pt x="9579" y="2219"/>
                    <a:pt x="9613" y="2152"/>
                  </a:cubicBezTo>
                  <a:cubicBezTo>
                    <a:pt x="9613" y="2152"/>
                    <a:pt x="9613" y="2118"/>
                    <a:pt x="9613" y="2118"/>
                  </a:cubicBezTo>
                  <a:cubicBezTo>
                    <a:pt x="9646" y="2084"/>
                    <a:pt x="9646" y="2051"/>
                    <a:pt x="9646" y="2051"/>
                  </a:cubicBezTo>
                  <a:cubicBezTo>
                    <a:pt x="9646" y="1984"/>
                    <a:pt x="9646" y="1950"/>
                    <a:pt x="9680" y="1916"/>
                  </a:cubicBezTo>
                  <a:lnTo>
                    <a:pt x="9680" y="1883"/>
                  </a:lnTo>
                  <a:lnTo>
                    <a:pt x="9680" y="1"/>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56" name="Google Shape;2751;p49"/>
            <p:cNvSpPr/>
            <p:nvPr/>
          </p:nvSpPr>
          <p:spPr>
            <a:xfrm>
              <a:off x="-18596475" y="13963900"/>
              <a:ext cx="322675" cy="210900"/>
            </a:xfrm>
            <a:custGeom>
              <a:avLst/>
              <a:gdLst/>
              <a:ahLst/>
              <a:cxnLst/>
              <a:rect l="l" t="t" r="r" b="b"/>
              <a:pathLst>
                <a:path w="12907" h="8436" extrusionOk="0">
                  <a:moveTo>
                    <a:pt x="1" y="0"/>
                  </a:moveTo>
                  <a:lnTo>
                    <a:pt x="1" y="1882"/>
                  </a:lnTo>
                  <a:cubicBezTo>
                    <a:pt x="1" y="2252"/>
                    <a:pt x="202" y="2588"/>
                    <a:pt x="673" y="2823"/>
                  </a:cubicBezTo>
                  <a:lnTo>
                    <a:pt x="9714" y="8066"/>
                  </a:lnTo>
                  <a:cubicBezTo>
                    <a:pt x="9814" y="8100"/>
                    <a:pt x="9915" y="8167"/>
                    <a:pt x="10050" y="8201"/>
                  </a:cubicBezTo>
                  <a:cubicBezTo>
                    <a:pt x="10050" y="8234"/>
                    <a:pt x="10050" y="8234"/>
                    <a:pt x="10050" y="8234"/>
                  </a:cubicBezTo>
                  <a:lnTo>
                    <a:pt x="10117" y="8234"/>
                  </a:lnTo>
                  <a:cubicBezTo>
                    <a:pt x="10184" y="8268"/>
                    <a:pt x="10251" y="8301"/>
                    <a:pt x="10319" y="8301"/>
                  </a:cubicBezTo>
                  <a:cubicBezTo>
                    <a:pt x="10352" y="8301"/>
                    <a:pt x="10386" y="8335"/>
                    <a:pt x="10419" y="8335"/>
                  </a:cubicBezTo>
                  <a:lnTo>
                    <a:pt x="10487" y="8335"/>
                  </a:lnTo>
                  <a:cubicBezTo>
                    <a:pt x="10520" y="8369"/>
                    <a:pt x="10520" y="8369"/>
                    <a:pt x="10554" y="8369"/>
                  </a:cubicBezTo>
                  <a:cubicBezTo>
                    <a:pt x="10621" y="8369"/>
                    <a:pt x="10722" y="8402"/>
                    <a:pt x="10789" y="8402"/>
                  </a:cubicBezTo>
                  <a:lnTo>
                    <a:pt x="10924" y="8402"/>
                  </a:lnTo>
                  <a:cubicBezTo>
                    <a:pt x="10957" y="8402"/>
                    <a:pt x="10991" y="8436"/>
                    <a:pt x="10991" y="8436"/>
                  </a:cubicBezTo>
                  <a:lnTo>
                    <a:pt x="11461" y="8436"/>
                  </a:lnTo>
                  <a:cubicBezTo>
                    <a:pt x="11528" y="8436"/>
                    <a:pt x="11629" y="8436"/>
                    <a:pt x="11697" y="8402"/>
                  </a:cubicBezTo>
                  <a:lnTo>
                    <a:pt x="11797" y="8402"/>
                  </a:lnTo>
                  <a:cubicBezTo>
                    <a:pt x="11865" y="8402"/>
                    <a:pt x="11932" y="8402"/>
                    <a:pt x="11999" y="8369"/>
                  </a:cubicBezTo>
                  <a:lnTo>
                    <a:pt x="12066" y="8369"/>
                  </a:lnTo>
                  <a:cubicBezTo>
                    <a:pt x="12133" y="8335"/>
                    <a:pt x="12234" y="8335"/>
                    <a:pt x="12301" y="8301"/>
                  </a:cubicBezTo>
                  <a:cubicBezTo>
                    <a:pt x="12335" y="8301"/>
                    <a:pt x="12369" y="8268"/>
                    <a:pt x="12436" y="8268"/>
                  </a:cubicBezTo>
                  <a:cubicBezTo>
                    <a:pt x="12436" y="8268"/>
                    <a:pt x="12470" y="8268"/>
                    <a:pt x="12470" y="8234"/>
                  </a:cubicBezTo>
                  <a:cubicBezTo>
                    <a:pt x="12638" y="8201"/>
                    <a:pt x="12772" y="8133"/>
                    <a:pt x="12906" y="8066"/>
                  </a:cubicBezTo>
                  <a:lnTo>
                    <a:pt x="12906" y="6150"/>
                  </a:lnTo>
                  <a:cubicBezTo>
                    <a:pt x="12772" y="6251"/>
                    <a:pt x="12638" y="6319"/>
                    <a:pt x="12470" y="6386"/>
                  </a:cubicBezTo>
                  <a:cubicBezTo>
                    <a:pt x="12436" y="6386"/>
                    <a:pt x="12369" y="6419"/>
                    <a:pt x="12301" y="6419"/>
                  </a:cubicBezTo>
                  <a:cubicBezTo>
                    <a:pt x="12234" y="6453"/>
                    <a:pt x="12167" y="6453"/>
                    <a:pt x="12066" y="6487"/>
                  </a:cubicBezTo>
                  <a:cubicBezTo>
                    <a:pt x="11999" y="6487"/>
                    <a:pt x="11898" y="6520"/>
                    <a:pt x="11797" y="6520"/>
                  </a:cubicBezTo>
                  <a:lnTo>
                    <a:pt x="11730" y="6520"/>
                  </a:lnTo>
                  <a:cubicBezTo>
                    <a:pt x="11629" y="6554"/>
                    <a:pt x="11495" y="6554"/>
                    <a:pt x="11360" y="6554"/>
                  </a:cubicBezTo>
                  <a:lnTo>
                    <a:pt x="11293" y="6554"/>
                  </a:lnTo>
                  <a:cubicBezTo>
                    <a:pt x="11159" y="6554"/>
                    <a:pt x="11058" y="6554"/>
                    <a:pt x="10924" y="6520"/>
                  </a:cubicBezTo>
                  <a:lnTo>
                    <a:pt x="10856" y="6520"/>
                  </a:lnTo>
                  <a:cubicBezTo>
                    <a:pt x="10755" y="6520"/>
                    <a:pt x="10621" y="6487"/>
                    <a:pt x="10487" y="6453"/>
                  </a:cubicBezTo>
                  <a:lnTo>
                    <a:pt x="10419" y="6453"/>
                  </a:lnTo>
                  <a:cubicBezTo>
                    <a:pt x="10319" y="6419"/>
                    <a:pt x="10218" y="6386"/>
                    <a:pt x="10117" y="6352"/>
                  </a:cubicBezTo>
                  <a:cubicBezTo>
                    <a:pt x="10117" y="6352"/>
                    <a:pt x="10083" y="6319"/>
                    <a:pt x="10050" y="6319"/>
                  </a:cubicBezTo>
                  <a:cubicBezTo>
                    <a:pt x="9949" y="6285"/>
                    <a:pt x="9814" y="6218"/>
                    <a:pt x="9714" y="6150"/>
                  </a:cubicBezTo>
                  <a:lnTo>
                    <a:pt x="673" y="941"/>
                  </a:lnTo>
                  <a:cubicBezTo>
                    <a:pt x="337" y="740"/>
                    <a:pt x="135" y="504"/>
                    <a:pt x="34" y="269"/>
                  </a:cubicBezTo>
                  <a:cubicBezTo>
                    <a:pt x="1" y="168"/>
                    <a:pt x="1" y="101"/>
                    <a:pt x="1" y="0"/>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57" name="Google Shape;2752;p49"/>
            <p:cNvSpPr/>
            <p:nvPr/>
          </p:nvSpPr>
          <p:spPr>
            <a:xfrm>
              <a:off x="-18602350" y="13800900"/>
              <a:ext cx="575575" cy="327075"/>
            </a:xfrm>
            <a:custGeom>
              <a:avLst/>
              <a:gdLst/>
              <a:ahLst/>
              <a:cxnLst/>
              <a:rect l="l" t="t" r="r" b="b"/>
              <a:pathLst>
                <a:path w="23023" h="13083" extrusionOk="0">
                  <a:moveTo>
                    <a:pt x="11478" y="0"/>
                  </a:moveTo>
                  <a:cubicBezTo>
                    <a:pt x="10898" y="0"/>
                    <a:pt x="10318" y="134"/>
                    <a:pt x="9881" y="403"/>
                  </a:cubicBezTo>
                  <a:lnTo>
                    <a:pt x="874" y="5613"/>
                  </a:lnTo>
                  <a:cubicBezTo>
                    <a:pt x="0" y="6117"/>
                    <a:pt x="0" y="6957"/>
                    <a:pt x="908" y="7461"/>
                  </a:cubicBezTo>
                  <a:lnTo>
                    <a:pt x="9949" y="12704"/>
                  </a:lnTo>
                  <a:cubicBezTo>
                    <a:pt x="10402" y="12956"/>
                    <a:pt x="10982" y="13082"/>
                    <a:pt x="11562" y="13082"/>
                  </a:cubicBezTo>
                  <a:cubicBezTo>
                    <a:pt x="12142" y="13082"/>
                    <a:pt x="12721" y="12956"/>
                    <a:pt x="13175" y="12704"/>
                  </a:cubicBezTo>
                  <a:lnTo>
                    <a:pt x="22149" y="7461"/>
                  </a:lnTo>
                  <a:cubicBezTo>
                    <a:pt x="23022" y="6957"/>
                    <a:pt x="23022" y="6117"/>
                    <a:pt x="22149" y="5613"/>
                  </a:cubicBezTo>
                  <a:lnTo>
                    <a:pt x="13074" y="403"/>
                  </a:lnTo>
                  <a:cubicBezTo>
                    <a:pt x="12637" y="134"/>
                    <a:pt x="12058" y="0"/>
                    <a:pt x="11478"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58" name="Google Shape;2753;p49"/>
            <p:cNvSpPr/>
            <p:nvPr/>
          </p:nvSpPr>
          <p:spPr>
            <a:xfrm>
              <a:off x="-21615375" y="12420400"/>
              <a:ext cx="241175" cy="200850"/>
            </a:xfrm>
            <a:custGeom>
              <a:avLst/>
              <a:gdLst/>
              <a:ahLst/>
              <a:cxnLst/>
              <a:rect l="l" t="t" r="r" b="b"/>
              <a:pathLst>
                <a:path w="9647" h="8034" extrusionOk="0">
                  <a:moveTo>
                    <a:pt x="9647" y="1"/>
                  </a:moveTo>
                  <a:cubicBezTo>
                    <a:pt x="9647" y="68"/>
                    <a:pt x="9647" y="135"/>
                    <a:pt x="9613" y="236"/>
                  </a:cubicBezTo>
                  <a:cubicBezTo>
                    <a:pt x="9579" y="337"/>
                    <a:pt x="9546" y="404"/>
                    <a:pt x="9512" y="472"/>
                  </a:cubicBezTo>
                  <a:lnTo>
                    <a:pt x="9479" y="505"/>
                  </a:lnTo>
                  <a:cubicBezTo>
                    <a:pt x="9411" y="572"/>
                    <a:pt x="9378" y="640"/>
                    <a:pt x="9277" y="707"/>
                  </a:cubicBezTo>
                  <a:cubicBezTo>
                    <a:pt x="9243" y="740"/>
                    <a:pt x="9176" y="774"/>
                    <a:pt x="9143" y="808"/>
                  </a:cubicBezTo>
                  <a:cubicBezTo>
                    <a:pt x="9075" y="841"/>
                    <a:pt x="9042" y="875"/>
                    <a:pt x="8974" y="908"/>
                  </a:cubicBezTo>
                  <a:lnTo>
                    <a:pt x="1" y="6151"/>
                  </a:lnTo>
                  <a:lnTo>
                    <a:pt x="1" y="8033"/>
                  </a:lnTo>
                  <a:lnTo>
                    <a:pt x="8974" y="2791"/>
                  </a:lnTo>
                  <a:lnTo>
                    <a:pt x="9008" y="2791"/>
                  </a:lnTo>
                  <a:cubicBezTo>
                    <a:pt x="9042" y="2757"/>
                    <a:pt x="9075" y="2723"/>
                    <a:pt x="9143" y="2690"/>
                  </a:cubicBezTo>
                  <a:cubicBezTo>
                    <a:pt x="9176" y="2656"/>
                    <a:pt x="9243" y="2622"/>
                    <a:pt x="9277" y="2589"/>
                  </a:cubicBezTo>
                  <a:lnTo>
                    <a:pt x="9311" y="2589"/>
                  </a:lnTo>
                  <a:cubicBezTo>
                    <a:pt x="9344" y="2522"/>
                    <a:pt x="9411" y="2488"/>
                    <a:pt x="9445" y="2421"/>
                  </a:cubicBezTo>
                  <a:cubicBezTo>
                    <a:pt x="9445" y="2421"/>
                    <a:pt x="9479" y="2387"/>
                    <a:pt x="9479" y="2387"/>
                  </a:cubicBezTo>
                  <a:lnTo>
                    <a:pt x="9512" y="2354"/>
                  </a:lnTo>
                  <a:cubicBezTo>
                    <a:pt x="9512" y="2320"/>
                    <a:pt x="9546" y="2320"/>
                    <a:pt x="9546" y="2286"/>
                  </a:cubicBezTo>
                  <a:cubicBezTo>
                    <a:pt x="9579" y="2253"/>
                    <a:pt x="9579" y="2219"/>
                    <a:pt x="9613" y="2152"/>
                  </a:cubicBezTo>
                  <a:cubicBezTo>
                    <a:pt x="9613" y="2118"/>
                    <a:pt x="9613" y="2118"/>
                    <a:pt x="9613" y="2118"/>
                  </a:cubicBezTo>
                  <a:cubicBezTo>
                    <a:pt x="9613" y="2085"/>
                    <a:pt x="9613" y="2051"/>
                    <a:pt x="9647" y="2018"/>
                  </a:cubicBezTo>
                  <a:cubicBezTo>
                    <a:pt x="9647" y="1984"/>
                    <a:pt x="9647" y="1950"/>
                    <a:pt x="9647" y="1917"/>
                  </a:cubicBezTo>
                  <a:lnTo>
                    <a:pt x="9647" y="1883"/>
                  </a:lnTo>
                  <a:lnTo>
                    <a:pt x="9647" y="1"/>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59" name="Google Shape;2754;p49"/>
            <p:cNvSpPr/>
            <p:nvPr/>
          </p:nvSpPr>
          <p:spPr>
            <a:xfrm>
              <a:off x="-21938850" y="12419575"/>
              <a:ext cx="323500" cy="210925"/>
            </a:xfrm>
            <a:custGeom>
              <a:avLst/>
              <a:gdLst/>
              <a:ahLst/>
              <a:cxnLst/>
              <a:rect l="l" t="t" r="r" b="b"/>
              <a:pathLst>
                <a:path w="12940" h="8437" extrusionOk="0">
                  <a:moveTo>
                    <a:pt x="34" y="0"/>
                  </a:moveTo>
                  <a:lnTo>
                    <a:pt x="1" y="1882"/>
                  </a:lnTo>
                  <a:cubicBezTo>
                    <a:pt x="1" y="2219"/>
                    <a:pt x="236" y="2588"/>
                    <a:pt x="673" y="2824"/>
                  </a:cubicBezTo>
                  <a:lnTo>
                    <a:pt x="9747" y="8066"/>
                  </a:lnTo>
                  <a:cubicBezTo>
                    <a:pt x="9848" y="8100"/>
                    <a:pt x="9949" y="8167"/>
                    <a:pt x="10050" y="8201"/>
                  </a:cubicBezTo>
                  <a:lnTo>
                    <a:pt x="10083" y="8201"/>
                  </a:lnTo>
                  <a:cubicBezTo>
                    <a:pt x="10083" y="8235"/>
                    <a:pt x="10117" y="8235"/>
                    <a:pt x="10150" y="8235"/>
                  </a:cubicBezTo>
                  <a:cubicBezTo>
                    <a:pt x="10218" y="8268"/>
                    <a:pt x="10285" y="8268"/>
                    <a:pt x="10352" y="8302"/>
                  </a:cubicBezTo>
                  <a:cubicBezTo>
                    <a:pt x="10386" y="8302"/>
                    <a:pt x="10419" y="8302"/>
                    <a:pt x="10453" y="8335"/>
                  </a:cubicBezTo>
                  <a:lnTo>
                    <a:pt x="10520" y="8335"/>
                  </a:lnTo>
                  <a:cubicBezTo>
                    <a:pt x="10554" y="8335"/>
                    <a:pt x="10554" y="8369"/>
                    <a:pt x="10587" y="8369"/>
                  </a:cubicBezTo>
                  <a:cubicBezTo>
                    <a:pt x="10655" y="8369"/>
                    <a:pt x="10722" y="8403"/>
                    <a:pt x="10789" y="8403"/>
                  </a:cubicBezTo>
                  <a:lnTo>
                    <a:pt x="10923" y="8403"/>
                  </a:lnTo>
                  <a:cubicBezTo>
                    <a:pt x="10957" y="8403"/>
                    <a:pt x="10991" y="8436"/>
                    <a:pt x="11024" y="8436"/>
                  </a:cubicBezTo>
                  <a:lnTo>
                    <a:pt x="11461" y="8436"/>
                  </a:lnTo>
                  <a:cubicBezTo>
                    <a:pt x="11562" y="8436"/>
                    <a:pt x="11629" y="8436"/>
                    <a:pt x="11730" y="8403"/>
                  </a:cubicBezTo>
                  <a:lnTo>
                    <a:pt x="11831" y="8403"/>
                  </a:lnTo>
                  <a:cubicBezTo>
                    <a:pt x="11898" y="8403"/>
                    <a:pt x="11965" y="8403"/>
                    <a:pt x="11999" y="8369"/>
                  </a:cubicBezTo>
                  <a:lnTo>
                    <a:pt x="12100" y="8369"/>
                  </a:lnTo>
                  <a:cubicBezTo>
                    <a:pt x="12167" y="8335"/>
                    <a:pt x="12234" y="8335"/>
                    <a:pt x="12335" y="8302"/>
                  </a:cubicBezTo>
                  <a:cubicBezTo>
                    <a:pt x="12369" y="8302"/>
                    <a:pt x="12402" y="8268"/>
                    <a:pt x="12436" y="8268"/>
                  </a:cubicBezTo>
                  <a:cubicBezTo>
                    <a:pt x="12469" y="8268"/>
                    <a:pt x="12469" y="8268"/>
                    <a:pt x="12503" y="8235"/>
                  </a:cubicBezTo>
                  <a:cubicBezTo>
                    <a:pt x="12637" y="8201"/>
                    <a:pt x="12806" y="8134"/>
                    <a:pt x="12940" y="8066"/>
                  </a:cubicBezTo>
                  <a:lnTo>
                    <a:pt x="12940" y="6151"/>
                  </a:lnTo>
                  <a:cubicBezTo>
                    <a:pt x="12806" y="6252"/>
                    <a:pt x="12671" y="6319"/>
                    <a:pt x="12503" y="6352"/>
                  </a:cubicBezTo>
                  <a:cubicBezTo>
                    <a:pt x="12436" y="6386"/>
                    <a:pt x="12402" y="6420"/>
                    <a:pt x="12335" y="6420"/>
                  </a:cubicBezTo>
                  <a:cubicBezTo>
                    <a:pt x="12268" y="6420"/>
                    <a:pt x="12201" y="6453"/>
                    <a:pt x="12100" y="6487"/>
                  </a:cubicBezTo>
                  <a:cubicBezTo>
                    <a:pt x="11999" y="6487"/>
                    <a:pt x="11932" y="6520"/>
                    <a:pt x="11831" y="6520"/>
                  </a:cubicBezTo>
                  <a:lnTo>
                    <a:pt x="11764" y="6520"/>
                  </a:lnTo>
                  <a:cubicBezTo>
                    <a:pt x="11629" y="6520"/>
                    <a:pt x="11528" y="6554"/>
                    <a:pt x="11394" y="6554"/>
                  </a:cubicBezTo>
                  <a:lnTo>
                    <a:pt x="11327" y="6554"/>
                  </a:lnTo>
                  <a:cubicBezTo>
                    <a:pt x="11192" y="6554"/>
                    <a:pt x="11058" y="6520"/>
                    <a:pt x="10957" y="6520"/>
                  </a:cubicBezTo>
                  <a:lnTo>
                    <a:pt x="10890" y="6520"/>
                  </a:lnTo>
                  <a:cubicBezTo>
                    <a:pt x="10755" y="6520"/>
                    <a:pt x="10655" y="6487"/>
                    <a:pt x="10520" y="6453"/>
                  </a:cubicBezTo>
                  <a:lnTo>
                    <a:pt x="10453" y="6453"/>
                  </a:lnTo>
                  <a:cubicBezTo>
                    <a:pt x="10352" y="6420"/>
                    <a:pt x="10251" y="6386"/>
                    <a:pt x="10150" y="6352"/>
                  </a:cubicBezTo>
                  <a:cubicBezTo>
                    <a:pt x="10117" y="6319"/>
                    <a:pt x="10117" y="6319"/>
                    <a:pt x="10083" y="6319"/>
                  </a:cubicBezTo>
                  <a:cubicBezTo>
                    <a:pt x="9982" y="6285"/>
                    <a:pt x="9848" y="6218"/>
                    <a:pt x="9747" y="6151"/>
                  </a:cubicBezTo>
                  <a:lnTo>
                    <a:pt x="706" y="941"/>
                  </a:lnTo>
                  <a:cubicBezTo>
                    <a:pt x="370" y="740"/>
                    <a:pt x="135" y="505"/>
                    <a:pt x="68" y="269"/>
                  </a:cubicBezTo>
                  <a:cubicBezTo>
                    <a:pt x="34" y="168"/>
                    <a:pt x="34" y="101"/>
                    <a:pt x="34" y="0"/>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60" name="Google Shape;2755;p49"/>
            <p:cNvSpPr/>
            <p:nvPr/>
          </p:nvSpPr>
          <p:spPr>
            <a:xfrm>
              <a:off x="-21943900" y="12256350"/>
              <a:ext cx="575575" cy="327200"/>
            </a:xfrm>
            <a:custGeom>
              <a:avLst/>
              <a:gdLst/>
              <a:ahLst/>
              <a:cxnLst/>
              <a:rect l="l" t="t" r="r" b="b"/>
              <a:pathLst>
                <a:path w="23023" h="13088" extrusionOk="0">
                  <a:moveTo>
                    <a:pt x="11462" y="1"/>
                  </a:moveTo>
                  <a:cubicBezTo>
                    <a:pt x="10882" y="1"/>
                    <a:pt x="10302" y="127"/>
                    <a:pt x="9848" y="379"/>
                  </a:cubicBezTo>
                  <a:lnTo>
                    <a:pt x="875" y="5622"/>
                  </a:lnTo>
                  <a:cubicBezTo>
                    <a:pt x="1" y="6126"/>
                    <a:pt x="1" y="6966"/>
                    <a:pt x="875" y="7470"/>
                  </a:cubicBezTo>
                  <a:lnTo>
                    <a:pt x="9949" y="12680"/>
                  </a:lnTo>
                  <a:cubicBezTo>
                    <a:pt x="10393" y="12953"/>
                    <a:pt x="10985" y="13087"/>
                    <a:pt x="11574" y="13087"/>
                  </a:cubicBezTo>
                  <a:cubicBezTo>
                    <a:pt x="12144" y="13087"/>
                    <a:pt x="12712" y="12961"/>
                    <a:pt x="13142" y="12713"/>
                  </a:cubicBezTo>
                  <a:lnTo>
                    <a:pt x="22149" y="7470"/>
                  </a:lnTo>
                  <a:cubicBezTo>
                    <a:pt x="23023" y="6966"/>
                    <a:pt x="23023" y="6126"/>
                    <a:pt x="22115" y="5622"/>
                  </a:cubicBezTo>
                  <a:lnTo>
                    <a:pt x="13075" y="379"/>
                  </a:lnTo>
                  <a:cubicBezTo>
                    <a:pt x="12621" y="127"/>
                    <a:pt x="12041" y="1"/>
                    <a:pt x="11462"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61" name="Google Shape;2756;p49"/>
            <p:cNvSpPr/>
            <p:nvPr/>
          </p:nvSpPr>
          <p:spPr>
            <a:xfrm>
              <a:off x="-21286000" y="12622075"/>
              <a:ext cx="241175" cy="200825"/>
            </a:xfrm>
            <a:custGeom>
              <a:avLst/>
              <a:gdLst/>
              <a:ahLst/>
              <a:cxnLst/>
              <a:rect l="l" t="t" r="r" b="b"/>
              <a:pathLst>
                <a:path w="9647" h="8033" extrusionOk="0">
                  <a:moveTo>
                    <a:pt x="9646" y="0"/>
                  </a:moveTo>
                  <a:cubicBezTo>
                    <a:pt x="9646" y="67"/>
                    <a:pt x="9646" y="135"/>
                    <a:pt x="9613" y="235"/>
                  </a:cubicBezTo>
                  <a:cubicBezTo>
                    <a:pt x="9579" y="336"/>
                    <a:pt x="9545" y="403"/>
                    <a:pt x="9512" y="471"/>
                  </a:cubicBezTo>
                  <a:lnTo>
                    <a:pt x="9478" y="504"/>
                  </a:lnTo>
                  <a:cubicBezTo>
                    <a:pt x="9445" y="571"/>
                    <a:pt x="9377" y="639"/>
                    <a:pt x="9310" y="706"/>
                  </a:cubicBezTo>
                  <a:cubicBezTo>
                    <a:pt x="9243" y="739"/>
                    <a:pt x="9209" y="773"/>
                    <a:pt x="9142" y="807"/>
                  </a:cubicBezTo>
                  <a:cubicBezTo>
                    <a:pt x="9108" y="840"/>
                    <a:pt x="9041" y="874"/>
                    <a:pt x="9008" y="908"/>
                  </a:cubicBezTo>
                  <a:lnTo>
                    <a:pt x="1" y="6150"/>
                  </a:lnTo>
                  <a:lnTo>
                    <a:pt x="1" y="8033"/>
                  </a:lnTo>
                  <a:lnTo>
                    <a:pt x="9008" y="2790"/>
                  </a:lnTo>
                  <a:lnTo>
                    <a:pt x="9041" y="2790"/>
                  </a:lnTo>
                  <a:cubicBezTo>
                    <a:pt x="9075" y="2756"/>
                    <a:pt x="9108" y="2722"/>
                    <a:pt x="9142" y="2689"/>
                  </a:cubicBezTo>
                  <a:cubicBezTo>
                    <a:pt x="9209" y="2655"/>
                    <a:pt x="9243" y="2622"/>
                    <a:pt x="9310" y="2588"/>
                  </a:cubicBezTo>
                  <a:cubicBezTo>
                    <a:pt x="9377" y="2521"/>
                    <a:pt x="9411" y="2487"/>
                    <a:pt x="9445" y="2420"/>
                  </a:cubicBezTo>
                  <a:cubicBezTo>
                    <a:pt x="9478" y="2420"/>
                    <a:pt x="9478" y="2386"/>
                    <a:pt x="9478" y="2386"/>
                  </a:cubicBezTo>
                  <a:lnTo>
                    <a:pt x="9512" y="2353"/>
                  </a:lnTo>
                  <a:cubicBezTo>
                    <a:pt x="9512" y="2319"/>
                    <a:pt x="9545" y="2319"/>
                    <a:pt x="9545" y="2285"/>
                  </a:cubicBezTo>
                  <a:cubicBezTo>
                    <a:pt x="9579" y="2252"/>
                    <a:pt x="9579" y="2218"/>
                    <a:pt x="9613" y="2151"/>
                  </a:cubicBezTo>
                  <a:cubicBezTo>
                    <a:pt x="9613" y="2117"/>
                    <a:pt x="9613" y="2117"/>
                    <a:pt x="9613" y="2117"/>
                  </a:cubicBezTo>
                  <a:cubicBezTo>
                    <a:pt x="9613" y="2084"/>
                    <a:pt x="9646" y="2050"/>
                    <a:pt x="9646" y="2017"/>
                  </a:cubicBezTo>
                  <a:cubicBezTo>
                    <a:pt x="9646" y="1983"/>
                    <a:pt x="9646" y="1949"/>
                    <a:pt x="9646" y="1882"/>
                  </a:cubicBezTo>
                  <a:lnTo>
                    <a:pt x="9646" y="0"/>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62" name="Google Shape;2757;p49"/>
            <p:cNvSpPr/>
            <p:nvPr/>
          </p:nvSpPr>
          <p:spPr>
            <a:xfrm>
              <a:off x="-21608650" y="12621225"/>
              <a:ext cx="322675" cy="210925"/>
            </a:xfrm>
            <a:custGeom>
              <a:avLst/>
              <a:gdLst/>
              <a:ahLst/>
              <a:cxnLst/>
              <a:rect l="l" t="t" r="r" b="b"/>
              <a:pathLst>
                <a:path w="12907" h="8437" extrusionOk="0">
                  <a:moveTo>
                    <a:pt x="1" y="0"/>
                  </a:moveTo>
                  <a:lnTo>
                    <a:pt x="1" y="1883"/>
                  </a:lnTo>
                  <a:cubicBezTo>
                    <a:pt x="1" y="2219"/>
                    <a:pt x="202" y="2588"/>
                    <a:pt x="673" y="2824"/>
                  </a:cubicBezTo>
                  <a:lnTo>
                    <a:pt x="9714" y="8067"/>
                  </a:lnTo>
                  <a:cubicBezTo>
                    <a:pt x="9815" y="8100"/>
                    <a:pt x="9915" y="8167"/>
                    <a:pt x="10050" y="8201"/>
                  </a:cubicBezTo>
                  <a:cubicBezTo>
                    <a:pt x="10083" y="8235"/>
                    <a:pt x="10083" y="8235"/>
                    <a:pt x="10117" y="8235"/>
                  </a:cubicBezTo>
                  <a:cubicBezTo>
                    <a:pt x="10184" y="8268"/>
                    <a:pt x="10251" y="8268"/>
                    <a:pt x="10319" y="8302"/>
                  </a:cubicBezTo>
                  <a:cubicBezTo>
                    <a:pt x="10352" y="8302"/>
                    <a:pt x="10386" y="8302"/>
                    <a:pt x="10420" y="8335"/>
                  </a:cubicBezTo>
                  <a:lnTo>
                    <a:pt x="10487" y="8335"/>
                  </a:lnTo>
                  <a:cubicBezTo>
                    <a:pt x="10520" y="8335"/>
                    <a:pt x="10520" y="8369"/>
                    <a:pt x="10554" y="8369"/>
                  </a:cubicBezTo>
                  <a:cubicBezTo>
                    <a:pt x="10621" y="8369"/>
                    <a:pt x="10722" y="8403"/>
                    <a:pt x="10789" y="8403"/>
                  </a:cubicBezTo>
                  <a:lnTo>
                    <a:pt x="10991" y="8403"/>
                  </a:lnTo>
                  <a:cubicBezTo>
                    <a:pt x="11058" y="8436"/>
                    <a:pt x="11159" y="8436"/>
                    <a:pt x="11226" y="8436"/>
                  </a:cubicBezTo>
                  <a:lnTo>
                    <a:pt x="11461" y="8436"/>
                  </a:lnTo>
                  <a:cubicBezTo>
                    <a:pt x="11529" y="8436"/>
                    <a:pt x="11629" y="8436"/>
                    <a:pt x="11697" y="8403"/>
                  </a:cubicBezTo>
                  <a:lnTo>
                    <a:pt x="11797" y="8403"/>
                  </a:lnTo>
                  <a:cubicBezTo>
                    <a:pt x="11865" y="8403"/>
                    <a:pt x="11932" y="8369"/>
                    <a:pt x="11999" y="8369"/>
                  </a:cubicBezTo>
                  <a:cubicBezTo>
                    <a:pt x="12033" y="8369"/>
                    <a:pt x="12033" y="8369"/>
                    <a:pt x="12066" y="8335"/>
                  </a:cubicBezTo>
                  <a:cubicBezTo>
                    <a:pt x="12134" y="8335"/>
                    <a:pt x="12234" y="8302"/>
                    <a:pt x="12302" y="8302"/>
                  </a:cubicBezTo>
                  <a:cubicBezTo>
                    <a:pt x="12335" y="8268"/>
                    <a:pt x="12369" y="8268"/>
                    <a:pt x="12402" y="8268"/>
                  </a:cubicBezTo>
                  <a:cubicBezTo>
                    <a:pt x="12436" y="8268"/>
                    <a:pt x="12436" y="8235"/>
                    <a:pt x="12470" y="8235"/>
                  </a:cubicBezTo>
                  <a:cubicBezTo>
                    <a:pt x="12638" y="8201"/>
                    <a:pt x="12772" y="8134"/>
                    <a:pt x="12907" y="8067"/>
                  </a:cubicBezTo>
                  <a:lnTo>
                    <a:pt x="12907" y="6151"/>
                  </a:lnTo>
                  <a:cubicBezTo>
                    <a:pt x="12772" y="6252"/>
                    <a:pt x="12638" y="6319"/>
                    <a:pt x="12470" y="6352"/>
                  </a:cubicBezTo>
                  <a:cubicBezTo>
                    <a:pt x="12436" y="6386"/>
                    <a:pt x="12369" y="6420"/>
                    <a:pt x="12302" y="6420"/>
                  </a:cubicBezTo>
                  <a:cubicBezTo>
                    <a:pt x="12234" y="6420"/>
                    <a:pt x="12167" y="6453"/>
                    <a:pt x="12066" y="6487"/>
                  </a:cubicBezTo>
                  <a:cubicBezTo>
                    <a:pt x="11999" y="6487"/>
                    <a:pt x="11898" y="6521"/>
                    <a:pt x="11797" y="6521"/>
                  </a:cubicBezTo>
                  <a:lnTo>
                    <a:pt x="11730" y="6521"/>
                  </a:lnTo>
                  <a:cubicBezTo>
                    <a:pt x="11596" y="6521"/>
                    <a:pt x="11495" y="6554"/>
                    <a:pt x="11361" y="6554"/>
                  </a:cubicBezTo>
                  <a:lnTo>
                    <a:pt x="11293" y="6554"/>
                  </a:lnTo>
                  <a:cubicBezTo>
                    <a:pt x="11159" y="6554"/>
                    <a:pt x="11058" y="6521"/>
                    <a:pt x="10924" y="6521"/>
                  </a:cubicBezTo>
                  <a:lnTo>
                    <a:pt x="10856" y="6521"/>
                  </a:lnTo>
                  <a:cubicBezTo>
                    <a:pt x="10756" y="6521"/>
                    <a:pt x="10621" y="6487"/>
                    <a:pt x="10487" y="6453"/>
                  </a:cubicBezTo>
                  <a:lnTo>
                    <a:pt x="10420" y="6453"/>
                  </a:lnTo>
                  <a:cubicBezTo>
                    <a:pt x="10319" y="6420"/>
                    <a:pt x="10218" y="6386"/>
                    <a:pt x="10117" y="6352"/>
                  </a:cubicBezTo>
                  <a:cubicBezTo>
                    <a:pt x="10117" y="6319"/>
                    <a:pt x="10083" y="6319"/>
                    <a:pt x="10050" y="6319"/>
                  </a:cubicBezTo>
                  <a:cubicBezTo>
                    <a:pt x="9949" y="6285"/>
                    <a:pt x="9815" y="6218"/>
                    <a:pt x="9714" y="6151"/>
                  </a:cubicBezTo>
                  <a:lnTo>
                    <a:pt x="673" y="942"/>
                  </a:lnTo>
                  <a:cubicBezTo>
                    <a:pt x="337" y="740"/>
                    <a:pt x="135" y="505"/>
                    <a:pt x="34" y="269"/>
                  </a:cubicBezTo>
                  <a:cubicBezTo>
                    <a:pt x="1" y="169"/>
                    <a:pt x="1" y="101"/>
                    <a:pt x="1" y="0"/>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63" name="Google Shape;2758;p49"/>
            <p:cNvSpPr/>
            <p:nvPr/>
          </p:nvSpPr>
          <p:spPr>
            <a:xfrm>
              <a:off x="-21614525" y="12458000"/>
              <a:ext cx="575575" cy="327200"/>
            </a:xfrm>
            <a:custGeom>
              <a:avLst/>
              <a:gdLst/>
              <a:ahLst/>
              <a:cxnLst/>
              <a:rect l="l" t="t" r="r" b="b"/>
              <a:pathLst>
                <a:path w="23023" h="13088" extrusionOk="0">
                  <a:moveTo>
                    <a:pt x="11478" y="1"/>
                  </a:moveTo>
                  <a:cubicBezTo>
                    <a:pt x="10898" y="1"/>
                    <a:pt x="10318" y="127"/>
                    <a:pt x="9882" y="379"/>
                  </a:cubicBezTo>
                  <a:lnTo>
                    <a:pt x="874" y="5622"/>
                  </a:lnTo>
                  <a:cubicBezTo>
                    <a:pt x="1" y="6126"/>
                    <a:pt x="1" y="6966"/>
                    <a:pt x="908" y="7471"/>
                  </a:cubicBezTo>
                  <a:lnTo>
                    <a:pt x="9949" y="12680"/>
                  </a:lnTo>
                  <a:cubicBezTo>
                    <a:pt x="10393" y="12953"/>
                    <a:pt x="10984" y="13087"/>
                    <a:pt x="11573" y="13087"/>
                  </a:cubicBezTo>
                  <a:cubicBezTo>
                    <a:pt x="12144" y="13087"/>
                    <a:pt x="12712" y="12961"/>
                    <a:pt x="13142" y="12713"/>
                  </a:cubicBezTo>
                  <a:lnTo>
                    <a:pt x="22149" y="7471"/>
                  </a:lnTo>
                  <a:cubicBezTo>
                    <a:pt x="23022" y="6966"/>
                    <a:pt x="23022" y="6126"/>
                    <a:pt x="22149" y="5622"/>
                  </a:cubicBezTo>
                  <a:lnTo>
                    <a:pt x="13074" y="379"/>
                  </a:lnTo>
                  <a:cubicBezTo>
                    <a:pt x="12637" y="127"/>
                    <a:pt x="12058" y="1"/>
                    <a:pt x="11478"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64" name="Google Shape;2759;p49"/>
            <p:cNvSpPr/>
            <p:nvPr/>
          </p:nvSpPr>
          <p:spPr>
            <a:xfrm>
              <a:off x="-20951600" y="12808600"/>
              <a:ext cx="242000" cy="200825"/>
            </a:xfrm>
            <a:custGeom>
              <a:avLst/>
              <a:gdLst/>
              <a:ahLst/>
              <a:cxnLst/>
              <a:rect l="l" t="t" r="r" b="b"/>
              <a:pathLst>
                <a:path w="9680" h="8033" extrusionOk="0">
                  <a:moveTo>
                    <a:pt x="9680" y="0"/>
                  </a:moveTo>
                  <a:cubicBezTo>
                    <a:pt x="9680" y="101"/>
                    <a:pt x="9646" y="168"/>
                    <a:pt x="9613" y="235"/>
                  </a:cubicBezTo>
                  <a:cubicBezTo>
                    <a:pt x="9613" y="269"/>
                    <a:pt x="9613" y="269"/>
                    <a:pt x="9613" y="269"/>
                  </a:cubicBezTo>
                  <a:cubicBezTo>
                    <a:pt x="9579" y="336"/>
                    <a:pt x="9546" y="403"/>
                    <a:pt x="9512" y="471"/>
                  </a:cubicBezTo>
                  <a:lnTo>
                    <a:pt x="9478" y="504"/>
                  </a:lnTo>
                  <a:cubicBezTo>
                    <a:pt x="9445" y="572"/>
                    <a:pt x="9378" y="639"/>
                    <a:pt x="9310" y="706"/>
                  </a:cubicBezTo>
                  <a:cubicBezTo>
                    <a:pt x="9243" y="740"/>
                    <a:pt x="9210" y="807"/>
                    <a:pt x="9142" y="840"/>
                  </a:cubicBezTo>
                  <a:cubicBezTo>
                    <a:pt x="9075" y="874"/>
                    <a:pt x="9041" y="908"/>
                    <a:pt x="9008" y="941"/>
                  </a:cubicBezTo>
                  <a:lnTo>
                    <a:pt x="1" y="6151"/>
                  </a:lnTo>
                  <a:lnTo>
                    <a:pt x="1" y="8033"/>
                  </a:lnTo>
                  <a:lnTo>
                    <a:pt x="9008" y="2823"/>
                  </a:lnTo>
                  <a:lnTo>
                    <a:pt x="9041" y="2823"/>
                  </a:lnTo>
                  <a:cubicBezTo>
                    <a:pt x="9075" y="2790"/>
                    <a:pt x="9109" y="2756"/>
                    <a:pt x="9142" y="2722"/>
                  </a:cubicBezTo>
                  <a:cubicBezTo>
                    <a:pt x="9210" y="2689"/>
                    <a:pt x="9243" y="2655"/>
                    <a:pt x="9310" y="2622"/>
                  </a:cubicBezTo>
                  <a:cubicBezTo>
                    <a:pt x="9310" y="2588"/>
                    <a:pt x="9310" y="2588"/>
                    <a:pt x="9310" y="2588"/>
                  </a:cubicBezTo>
                  <a:cubicBezTo>
                    <a:pt x="9378" y="2554"/>
                    <a:pt x="9411" y="2487"/>
                    <a:pt x="9445" y="2454"/>
                  </a:cubicBezTo>
                  <a:cubicBezTo>
                    <a:pt x="9478" y="2420"/>
                    <a:pt x="9478" y="2420"/>
                    <a:pt x="9478" y="2420"/>
                  </a:cubicBezTo>
                  <a:lnTo>
                    <a:pt x="9512" y="2386"/>
                  </a:lnTo>
                  <a:cubicBezTo>
                    <a:pt x="9512" y="2353"/>
                    <a:pt x="9546" y="2319"/>
                    <a:pt x="9546" y="2319"/>
                  </a:cubicBezTo>
                  <a:cubicBezTo>
                    <a:pt x="9579" y="2252"/>
                    <a:pt x="9579" y="2218"/>
                    <a:pt x="9613" y="2185"/>
                  </a:cubicBezTo>
                  <a:cubicBezTo>
                    <a:pt x="9613" y="2185"/>
                    <a:pt x="9613" y="2151"/>
                    <a:pt x="9613" y="2151"/>
                  </a:cubicBezTo>
                  <a:cubicBezTo>
                    <a:pt x="9613" y="2151"/>
                    <a:pt x="9613" y="2151"/>
                    <a:pt x="9613" y="2118"/>
                  </a:cubicBezTo>
                  <a:cubicBezTo>
                    <a:pt x="9646" y="2118"/>
                    <a:pt x="9646" y="2084"/>
                    <a:pt x="9646" y="2050"/>
                  </a:cubicBezTo>
                  <a:cubicBezTo>
                    <a:pt x="9646" y="2017"/>
                    <a:pt x="9646" y="1949"/>
                    <a:pt x="9680" y="1916"/>
                  </a:cubicBezTo>
                  <a:lnTo>
                    <a:pt x="9680" y="1882"/>
                  </a:lnTo>
                  <a:lnTo>
                    <a:pt x="9680" y="0"/>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65" name="Google Shape;2760;p49"/>
            <p:cNvSpPr/>
            <p:nvPr/>
          </p:nvSpPr>
          <p:spPr>
            <a:xfrm>
              <a:off x="-21274225" y="12808600"/>
              <a:ext cx="322650" cy="210075"/>
            </a:xfrm>
            <a:custGeom>
              <a:avLst/>
              <a:gdLst/>
              <a:ahLst/>
              <a:cxnLst/>
              <a:rect l="l" t="t" r="r" b="b"/>
              <a:pathLst>
                <a:path w="12906" h="8403" extrusionOk="0">
                  <a:moveTo>
                    <a:pt x="0" y="0"/>
                  </a:moveTo>
                  <a:lnTo>
                    <a:pt x="0" y="1882"/>
                  </a:lnTo>
                  <a:cubicBezTo>
                    <a:pt x="0" y="2218"/>
                    <a:pt x="202" y="2554"/>
                    <a:pt x="672" y="2823"/>
                  </a:cubicBezTo>
                  <a:lnTo>
                    <a:pt x="9713" y="8033"/>
                  </a:lnTo>
                  <a:cubicBezTo>
                    <a:pt x="9814" y="8100"/>
                    <a:pt x="9915" y="8167"/>
                    <a:pt x="10049" y="8201"/>
                  </a:cubicBezTo>
                  <a:lnTo>
                    <a:pt x="10116" y="8201"/>
                  </a:lnTo>
                  <a:cubicBezTo>
                    <a:pt x="10183" y="8234"/>
                    <a:pt x="10251" y="8268"/>
                    <a:pt x="10318" y="8268"/>
                  </a:cubicBezTo>
                  <a:cubicBezTo>
                    <a:pt x="10352" y="8302"/>
                    <a:pt x="10385" y="8302"/>
                    <a:pt x="10419" y="8302"/>
                  </a:cubicBezTo>
                  <a:cubicBezTo>
                    <a:pt x="10452" y="8302"/>
                    <a:pt x="10486" y="8335"/>
                    <a:pt x="10486" y="8335"/>
                  </a:cubicBezTo>
                  <a:lnTo>
                    <a:pt x="10553" y="8335"/>
                  </a:lnTo>
                  <a:cubicBezTo>
                    <a:pt x="10620" y="8369"/>
                    <a:pt x="10721" y="8369"/>
                    <a:pt x="10788" y="8369"/>
                  </a:cubicBezTo>
                  <a:cubicBezTo>
                    <a:pt x="10822" y="8369"/>
                    <a:pt x="10822" y="8369"/>
                    <a:pt x="10856" y="8402"/>
                  </a:cubicBezTo>
                  <a:lnTo>
                    <a:pt x="11729" y="8402"/>
                  </a:lnTo>
                  <a:cubicBezTo>
                    <a:pt x="11763" y="8402"/>
                    <a:pt x="11763" y="8402"/>
                    <a:pt x="11797" y="8369"/>
                  </a:cubicBezTo>
                  <a:lnTo>
                    <a:pt x="11998" y="8369"/>
                  </a:lnTo>
                  <a:cubicBezTo>
                    <a:pt x="12032" y="8335"/>
                    <a:pt x="12032" y="8335"/>
                    <a:pt x="12066" y="8335"/>
                  </a:cubicBezTo>
                  <a:cubicBezTo>
                    <a:pt x="12133" y="8302"/>
                    <a:pt x="12234" y="8302"/>
                    <a:pt x="12301" y="8268"/>
                  </a:cubicBezTo>
                  <a:cubicBezTo>
                    <a:pt x="12334" y="8268"/>
                    <a:pt x="12368" y="8268"/>
                    <a:pt x="12402" y="8234"/>
                  </a:cubicBezTo>
                  <a:lnTo>
                    <a:pt x="12469" y="8234"/>
                  </a:lnTo>
                  <a:cubicBezTo>
                    <a:pt x="12637" y="8167"/>
                    <a:pt x="12771" y="8100"/>
                    <a:pt x="12906" y="8033"/>
                  </a:cubicBezTo>
                  <a:lnTo>
                    <a:pt x="12906" y="6151"/>
                  </a:lnTo>
                  <a:cubicBezTo>
                    <a:pt x="12771" y="6251"/>
                    <a:pt x="12637" y="6285"/>
                    <a:pt x="12469" y="6352"/>
                  </a:cubicBezTo>
                  <a:cubicBezTo>
                    <a:pt x="12435" y="6386"/>
                    <a:pt x="12368" y="6386"/>
                    <a:pt x="12301" y="6386"/>
                  </a:cubicBezTo>
                  <a:cubicBezTo>
                    <a:pt x="12234" y="6419"/>
                    <a:pt x="12166" y="6453"/>
                    <a:pt x="12066" y="6453"/>
                  </a:cubicBezTo>
                  <a:cubicBezTo>
                    <a:pt x="11998" y="6487"/>
                    <a:pt x="11898" y="6487"/>
                    <a:pt x="11797" y="6487"/>
                  </a:cubicBezTo>
                  <a:cubicBezTo>
                    <a:pt x="11797" y="6520"/>
                    <a:pt x="11763" y="6520"/>
                    <a:pt x="11729" y="6520"/>
                  </a:cubicBezTo>
                  <a:lnTo>
                    <a:pt x="10856" y="6520"/>
                  </a:lnTo>
                  <a:cubicBezTo>
                    <a:pt x="10755" y="6487"/>
                    <a:pt x="10620" y="6487"/>
                    <a:pt x="10486" y="6453"/>
                  </a:cubicBezTo>
                  <a:cubicBezTo>
                    <a:pt x="10486" y="6453"/>
                    <a:pt x="10452" y="6419"/>
                    <a:pt x="10419" y="6419"/>
                  </a:cubicBezTo>
                  <a:cubicBezTo>
                    <a:pt x="10318" y="6386"/>
                    <a:pt x="10217" y="6352"/>
                    <a:pt x="10116" y="6319"/>
                  </a:cubicBezTo>
                  <a:lnTo>
                    <a:pt x="10049" y="6319"/>
                  </a:lnTo>
                  <a:cubicBezTo>
                    <a:pt x="9948" y="6285"/>
                    <a:pt x="9814" y="6218"/>
                    <a:pt x="9713" y="6151"/>
                  </a:cubicBezTo>
                  <a:lnTo>
                    <a:pt x="672" y="941"/>
                  </a:lnTo>
                  <a:cubicBezTo>
                    <a:pt x="336" y="740"/>
                    <a:pt x="134" y="504"/>
                    <a:pt x="34" y="235"/>
                  </a:cubicBezTo>
                  <a:cubicBezTo>
                    <a:pt x="0" y="168"/>
                    <a:pt x="0" y="67"/>
                    <a:pt x="0" y="0"/>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66" name="Google Shape;2761;p49"/>
            <p:cNvSpPr/>
            <p:nvPr/>
          </p:nvSpPr>
          <p:spPr>
            <a:xfrm>
              <a:off x="-21280125" y="12645375"/>
              <a:ext cx="575575" cy="327075"/>
            </a:xfrm>
            <a:custGeom>
              <a:avLst/>
              <a:gdLst/>
              <a:ahLst/>
              <a:cxnLst/>
              <a:rect l="l" t="t" r="r" b="b"/>
              <a:pathLst>
                <a:path w="23023" h="13083" extrusionOk="0">
                  <a:moveTo>
                    <a:pt x="11478" y="1"/>
                  </a:moveTo>
                  <a:cubicBezTo>
                    <a:pt x="10898" y="1"/>
                    <a:pt x="10319" y="127"/>
                    <a:pt x="9882" y="379"/>
                  </a:cubicBezTo>
                  <a:lnTo>
                    <a:pt x="875" y="5622"/>
                  </a:lnTo>
                  <a:cubicBezTo>
                    <a:pt x="1" y="6126"/>
                    <a:pt x="1" y="6966"/>
                    <a:pt x="908" y="7470"/>
                  </a:cubicBezTo>
                  <a:lnTo>
                    <a:pt x="9949" y="12680"/>
                  </a:lnTo>
                  <a:cubicBezTo>
                    <a:pt x="10386" y="12948"/>
                    <a:pt x="10966" y="13083"/>
                    <a:pt x="11545" y="13083"/>
                  </a:cubicBezTo>
                  <a:cubicBezTo>
                    <a:pt x="12125" y="13083"/>
                    <a:pt x="12705" y="12948"/>
                    <a:pt x="13142" y="12680"/>
                  </a:cubicBezTo>
                  <a:lnTo>
                    <a:pt x="22149" y="7470"/>
                  </a:lnTo>
                  <a:cubicBezTo>
                    <a:pt x="23023" y="6966"/>
                    <a:pt x="23023" y="6126"/>
                    <a:pt x="22149" y="5622"/>
                  </a:cubicBezTo>
                  <a:lnTo>
                    <a:pt x="13075" y="379"/>
                  </a:lnTo>
                  <a:cubicBezTo>
                    <a:pt x="12638" y="127"/>
                    <a:pt x="12058" y="1"/>
                    <a:pt x="11478"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67" name="Google Shape;2762;p49"/>
            <p:cNvSpPr/>
            <p:nvPr/>
          </p:nvSpPr>
          <p:spPr>
            <a:xfrm>
              <a:off x="-19284600" y="13794175"/>
              <a:ext cx="241150" cy="200825"/>
            </a:xfrm>
            <a:custGeom>
              <a:avLst/>
              <a:gdLst/>
              <a:ahLst/>
              <a:cxnLst/>
              <a:rect l="l" t="t" r="r" b="b"/>
              <a:pathLst>
                <a:path w="9646" h="8033" extrusionOk="0">
                  <a:moveTo>
                    <a:pt x="9646" y="0"/>
                  </a:moveTo>
                  <a:cubicBezTo>
                    <a:pt x="9646" y="67"/>
                    <a:pt x="9646" y="135"/>
                    <a:pt x="9612" y="235"/>
                  </a:cubicBezTo>
                  <a:cubicBezTo>
                    <a:pt x="9579" y="303"/>
                    <a:pt x="9545" y="370"/>
                    <a:pt x="9478" y="471"/>
                  </a:cubicBezTo>
                  <a:lnTo>
                    <a:pt x="9478" y="504"/>
                  </a:lnTo>
                  <a:cubicBezTo>
                    <a:pt x="9411" y="572"/>
                    <a:pt x="9343" y="639"/>
                    <a:pt x="9276" y="672"/>
                  </a:cubicBezTo>
                  <a:cubicBezTo>
                    <a:pt x="9243" y="740"/>
                    <a:pt x="9175" y="773"/>
                    <a:pt x="9108" y="807"/>
                  </a:cubicBezTo>
                  <a:cubicBezTo>
                    <a:pt x="9075" y="840"/>
                    <a:pt x="9041" y="874"/>
                    <a:pt x="8974" y="908"/>
                  </a:cubicBezTo>
                  <a:lnTo>
                    <a:pt x="0" y="6151"/>
                  </a:lnTo>
                  <a:lnTo>
                    <a:pt x="0" y="8033"/>
                  </a:lnTo>
                  <a:lnTo>
                    <a:pt x="8974" y="2790"/>
                  </a:lnTo>
                  <a:lnTo>
                    <a:pt x="9007" y="2790"/>
                  </a:lnTo>
                  <a:cubicBezTo>
                    <a:pt x="9041" y="2756"/>
                    <a:pt x="9075" y="2722"/>
                    <a:pt x="9108" y="2689"/>
                  </a:cubicBezTo>
                  <a:cubicBezTo>
                    <a:pt x="9175" y="2655"/>
                    <a:pt x="9243" y="2622"/>
                    <a:pt x="9276" y="2588"/>
                  </a:cubicBezTo>
                  <a:cubicBezTo>
                    <a:pt x="9276" y="2588"/>
                    <a:pt x="9310" y="2588"/>
                    <a:pt x="9310" y="2554"/>
                  </a:cubicBezTo>
                  <a:cubicBezTo>
                    <a:pt x="9343" y="2521"/>
                    <a:pt x="9411" y="2454"/>
                    <a:pt x="9444" y="2420"/>
                  </a:cubicBezTo>
                  <a:cubicBezTo>
                    <a:pt x="9444" y="2420"/>
                    <a:pt x="9444" y="2386"/>
                    <a:pt x="9478" y="2386"/>
                  </a:cubicBezTo>
                  <a:lnTo>
                    <a:pt x="9478" y="2353"/>
                  </a:lnTo>
                  <a:cubicBezTo>
                    <a:pt x="9512" y="2319"/>
                    <a:pt x="9512" y="2319"/>
                    <a:pt x="9545" y="2286"/>
                  </a:cubicBezTo>
                  <a:cubicBezTo>
                    <a:pt x="9545" y="2252"/>
                    <a:pt x="9579" y="2218"/>
                    <a:pt x="9579" y="2151"/>
                  </a:cubicBezTo>
                  <a:lnTo>
                    <a:pt x="9612" y="2151"/>
                  </a:lnTo>
                  <a:cubicBezTo>
                    <a:pt x="9612" y="2118"/>
                    <a:pt x="9612" y="2118"/>
                    <a:pt x="9612" y="2118"/>
                  </a:cubicBezTo>
                  <a:cubicBezTo>
                    <a:pt x="9612" y="2084"/>
                    <a:pt x="9612" y="2050"/>
                    <a:pt x="9646" y="2017"/>
                  </a:cubicBezTo>
                  <a:cubicBezTo>
                    <a:pt x="9646" y="1983"/>
                    <a:pt x="9646" y="1949"/>
                    <a:pt x="9646" y="1882"/>
                  </a:cubicBezTo>
                  <a:lnTo>
                    <a:pt x="9646" y="0"/>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68" name="Google Shape;2763;p49"/>
            <p:cNvSpPr/>
            <p:nvPr/>
          </p:nvSpPr>
          <p:spPr>
            <a:xfrm>
              <a:off x="-19608100" y="13793325"/>
              <a:ext cx="323525" cy="210925"/>
            </a:xfrm>
            <a:custGeom>
              <a:avLst/>
              <a:gdLst/>
              <a:ahLst/>
              <a:cxnLst/>
              <a:rect l="l" t="t" r="r" b="b"/>
              <a:pathLst>
                <a:path w="12941" h="8437" extrusionOk="0">
                  <a:moveTo>
                    <a:pt x="1" y="1"/>
                  </a:moveTo>
                  <a:lnTo>
                    <a:pt x="1" y="1883"/>
                  </a:lnTo>
                  <a:cubicBezTo>
                    <a:pt x="1" y="2219"/>
                    <a:pt x="236" y="2555"/>
                    <a:pt x="673" y="2824"/>
                  </a:cubicBezTo>
                  <a:lnTo>
                    <a:pt x="9714" y="8033"/>
                  </a:lnTo>
                  <a:cubicBezTo>
                    <a:pt x="9815" y="8100"/>
                    <a:pt x="9949" y="8167"/>
                    <a:pt x="10050" y="8201"/>
                  </a:cubicBezTo>
                  <a:lnTo>
                    <a:pt x="10084" y="8201"/>
                  </a:lnTo>
                  <a:cubicBezTo>
                    <a:pt x="10084" y="8201"/>
                    <a:pt x="10117" y="8235"/>
                    <a:pt x="10117" y="8235"/>
                  </a:cubicBezTo>
                  <a:cubicBezTo>
                    <a:pt x="10184" y="8235"/>
                    <a:pt x="10252" y="8268"/>
                    <a:pt x="10319" y="8302"/>
                  </a:cubicBezTo>
                  <a:cubicBezTo>
                    <a:pt x="10352" y="8302"/>
                    <a:pt x="10420" y="8302"/>
                    <a:pt x="10453" y="8336"/>
                  </a:cubicBezTo>
                  <a:lnTo>
                    <a:pt x="10554" y="8336"/>
                  </a:lnTo>
                  <a:cubicBezTo>
                    <a:pt x="10655" y="8369"/>
                    <a:pt x="10722" y="8369"/>
                    <a:pt x="10789" y="8403"/>
                  </a:cubicBezTo>
                  <a:lnTo>
                    <a:pt x="11025" y="8403"/>
                  </a:lnTo>
                  <a:cubicBezTo>
                    <a:pt x="11092" y="8403"/>
                    <a:pt x="11159" y="8403"/>
                    <a:pt x="11226" y="8436"/>
                  </a:cubicBezTo>
                  <a:lnTo>
                    <a:pt x="11461" y="8436"/>
                  </a:lnTo>
                  <a:cubicBezTo>
                    <a:pt x="11562" y="8403"/>
                    <a:pt x="11630" y="8403"/>
                    <a:pt x="11730" y="8403"/>
                  </a:cubicBezTo>
                  <a:lnTo>
                    <a:pt x="11798" y="8403"/>
                  </a:lnTo>
                  <a:cubicBezTo>
                    <a:pt x="11865" y="8369"/>
                    <a:pt x="11932" y="8369"/>
                    <a:pt x="11999" y="8369"/>
                  </a:cubicBezTo>
                  <a:cubicBezTo>
                    <a:pt x="12033" y="8369"/>
                    <a:pt x="12066" y="8336"/>
                    <a:pt x="12100" y="8336"/>
                  </a:cubicBezTo>
                  <a:cubicBezTo>
                    <a:pt x="12167" y="8336"/>
                    <a:pt x="12234" y="8302"/>
                    <a:pt x="12302" y="8302"/>
                  </a:cubicBezTo>
                  <a:cubicBezTo>
                    <a:pt x="12335" y="8268"/>
                    <a:pt x="12403" y="8268"/>
                    <a:pt x="12436" y="8268"/>
                  </a:cubicBezTo>
                  <a:cubicBezTo>
                    <a:pt x="12436" y="8268"/>
                    <a:pt x="12470" y="8235"/>
                    <a:pt x="12470" y="8235"/>
                  </a:cubicBezTo>
                  <a:cubicBezTo>
                    <a:pt x="12638" y="8167"/>
                    <a:pt x="12806" y="8134"/>
                    <a:pt x="12940" y="8033"/>
                  </a:cubicBezTo>
                  <a:lnTo>
                    <a:pt x="12940" y="6151"/>
                  </a:lnTo>
                  <a:cubicBezTo>
                    <a:pt x="12806" y="6252"/>
                    <a:pt x="12638" y="6319"/>
                    <a:pt x="12503" y="6353"/>
                  </a:cubicBezTo>
                  <a:cubicBezTo>
                    <a:pt x="12436" y="6386"/>
                    <a:pt x="12369" y="6386"/>
                    <a:pt x="12335" y="6420"/>
                  </a:cubicBezTo>
                  <a:cubicBezTo>
                    <a:pt x="12234" y="6420"/>
                    <a:pt x="12167" y="6453"/>
                    <a:pt x="12100" y="6453"/>
                  </a:cubicBezTo>
                  <a:cubicBezTo>
                    <a:pt x="11999" y="6487"/>
                    <a:pt x="11898" y="6487"/>
                    <a:pt x="11831" y="6521"/>
                  </a:cubicBezTo>
                  <a:lnTo>
                    <a:pt x="11764" y="6521"/>
                  </a:lnTo>
                  <a:cubicBezTo>
                    <a:pt x="11630" y="6521"/>
                    <a:pt x="11495" y="6554"/>
                    <a:pt x="11361" y="6554"/>
                  </a:cubicBezTo>
                  <a:lnTo>
                    <a:pt x="11327" y="6554"/>
                  </a:lnTo>
                  <a:cubicBezTo>
                    <a:pt x="11193" y="6554"/>
                    <a:pt x="11058" y="6521"/>
                    <a:pt x="10924" y="6521"/>
                  </a:cubicBezTo>
                  <a:lnTo>
                    <a:pt x="10890" y="6521"/>
                  </a:lnTo>
                  <a:cubicBezTo>
                    <a:pt x="10756" y="6487"/>
                    <a:pt x="10621" y="6487"/>
                    <a:pt x="10520" y="6453"/>
                  </a:cubicBezTo>
                  <a:cubicBezTo>
                    <a:pt x="10487" y="6453"/>
                    <a:pt x="10487" y="6453"/>
                    <a:pt x="10453" y="6420"/>
                  </a:cubicBezTo>
                  <a:cubicBezTo>
                    <a:pt x="10352" y="6420"/>
                    <a:pt x="10218" y="6386"/>
                    <a:pt x="10117" y="6353"/>
                  </a:cubicBezTo>
                  <a:cubicBezTo>
                    <a:pt x="10117" y="6319"/>
                    <a:pt x="10084" y="6319"/>
                    <a:pt x="10084" y="6319"/>
                  </a:cubicBezTo>
                  <a:cubicBezTo>
                    <a:pt x="9949" y="6285"/>
                    <a:pt x="9848" y="6218"/>
                    <a:pt x="9714" y="6151"/>
                  </a:cubicBezTo>
                  <a:lnTo>
                    <a:pt x="673" y="942"/>
                  </a:lnTo>
                  <a:cubicBezTo>
                    <a:pt x="337" y="740"/>
                    <a:pt x="135" y="505"/>
                    <a:pt x="35" y="236"/>
                  </a:cubicBezTo>
                  <a:cubicBezTo>
                    <a:pt x="35" y="169"/>
                    <a:pt x="1" y="68"/>
                    <a:pt x="1" y="1"/>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69" name="Google Shape;2764;p49"/>
            <p:cNvSpPr/>
            <p:nvPr/>
          </p:nvSpPr>
          <p:spPr>
            <a:xfrm>
              <a:off x="-19613125" y="13630125"/>
              <a:ext cx="575575" cy="327075"/>
            </a:xfrm>
            <a:custGeom>
              <a:avLst/>
              <a:gdLst/>
              <a:ahLst/>
              <a:cxnLst/>
              <a:rect l="l" t="t" r="r" b="b"/>
              <a:pathLst>
                <a:path w="23023" h="13083" extrusionOk="0">
                  <a:moveTo>
                    <a:pt x="11461" y="0"/>
                  </a:moveTo>
                  <a:cubicBezTo>
                    <a:pt x="10881" y="0"/>
                    <a:pt x="10301" y="126"/>
                    <a:pt x="9848" y="378"/>
                  </a:cubicBezTo>
                  <a:lnTo>
                    <a:pt x="874" y="5621"/>
                  </a:lnTo>
                  <a:cubicBezTo>
                    <a:pt x="0" y="6125"/>
                    <a:pt x="0" y="6965"/>
                    <a:pt x="874" y="7470"/>
                  </a:cubicBezTo>
                  <a:lnTo>
                    <a:pt x="9948" y="12679"/>
                  </a:lnTo>
                  <a:cubicBezTo>
                    <a:pt x="10385" y="12948"/>
                    <a:pt x="10965" y="13082"/>
                    <a:pt x="11545" y="13082"/>
                  </a:cubicBezTo>
                  <a:cubicBezTo>
                    <a:pt x="12125" y="13082"/>
                    <a:pt x="12704" y="12948"/>
                    <a:pt x="13141" y="12679"/>
                  </a:cubicBezTo>
                  <a:lnTo>
                    <a:pt x="22115" y="7470"/>
                  </a:lnTo>
                  <a:cubicBezTo>
                    <a:pt x="23022" y="6965"/>
                    <a:pt x="23022" y="6125"/>
                    <a:pt x="22115" y="5621"/>
                  </a:cubicBezTo>
                  <a:lnTo>
                    <a:pt x="13074" y="378"/>
                  </a:lnTo>
                  <a:cubicBezTo>
                    <a:pt x="12620" y="126"/>
                    <a:pt x="12041" y="0"/>
                    <a:pt x="11461"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70" name="Google Shape;2765;p49"/>
            <p:cNvSpPr/>
            <p:nvPr/>
          </p:nvSpPr>
          <p:spPr>
            <a:xfrm>
              <a:off x="-18952725" y="13988250"/>
              <a:ext cx="241175" cy="201675"/>
            </a:xfrm>
            <a:custGeom>
              <a:avLst/>
              <a:gdLst/>
              <a:ahLst/>
              <a:cxnLst/>
              <a:rect l="l" t="t" r="r" b="b"/>
              <a:pathLst>
                <a:path w="9647" h="8067" extrusionOk="0">
                  <a:moveTo>
                    <a:pt x="9646" y="1"/>
                  </a:moveTo>
                  <a:cubicBezTo>
                    <a:pt x="9646" y="102"/>
                    <a:pt x="9613" y="169"/>
                    <a:pt x="9613" y="236"/>
                  </a:cubicBezTo>
                  <a:cubicBezTo>
                    <a:pt x="9613" y="270"/>
                    <a:pt x="9613" y="270"/>
                    <a:pt x="9579" y="270"/>
                  </a:cubicBezTo>
                  <a:cubicBezTo>
                    <a:pt x="9579" y="337"/>
                    <a:pt x="9546" y="404"/>
                    <a:pt x="9478" y="471"/>
                  </a:cubicBezTo>
                  <a:lnTo>
                    <a:pt x="9445" y="505"/>
                  </a:lnTo>
                  <a:cubicBezTo>
                    <a:pt x="9411" y="572"/>
                    <a:pt x="9344" y="639"/>
                    <a:pt x="9277" y="707"/>
                  </a:cubicBezTo>
                  <a:cubicBezTo>
                    <a:pt x="9243" y="774"/>
                    <a:pt x="9176" y="807"/>
                    <a:pt x="9109" y="841"/>
                  </a:cubicBezTo>
                  <a:cubicBezTo>
                    <a:pt x="9075" y="875"/>
                    <a:pt x="9041" y="908"/>
                    <a:pt x="8974" y="942"/>
                  </a:cubicBezTo>
                  <a:lnTo>
                    <a:pt x="1" y="6151"/>
                  </a:lnTo>
                  <a:lnTo>
                    <a:pt x="1" y="8067"/>
                  </a:lnTo>
                  <a:lnTo>
                    <a:pt x="8974" y="2824"/>
                  </a:lnTo>
                  <a:lnTo>
                    <a:pt x="9008" y="2824"/>
                  </a:lnTo>
                  <a:cubicBezTo>
                    <a:pt x="9041" y="2790"/>
                    <a:pt x="9075" y="2757"/>
                    <a:pt x="9109" y="2723"/>
                  </a:cubicBezTo>
                  <a:cubicBezTo>
                    <a:pt x="9176" y="2689"/>
                    <a:pt x="9243" y="2656"/>
                    <a:pt x="9277" y="2622"/>
                  </a:cubicBezTo>
                  <a:cubicBezTo>
                    <a:pt x="9277" y="2622"/>
                    <a:pt x="9277" y="2622"/>
                    <a:pt x="9310" y="2589"/>
                  </a:cubicBezTo>
                  <a:cubicBezTo>
                    <a:pt x="9344" y="2555"/>
                    <a:pt x="9411" y="2488"/>
                    <a:pt x="9445" y="2454"/>
                  </a:cubicBezTo>
                  <a:cubicBezTo>
                    <a:pt x="9445" y="2454"/>
                    <a:pt x="9445" y="2421"/>
                    <a:pt x="9478" y="2421"/>
                  </a:cubicBezTo>
                  <a:lnTo>
                    <a:pt x="9478" y="2387"/>
                  </a:lnTo>
                  <a:cubicBezTo>
                    <a:pt x="9512" y="2353"/>
                    <a:pt x="9512" y="2353"/>
                    <a:pt x="9546" y="2320"/>
                  </a:cubicBezTo>
                  <a:cubicBezTo>
                    <a:pt x="9546" y="2286"/>
                    <a:pt x="9579" y="2219"/>
                    <a:pt x="9579" y="2185"/>
                  </a:cubicBezTo>
                  <a:cubicBezTo>
                    <a:pt x="9579" y="2185"/>
                    <a:pt x="9579" y="2185"/>
                    <a:pt x="9579" y="2152"/>
                  </a:cubicBezTo>
                  <a:lnTo>
                    <a:pt x="9613" y="2152"/>
                  </a:lnTo>
                  <a:cubicBezTo>
                    <a:pt x="9613" y="2118"/>
                    <a:pt x="9613" y="2085"/>
                    <a:pt x="9613" y="2051"/>
                  </a:cubicBezTo>
                  <a:cubicBezTo>
                    <a:pt x="9646" y="2017"/>
                    <a:pt x="9646" y="1984"/>
                    <a:pt x="9646" y="1916"/>
                  </a:cubicBezTo>
                  <a:lnTo>
                    <a:pt x="9646" y="1"/>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71" name="Google Shape;2766;p49"/>
            <p:cNvSpPr/>
            <p:nvPr/>
          </p:nvSpPr>
          <p:spPr>
            <a:xfrm>
              <a:off x="-19276200" y="13988250"/>
              <a:ext cx="323500" cy="210925"/>
            </a:xfrm>
            <a:custGeom>
              <a:avLst/>
              <a:gdLst/>
              <a:ahLst/>
              <a:cxnLst/>
              <a:rect l="l" t="t" r="r" b="b"/>
              <a:pathLst>
                <a:path w="12940" h="8437" extrusionOk="0">
                  <a:moveTo>
                    <a:pt x="0" y="1"/>
                  </a:moveTo>
                  <a:lnTo>
                    <a:pt x="0" y="1883"/>
                  </a:lnTo>
                  <a:cubicBezTo>
                    <a:pt x="0" y="2219"/>
                    <a:pt x="202" y="2555"/>
                    <a:pt x="673" y="2824"/>
                  </a:cubicBezTo>
                  <a:lnTo>
                    <a:pt x="9713" y="8033"/>
                  </a:lnTo>
                  <a:cubicBezTo>
                    <a:pt x="9814" y="8100"/>
                    <a:pt x="9915" y="8168"/>
                    <a:pt x="10049" y="8201"/>
                  </a:cubicBezTo>
                  <a:cubicBezTo>
                    <a:pt x="10083" y="8201"/>
                    <a:pt x="10083" y="8235"/>
                    <a:pt x="10117" y="8235"/>
                  </a:cubicBezTo>
                  <a:cubicBezTo>
                    <a:pt x="10184" y="8235"/>
                    <a:pt x="10251" y="8268"/>
                    <a:pt x="10318" y="8302"/>
                  </a:cubicBezTo>
                  <a:cubicBezTo>
                    <a:pt x="10352" y="8302"/>
                    <a:pt x="10385" y="8302"/>
                    <a:pt x="10419" y="8336"/>
                  </a:cubicBezTo>
                  <a:lnTo>
                    <a:pt x="10553" y="8336"/>
                  </a:lnTo>
                  <a:cubicBezTo>
                    <a:pt x="10621" y="8369"/>
                    <a:pt x="10722" y="8369"/>
                    <a:pt x="10789" y="8403"/>
                  </a:cubicBezTo>
                  <a:lnTo>
                    <a:pt x="10990" y="8403"/>
                  </a:lnTo>
                  <a:cubicBezTo>
                    <a:pt x="11091" y="8403"/>
                    <a:pt x="11158" y="8403"/>
                    <a:pt x="11226" y="8437"/>
                  </a:cubicBezTo>
                  <a:lnTo>
                    <a:pt x="11461" y="8437"/>
                  </a:lnTo>
                  <a:cubicBezTo>
                    <a:pt x="11528" y="8403"/>
                    <a:pt x="11629" y="8403"/>
                    <a:pt x="11696" y="8403"/>
                  </a:cubicBezTo>
                  <a:lnTo>
                    <a:pt x="11797" y="8403"/>
                  </a:lnTo>
                  <a:cubicBezTo>
                    <a:pt x="11864" y="8369"/>
                    <a:pt x="11931" y="8369"/>
                    <a:pt x="11999" y="8369"/>
                  </a:cubicBezTo>
                  <a:cubicBezTo>
                    <a:pt x="12032" y="8369"/>
                    <a:pt x="12066" y="8336"/>
                    <a:pt x="12066" y="8336"/>
                  </a:cubicBezTo>
                  <a:cubicBezTo>
                    <a:pt x="12167" y="8336"/>
                    <a:pt x="12234" y="8302"/>
                    <a:pt x="12301" y="8302"/>
                  </a:cubicBezTo>
                  <a:cubicBezTo>
                    <a:pt x="12335" y="8268"/>
                    <a:pt x="12402" y="8268"/>
                    <a:pt x="12436" y="8268"/>
                  </a:cubicBezTo>
                  <a:cubicBezTo>
                    <a:pt x="12436" y="8268"/>
                    <a:pt x="12469" y="8235"/>
                    <a:pt x="12469" y="8235"/>
                  </a:cubicBezTo>
                  <a:cubicBezTo>
                    <a:pt x="12637" y="8168"/>
                    <a:pt x="12772" y="8134"/>
                    <a:pt x="12906" y="8033"/>
                  </a:cubicBezTo>
                  <a:lnTo>
                    <a:pt x="12940" y="6151"/>
                  </a:lnTo>
                  <a:lnTo>
                    <a:pt x="12940" y="6151"/>
                  </a:lnTo>
                  <a:cubicBezTo>
                    <a:pt x="12805" y="6252"/>
                    <a:pt x="12637" y="6319"/>
                    <a:pt x="12469" y="6353"/>
                  </a:cubicBezTo>
                  <a:cubicBezTo>
                    <a:pt x="12436" y="6386"/>
                    <a:pt x="12368" y="6386"/>
                    <a:pt x="12301" y="6420"/>
                  </a:cubicBezTo>
                  <a:cubicBezTo>
                    <a:pt x="12234" y="6420"/>
                    <a:pt x="12167" y="6454"/>
                    <a:pt x="12099" y="6454"/>
                  </a:cubicBezTo>
                  <a:cubicBezTo>
                    <a:pt x="11999" y="6487"/>
                    <a:pt x="11898" y="6487"/>
                    <a:pt x="11797" y="6521"/>
                  </a:cubicBezTo>
                  <a:lnTo>
                    <a:pt x="11730" y="6521"/>
                  </a:lnTo>
                  <a:cubicBezTo>
                    <a:pt x="11629" y="6521"/>
                    <a:pt x="11495" y="6554"/>
                    <a:pt x="11360" y="6554"/>
                  </a:cubicBezTo>
                  <a:lnTo>
                    <a:pt x="11293" y="6554"/>
                  </a:lnTo>
                  <a:cubicBezTo>
                    <a:pt x="11192" y="6554"/>
                    <a:pt x="11058" y="6521"/>
                    <a:pt x="10923" y="6521"/>
                  </a:cubicBezTo>
                  <a:lnTo>
                    <a:pt x="10856" y="6521"/>
                  </a:lnTo>
                  <a:cubicBezTo>
                    <a:pt x="10755" y="6487"/>
                    <a:pt x="10621" y="6487"/>
                    <a:pt x="10520" y="6454"/>
                  </a:cubicBezTo>
                  <a:cubicBezTo>
                    <a:pt x="10486" y="6454"/>
                    <a:pt x="10453" y="6454"/>
                    <a:pt x="10453" y="6420"/>
                  </a:cubicBezTo>
                  <a:cubicBezTo>
                    <a:pt x="10318" y="6420"/>
                    <a:pt x="10217" y="6386"/>
                    <a:pt x="10117" y="6353"/>
                  </a:cubicBezTo>
                  <a:cubicBezTo>
                    <a:pt x="10117" y="6319"/>
                    <a:pt x="10083" y="6319"/>
                    <a:pt x="10083" y="6319"/>
                  </a:cubicBezTo>
                  <a:cubicBezTo>
                    <a:pt x="9949" y="6286"/>
                    <a:pt x="9814" y="6218"/>
                    <a:pt x="9713" y="6151"/>
                  </a:cubicBezTo>
                  <a:lnTo>
                    <a:pt x="673" y="942"/>
                  </a:lnTo>
                  <a:cubicBezTo>
                    <a:pt x="336" y="740"/>
                    <a:pt x="135" y="505"/>
                    <a:pt x="34" y="236"/>
                  </a:cubicBezTo>
                  <a:cubicBezTo>
                    <a:pt x="0" y="169"/>
                    <a:pt x="0" y="68"/>
                    <a:pt x="0" y="1"/>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72" name="Google Shape;2767;p49"/>
            <p:cNvSpPr/>
            <p:nvPr/>
          </p:nvSpPr>
          <p:spPr>
            <a:xfrm>
              <a:off x="-19282075" y="13825050"/>
              <a:ext cx="575550" cy="327075"/>
            </a:xfrm>
            <a:custGeom>
              <a:avLst/>
              <a:gdLst/>
              <a:ahLst/>
              <a:cxnLst/>
              <a:rect l="l" t="t" r="r" b="b"/>
              <a:pathLst>
                <a:path w="23022" h="13083" extrusionOk="0">
                  <a:moveTo>
                    <a:pt x="11482" y="0"/>
                  </a:moveTo>
                  <a:cubicBezTo>
                    <a:pt x="10898" y="0"/>
                    <a:pt x="10318" y="126"/>
                    <a:pt x="9881" y="378"/>
                  </a:cubicBezTo>
                  <a:lnTo>
                    <a:pt x="908" y="5621"/>
                  </a:lnTo>
                  <a:cubicBezTo>
                    <a:pt x="0" y="6125"/>
                    <a:pt x="34" y="6966"/>
                    <a:pt x="908" y="7470"/>
                  </a:cubicBezTo>
                  <a:lnTo>
                    <a:pt x="9948" y="12679"/>
                  </a:lnTo>
                  <a:cubicBezTo>
                    <a:pt x="10402" y="12948"/>
                    <a:pt x="10990" y="13082"/>
                    <a:pt x="11574" y="13082"/>
                  </a:cubicBezTo>
                  <a:cubicBezTo>
                    <a:pt x="12158" y="13082"/>
                    <a:pt x="12738" y="12948"/>
                    <a:pt x="13175" y="12679"/>
                  </a:cubicBezTo>
                  <a:lnTo>
                    <a:pt x="22148" y="7470"/>
                  </a:lnTo>
                  <a:cubicBezTo>
                    <a:pt x="23022" y="6966"/>
                    <a:pt x="23022" y="6125"/>
                    <a:pt x="22148" y="5621"/>
                  </a:cubicBezTo>
                  <a:lnTo>
                    <a:pt x="13107" y="378"/>
                  </a:lnTo>
                  <a:cubicBezTo>
                    <a:pt x="12654" y="126"/>
                    <a:pt x="12066" y="0"/>
                    <a:pt x="11482"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73" name="Google Shape;2768;p49"/>
            <p:cNvSpPr/>
            <p:nvPr/>
          </p:nvSpPr>
          <p:spPr>
            <a:xfrm>
              <a:off x="-18623350" y="14175625"/>
              <a:ext cx="241150" cy="200825"/>
            </a:xfrm>
            <a:custGeom>
              <a:avLst/>
              <a:gdLst/>
              <a:ahLst/>
              <a:cxnLst/>
              <a:rect l="l" t="t" r="r" b="b"/>
              <a:pathLst>
                <a:path w="9646" h="8033" extrusionOk="0">
                  <a:moveTo>
                    <a:pt x="9646" y="0"/>
                  </a:moveTo>
                  <a:cubicBezTo>
                    <a:pt x="9646" y="101"/>
                    <a:pt x="9646" y="169"/>
                    <a:pt x="9612" y="236"/>
                  </a:cubicBezTo>
                  <a:cubicBezTo>
                    <a:pt x="9612" y="236"/>
                    <a:pt x="9612" y="269"/>
                    <a:pt x="9612" y="269"/>
                  </a:cubicBezTo>
                  <a:cubicBezTo>
                    <a:pt x="9579" y="337"/>
                    <a:pt x="9545" y="404"/>
                    <a:pt x="9478" y="471"/>
                  </a:cubicBezTo>
                  <a:lnTo>
                    <a:pt x="9478" y="505"/>
                  </a:lnTo>
                  <a:cubicBezTo>
                    <a:pt x="9411" y="572"/>
                    <a:pt x="9343" y="639"/>
                    <a:pt x="9276" y="706"/>
                  </a:cubicBezTo>
                  <a:cubicBezTo>
                    <a:pt x="9243" y="740"/>
                    <a:pt x="9175" y="773"/>
                    <a:pt x="9108" y="841"/>
                  </a:cubicBezTo>
                  <a:cubicBezTo>
                    <a:pt x="9075" y="874"/>
                    <a:pt x="9041" y="908"/>
                    <a:pt x="8974" y="942"/>
                  </a:cubicBezTo>
                  <a:lnTo>
                    <a:pt x="0" y="6151"/>
                  </a:lnTo>
                  <a:lnTo>
                    <a:pt x="0" y="8033"/>
                  </a:lnTo>
                  <a:lnTo>
                    <a:pt x="8974" y="2824"/>
                  </a:lnTo>
                  <a:cubicBezTo>
                    <a:pt x="8974" y="2824"/>
                    <a:pt x="9007" y="2824"/>
                    <a:pt x="9007" y="2790"/>
                  </a:cubicBezTo>
                  <a:cubicBezTo>
                    <a:pt x="9041" y="2790"/>
                    <a:pt x="9075" y="2756"/>
                    <a:pt x="9108" y="2723"/>
                  </a:cubicBezTo>
                  <a:cubicBezTo>
                    <a:pt x="9175" y="2689"/>
                    <a:pt x="9243" y="2656"/>
                    <a:pt x="9276" y="2588"/>
                  </a:cubicBezTo>
                  <a:lnTo>
                    <a:pt x="9310" y="2588"/>
                  </a:lnTo>
                  <a:cubicBezTo>
                    <a:pt x="9343" y="2555"/>
                    <a:pt x="9411" y="2488"/>
                    <a:pt x="9444" y="2454"/>
                  </a:cubicBezTo>
                  <a:cubicBezTo>
                    <a:pt x="9444" y="2420"/>
                    <a:pt x="9444" y="2420"/>
                    <a:pt x="9478" y="2420"/>
                  </a:cubicBezTo>
                  <a:lnTo>
                    <a:pt x="9478" y="2387"/>
                  </a:lnTo>
                  <a:cubicBezTo>
                    <a:pt x="9511" y="2353"/>
                    <a:pt x="9511" y="2319"/>
                    <a:pt x="9545" y="2319"/>
                  </a:cubicBezTo>
                  <a:cubicBezTo>
                    <a:pt x="9545" y="2252"/>
                    <a:pt x="9579" y="2219"/>
                    <a:pt x="9579" y="2185"/>
                  </a:cubicBezTo>
                  <a:cubicBezTo>
                    <a:pt x="9579" y="2185"/>
                    <a:pt x="9579" y="2151"/>
                    <a:pt x="9579" y="2151"/>
                  </a:cubicBezTo>
                  <a:cubicBezTo>
                    <a:pt x="9612" y="2151"/>
                    <a:pt x="9612" y="2151"/>
                    <a:pt x="9612" y="2118"/>
                  </a:cubicBezTo>
                  <a:cubicBezTo>
                    <a:pt x="9612" y="2118"/>
                    <a:pt x="9612" y="2084"/>
                    <a:pt x="9612" y="2051"/>
                  </a:cubicBezTo>
                  <a:cubicBezTo>
                    <a:pt x="9646" y="2017"/>
                    <a:pt x="9646" y="1950"/>
                    <a:pt x="9646" y="1916"/>
                  </a:cubicBezTo>
                  <a:lnTo>
                    <a:pt x="9646" y="1883"/>
                  </a:lnTo>
                  <a:lnTo>
                    <a:pt x="9646" y="0"/>
                  </a:ln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74" name="Google Shape;2769;p49"/>
            <p:cNvSpPr/>
            <p:nvPr/>
          </p:nvSpPr>
          <p:spPr>
            <a:xfrm>
              <a:off x="-18946850" y="14175625"/>
              <a:ext cx="323525" cy="210075"/>
            </a:xfrm>
            <a:custGeom>
              <a:avLst/>
              <a:gdLst/>
              <a:ahLst/>
              <a:cxnLst/>
              <a:rect l="l" t="t" r="r" b="b"/>
              <a:pathLst>
                <a:path w="12941" h="8403" extrusionOk="0">
                  <a:moveTo>
                    <a:pt x="1" y="0"/>
                  </a:moveTo>
                  <a:lnTo>
                    <a:pt x="1" y="1883"/>
                  </a:lnTo>
                  <a:cubicBezTo>
                    <a:pt x="1" y="2219"/>
                    <a:pt x="236" y="2555"/>
                    <a:pt x="673" y="2824"/>
                  </a:cubicBezTo>
                  <a:lnTo>
                    <a:pt x="9714" y="8033"/>
                  </a:lnTo>
                  <a:cubicBezTo>
                    <a:pt x="9815" y="8100"/>
                    <a:pt x="9949" y="8134"/>
                    <a:pt x="10050" y="8201"/>
                  </a:cubicBezTo>
                  <a:lnTo>
                    <a:pt x="10084" y="8201"/>
                  </a:lnTo>
                  <a:cubicBezTo>
                    <a:pt x="10084" y="8201"/>
                    <a:pt x="10117" y="8201"/>
                    <a:pt x="10117" y="8235"/>
                  </a:cubicBezTo>
                  <a:cubicBezTo>
                    <a:pt x="10184" y="8235"/>
                    <a:pt x="10252" y="8268"/>
                    <a:pt x="10319" y="8302"/>
                  </a:cubicBezTo>
                  <a:lnTo>
                    <a:pt x="10453" y="8302"/>
                  </a:lnTo>
                  <a:cubicBezTo>
                    <a:pt x="10453" y="8302"/>
                    <a:pt x="10487" y="8335"/>
                    <a:pt x="10520" y="8335"/>
                  </a:cubicBezTo>
                  <a:lnTo>
                    <a:pt x="10554" y="8335"/>
                  </a:lnTo>
                  <a:cubicBezTo>
                    <a:pt x="10655" y="8369"/>
                    <a:pt x="10722" y="8369"/>
                    <a:pt x="10789" y="8369"/>
                  </a:cubicBezTo>
                  <a:cubicBezTo>
                    <a:pt x="10823" y="8369"/>
                    <a:pt x="10857" y="8369"/>
                    <a:pt x="10890" y="8403"/>
                  </a:cubicBezTo>
                  <a:lnTo>
                    <a:pt x="11798" y="8403"/>
                  </a:lnTo>
                  <a:cubicBezTo>
                    <a:pt x="11865" y="8369"/>
                    <a:pt x="11932" y="8369"/>
                    <a:pt x="11999" y="8369"/>
                  </a:cubicBezTo>
                  <a:cubicBezTo>
                    <a:pt x="12033" y="8369"/>
                    <a:pt x="12066" y="8335"/>
                    <a:pt x="12100" y="8335"/>
                  </a:cubicBezTo>
                  <a:cubicBezTo>
                    <a:pt x="12167" y="8335"/>
                    <a:pt x="12234" y="8302"/>
                    <a:pt x="12302" y="8268"/>
                  </a:cubicBezTo>
                  <a:lnTo>
                    <a:pt x="12436" y="8268"/>
                  </a:lnTo>
                  <a:cubicBezTo>
                    <a:pt x="12436" y="8235"/>
                    <a:pt x="12470" y="8235"/>
                    <a:pt x="12470" y="8235"/>
                  </a:cubicBezTo>
                  <a:cubicBezTo>
                    <a:pt x="12638" y="8167"/>
                    <a:pt x="12806" y="8134"/>
                    <a:pt x="12940" y="8033"/>
                  </a:cubicBezTo>
                  <a:lnTo>
                    <a:pt x="12940" y="6151"/>
                  </a:lnTo>
                  <a:cubicBezTo>
                    <a:pt x="12806" y="6218"/>
                    <a:pt x="12638" y="6285"/>
                    <a:pt x="12503" y="6353"/>
                  </a:cubicBezTo>
                  <a:cubicBezTo>
                    <a:pt x="12436" y="6386"/>
                    <a:pt x="12369" y="6386"/>
                    <a:pt x="12335" y="6386"/>
                  </a:cubicBezTo>
                  <a:cubicBezTo>
                    <a:pt x="12234" y="6420"/>
                    <a:pt x="12167" y="6453"/>
                    <a:pt x="12100" y="6453"/>
                  </a:cubicBezTo>
                  <a:cubicBezTo>
                    <a:pt x="11999" y="6487"/>
                    <a:pt x="11898" y="6487"/>
                    <a:pt x="11831" y="6487"/>
                  </a:cubicBezTo>
                  <a:cubicBezTo>
                    <a:pt x="11798" y="6521"/>
                    <a:pt x="11764" y="6521"/>
                    <a:pt x="11764" y="6521"/>
                  </a:cubicBezTo>
                  <a:lnTo>
                    <a:pt x="10890" y="6521"/>
                  </a:lnTo>
                  <a:cubicBezTo>
                    <a:pt x="10756" y="6487"/>
                    <a:pt x="10621" y="6453"/>
                    <a:pt x="10520" y="6453"/>
                  </a:cubicBezTo>
                  <a:cubicBezTo>
                    <a:pt x="10487" y="6453"/>
                    <a:pt x="10487" y="6420"/>
                    <a:pt x="10453" y="6420"/>
                  </a:cubicBezTo>
                  <a:cubicBezTo>
                    <a:pt x="10352" y="6386"/>
                    <a:pt x="10218" y="6353"/>
                    <a:pt x="10117" y="6319"/>
                  </a:cubicBezTo>
                  <a:lnTo>
                    <a:pt x="10084" y="6319"/>
                  </a:lnTo>
                  <a:cubicBezTo>
                    <a:pt x="9949" y="6252"/>
                    <a:pt x="9848" y="6218"/>
                    <a:pt x="9714" y="6151"/>
                  </a:cubicBezTo>
                  <a:lnTo>
                    <a:pt x="673" y="908"/>
                  </a:lnTo>
                  <a:cubicBezTo>
                    <a:pt x="337" y="740"/>
                    <a:pt x="135" y="505"/>
                    <a:pt x="35" y="236"/>
                  </a:cubicBezTo>
                  <a:cubicBezTo>
                    <a:pt x="35" y="169"/>
                    <a:pt x="1" y="68"/>
                    <a:pt x="1" y="0"/>
                  </a:cubicBezTo>
                  <a:close/>
                </a:path>
              </a:pathLst>
            </a:custGeom>
            <a:solidFill>
              <a:srgbClr val="DEDAE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75" name="Google Shape;2770;p49"/>
            <p:cNvSpPr/>
            <p:nvPr/>
          </p:nvSpPr>
          <p:spPr>
            <a:xfrm>
              <a:off x="-18951875" y="14012425"/>
              <a:ext cx="575575" cy="326425"/>
            </a:xfrm>
            <a:custGeom>
              <a:avLst/>
              <a:gdLst/>
              <a:ahLst/>
              <a:cxnLst/>
              <a:rect l="l" t="t" r="r" b="b"/>
              <a:pathLst>
                <a:path w="23023" h="13057" extrusionOk="0">
                  <a:moveTo>
                    <a:pt x="11461" y="0"/>
                  </a:moveTo>
                  <a:cubicBezTo>
                    <a:pt x="10881" y="0"/>
                    <a:pt x="10301" y="126"/>
                    <a:pt x="9848" y="378"/>
                  </a:cubicBezTo>
                  <a:lnTo>
                    <a:pt x="874" y="5587"/>
                  </a:lnTo>
                  <a:cubicBezTo>
                    <a:pt x="0" y="6125"/>
                    <a:pt x="0" y="6932"/>
                    <a:pt x="874" y="7470"/>
                  </a:cubicBezTo>
                  <a:lnTo>
                    <a:pt x="9915" y="12679"/>
                  </a:lnTo>
                  <a:cubicBezTo>
                    <a:pt x="10369" y="12931"/>
                    <a:pt x="10957" y="13057"/>
                    <a:pt x="11541" y="13057"/>
                  </a:cubicBezTo>
                  <a:cubicBezTo>
                    <a:pt x="12125" y="13057"/>
                    <a:pt x="12704" y="12931"/>
                    <a:pt x="13141" y="12679"/>
                  </a:cubicBezTo>
                  <a:lnTo>
                    <a:pt x="22115" y="7470"/>
                  </a:lnTo>
                  <a:cubicBezTo>
                    <a:pt x="23022" y="6932"/>
                    <a:pt x="22989" y="6125"/>
                    <a:pt x="22115" y="5587"/>
                  </a:cubicBezTo>
                  <a:lnTo>
                    <a:pt x="13074" y="378"/>
                  </a:lnTo>
                  <a:cubicBezTo>
                    <a:pt x="12620" y="126"/>
                    <a:pt x="12041" y="0"/>
                    <a:pt x="11461"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76" name="Google Shape;2771;p49"/>
            <p:cNvSpPr/>
            <p:nvPr/>
          </p:nvSpPr>
          <p:spPr>
            <a:xfrm>
              <a:off x="-18450275" y="12385975"/>
              <a:ext cx="1025100" cy="371400"/>
            </a:xfrm>
            <a:custGeom>
              <a:avLst/>
              <a:gdLst/>
              <a:ahLst/>
              <a:cxnLst/>
              <a:rect l="l" t="t" r="r" b="b"/>
              <a:pathLst>
                <a:path w="41004" h="14856" extrusionOk="0">
                  <a:moveTo>
                    <a:pt x="41003" y="101"/>
                  </a:moveTo>
                  <a:lnTo>
                    <a:pt x="41003" y="143"/>
                  </a:lnTo>
                  <a:lnTo>
                    <a:pt x="41003" y="143"/>
                  </a:lnTo>
                  <a:cubicBezTo>
                    <a:pt x="41003" y="129"/>
                    <a:pt x="41003" y="115"/>
                    <a:pt x="41003" y="101"/>
                  </a:cubicBezTo>
                  <a:close/>
                  <a:moveTo>
                    <a:pt x="1" y="0"/>
                  </a:moveTo>
                  <a:lnTo>
                    <a:pt x="1" y="2924"/>
                  </a:lnTo>
                  <a:cubicBezTo>
                    <a:pt x="1" y="5982"/>
                    <a:pt x="2017" y="9041"/>
                    <a:pt x="6050" y="11393"/>
                  </a:cubicBezTo>
                  <a:cubicBezTo>
                    <a:pt x="6554" y="11662"/>
                    <a:pt x="7025" y="11931"/>
                    <a:pt x="7563" y="12166"/>
                  </a:cubicBezTo>
                  <a:cubicBezTo>
                    <a:pt x="7731" y="12234"/>
                    <a:pt x="7899" y="12334"/>
                    <a:pt x="8100" y="12402"/>
                  </a:cubicBezTo>
                  <a:cubicBezTo>
                    <a:pt x="8403" y="12536"/>
                    <a:pt x="8705" y="12670"/>
                    <a:pt x="9008" y="12805"/>
                  </a:cubicBezTo>
                  <a:lnTo>
                    <a:pt x="9109" y="12839"/>
                  </a:lnTo>
                  <a:cubicBezTo>
                    <a:pt x="9814" y="13107"/>
                    <a:pt x="10554" y="13343"/>
                    <a:pt x="11327" y="13578"/>
                  </a:cubicBezTo>
                  <a:cubicBezTo>
                    <a:pt x="11394" y="13578"/>
                    <a:pt x="11428" y="13612"/>
                    <a:pt x="11495" y="13645"/>
                  </a:cubicBezTo>
                  <a:cubicBezTo>
                    <a:pt x="11663" y="13679"/>
                    <a:pt x="11831" y="13712"/>
                    <a:pt x="12033" y="13780"/>
                  </a:cubicBezTo>
                  <a:cubicBezTo>
                    <a:pt x="12436" y="13880"/>
                    <a:pt x="12873" y="13981"/>
                    <a:pt x="13276" y="14082"/>
                  </a:cubicBezTo>
                  <a:cubicBezTo>
                    <a:pt x="13410" y="14116"/>
                    <a:pt x="13511" y="14149"/>
                    <a:pt x="13646" y="14149"/>
                  </a:cubicBezTo>
                  <a:cubicBezTo>
                    <a:pt x="13814" y="14183"/>
                    <a:pt x="13982" y="14216"/>
                    <a:pt x="14150" y="14250"/>
                  </a:cubicBezTo>
                  <a:cubicBezTo>
                    <a:pt x="14520" y="14317"/>
                    <a:pt x="14856" y="14385"/>
                    <a:pt x="15225" y="14452"/>
                  </a:cubicBezTo>
                  <a:cubicBezTo>
                    <a:pt x="15360" y="14452"/>
                    <a:pt x="15528" y="14485"/>
                    <a:pt x="15662" y="14519"/>
                  </a:cubicBezTo>
                  <a:cubicBezTo>
                    <a:pt x="15830" y="14519"/>
                    <a:pt x="15998" y="14553"/>
                    <a:pt x="16133" y="14586"/>
                  </a:cubicBezTo>
                  <a:cubicBezTo>
                    <a:pt x="16502" y="14620"/>
                    <a:pt x="16839" y="14653"/>
                    <a:pt x="17175" y="14687"/>
                  </a:cubicBezTo>
                  <a:cubicBezTo>
                    <a:pt x="17343" y="14687"/>
                    <a:pt x="17477" y="14721"/>
                    <a:pt x="17645" y="14754"/>
                  </a:cubicBezTo>
                  <a:lnTo>
                    <a:pt x="18116" y="14754"/>
                  </a:lnTo>
                  <a:cubicBezTo>
                    <a:pt x="18452" y="14788"/>
                    <a:pt x="18821" y="14788"/>
                    <a:pt x="19158" y="14821"/>
                  </a:cubicBezTo>
                  <a:cubicBezTo>
                    <a:pt x="19326" y="14821"/>
                    <a:pt x="19494" y="14855"/>
                    <a:pt x="19695" y="14855"/>
                  </a:cubicBezTo>
                  <a:lnTo>
                    <a:pt x="21779" y="14855"/>
                  </a:lnTo>
                  <a:cubicBezTo>
                    <a:pt x="21880" y="14821"/>
                    <a:pt x="22014" y="14821"/>
                    <a:pt x="22115" y="14821"/>
                  </a:cubicBezTo>
                  <a:cubicBezTo>
                    <a:pt x="22586" y="14788"/>
                    <a:pt x="23023" y="14754"/>
                    <a:pt x="23493" y="14721"/>
                  </a:cubicBezTo>
                  <a:cubicBezTo>
                    <a:pt x="23695" y="14721"/>
                    <a:pt x="23863" y="14721"/>
                    <a:pt x="24064" y="14687"/>
                  </a:cubicBezTo>
                  <a:cubicBezTo>
                    <a:pt x="24098" y="14687"/>
                    <a:pt x="24165" y="14687"/>
                    <a:pt x="24232" y="14653"/>
                  </a:cubicBezTo>
                  <a:cubicBezTo>
                    <a:pt x="25005" y="14586"/>
                    <a:pt x="25778" y="14485"/>
                    <a:pt x="26551" y="14351"/>
                  </a:cubicBezTo>
                  <a:cubicBezTo>
                    <a:pt x="26585" y="14317"/>
                    <a:pt x="26619" y="14317"/>
                    <a:pt x="26652" y="14317"/>
                  </a:cubicBezTo>
                  <a:cubicBezTo>
                    <a:pt x="26888" y="14284"/>
                    <a:pt x="27089" y="14216"/>
                    <a:pt x="27324" y="14183"/>
                  </a:cubicBezTo>
                  <a:cubicBezTo>
                    <a:pt x="27694" y="14116"/>
                    <a:pt x="28097" y="14048"/>
                    <a:pt x="28467" y="13948"/>
                  </a:cubicBezTo>
                  <a:cubicBezTo>
                    <a:pt x="28736" y="13880"/>
                    <a:pt x="29005" y="13813"/>
                    <a:pt x="29274" y="13712"/>
                  </a:cubicBezTo>
                  <a:cubicBezTo>
                    <a:pt x="29610" y="13612"/>
                    <a:pt x="29980" y="13544"/>
                    <a:pt x="30316" y="13410"/>
                  </a:cubicBezTo>
                  <a:cubicBezTo>
                    <a:pt x="30383" y="13410"/>
                    <a:pt x="30450" y="13376"/>
                    <a:pt x="30551" y="13343"/>
                  </a:cubicBezTo>
                  <a:cubicBezTo>
                    <a:pt x="30652" y="13309"/>
                    <a:pt x="30786" y="13275"/>
                    <a:pt x="30921" y="13208"/>
                  </a:cubicBezTo>
                  <a:cubicBezTo>
                    <a:pt x="31458" y="13040"/>
                    <a:pt x="31996" y="12839"/>
                    <a:pt x="32500" y="12603"/>
                  </a:cubicBezTo>
                  <a:cubicBezTo>
                    <a:pt x="32702" y="12536"/>
                    <a:pt x="32903" y="12435"/>
                    <a:pt x="33105" y="12368"/>
                  </a:cubicBezTo>
                  <a:cubicBezTo>
                    <a:pt x="33777" y="12066"/>
                    <a:pt x="34416" y="11729"/>
                    <a:pt x="35021" y="11393"/>
                  </a:cubicBezTo>
                  <a:cubicBezTo>
                    <a:pt x="35122" y="11326"/>
                    <a:pt x="35189" y="11293"/>
                    <a:pt x="35290" y="11225"/>
                  </a:cubicBezTo>
                  <a:cubicBezTo>
                    <a:pt x="35458" y="11124"/>
                    <a:pt x="35626" y="10990"/>
                    <a:pt x="35794" y="10889"/>
                  </a:cubicBezTo>
                  <a:cubicBezTo>
                    <a:pt x="36063" y="10721"/>
                    <a:pt x="36332" y="10553"/>
                    <a:pt x="36533" y="10385"/>
                  </a:cubicBezTo>
                  <a:cubicBezTo>
                    <a:pt x="36735" y="10251"/>
                    <a:pt x="36936" y="10083"/>
                    <a:pt x="37105" y="9948"/>
                  </a:cubicBezTo>
                  <a:cubicBezTo>
                    <a:pt x="37340" y="9780"/>
                    <a:pt x="37541" y="9579"/>
                    <a:pt x="37743" y="9410"/>
                  </a:cubicBezTo>
                  <a:cubicBezTo>
                    <a:pt x="37777" y="9377"/>
                    <a:pt x="37844" y="9343"/>
                    <a:pt x="37878" y="9310"/>
                  </a:cubicBezTo>
                  <a:cubicBezTo>
                    <a:pt x="38146" y="9074"/>
                    <a:pt x="38382" y="8806"/>
                    <a:pt x="38617" y="8570"/>
                  </a:cubicBezTo>
                  <a:cubicBezTo>
                    <a:pt x="38651" y="8503"/>
                    <a:pt x="38684" y="8469"/>
                    <a:pt x="38751" y="8402"/>
                  </a:cubicBezTo>
                  <a:cubicBezTo>
                    <a:pt x="38886" y="8268"/>
                    <a:pt x="39020" y="8100"/>
                    <a:pt x="39155" y="7932"/>
                  </a:cubicBezTo>
                  <a:cubicBezTo>
                    <a:pt x="39188" y="7864"/>
                    <a:pt x="39222" y="7797"/>
                    <a:pt x="39289" y="7730"/>
                  </a:cubicBezTo>
                  <a:cubicBezTo>
                    <a:pt x="39457" y="7495"/>
                    <a:pt x="39625" y="7260"/>
                    <a:pt x="39760" y="7024"/>
                  </a:cubicBezTo>
                  <a:cubicBezTo>
                    <a:pt x="39827" y="6923"/>
                    <a:pt x="39894" y="6823"/>
                    <a:pt x="39961" y="6722"/>
                  </a:cubicBezTo>
                  <a:cubicBezTo>
                    <a:pt x="39995" y="6655"/>
                    <a:pt x="40028" y="6621"/>
                    <a:pt x="40028" y="6554"/>
                  </a:cubicBezTo>
                  <a:cubicBezTo>
                    <a:pt x="40163" y="6352"/>
                    <a:pt x="40230" y="6150"/>
                    <a:pt x="40331" y="5915"/>
                  </a:cubicBezTo>
                  <a:cubicBezTo>
                    <a:pt x="40398" y="5814"/>
                    <a:pt x="40465" y="5680"/>
                    <a:pt x="40499" y="5545"/>
                  </a:cubicBezTo>
                  <a:cubicBezTo>
                    <a:pt x="40533" y="5512"/>
                    <a:pt x="40533" y="5478"/>
                    <a:pt x="40566" y="5411"/>
                  </a:cubicBezTo>
                  <a:cubicBezTo>
                    <a:pt x="40633" y="5209"/>
                    <a:pt x="40667" y="5008"/>
                    <a:pt x="40734" y="4806"/>
                  </a:cubicBezTo>
                  <a:cubicBezTo>
                    <a:pt x="40768" y="4672"/>
                    <a:pt x="40835" y="4537"/>
                    <a:pt x="40835" y="4403"/>
                  </a:cubicBezTo>
                  <a:cubicBezTo>
                    <a:pt x="40869" y="4369"/>
                    <a:pt x="40835" y="4336"/>
                    <a:pt x="40869" y="4302"/>
                  </a:cubicBezTo>
                  <a:cubicBezTo>
                    <a:pt x="40902" y="4067"/>
                    <a:pt x="40902" y="3865"/>
                    <a:pt x="40936" y="3663"/>
                  </a:cubicBezTo>
                  <a:cubicBezTo>
                    <a:pt x="40936" y="3495"/>
                    <a:pt x="40970" y="3361"/>
                    <a:pt x="40970" y="3226"/>
                  </a:cubicBezTo>
                  <a:cubicBezTo>
                    <a:pt x="40970" y="3159"/>
                    <a:pt x="40970" y="3092"/>
                    <a:pt x="40970" y="3058"/>
                  </a:cubicBezTo>
                  <a:lnTo>
                    <a:pt x="41003" y="143"/>
                  </a:lnTo>
                  <a:lnTo>
                    <a:pt x="41003" y="143"/>
                  </a:lnTo>
                  <a:cubicBezTo>
                    <a:pt x="40998" y="331"/>
                    <a:pt x="40967" y="518"/>
                    <a:pt x="40936" y="706"/>
                  </a:cubicBezTo>
                  <a:cubicBezTo>
                    <a:pt x="40902" y="907"/>
                    <a:pt x="40902" y="1143"/>
                    <a:pt x="40869" y="1344"/>
                  </a:cubicBezTo>
                  <a:cubicBezTo>
                    <a:pt x="40835" y="1512"/>
                    <a:pt x="40768" y="1680"/>
                    <a:pt x="40734" y="1882"/>
                  </a:cubicBezTo>
                  <a:cubicBezTo>
                    <a:pt x="40667" y="2084"/>
                    <a:pt x="40633" y="2285"/>
                    <a:pt x="40566" y="2487"/>
                  </a:cubicBezTo>
                  <a:cubicBezTo>
                    <a:pt x="40499" y="2655"/>
                    <a:pt x="40432" y="2823"/>
                    <a:pt x="40331" y="2991"/>
                  </a:cubicBezTo>
                  <a:cubicBezTo>
                    <a:pt x="40264" y="3193"/>
                    <a:pt x="40163" y="3428"/>
                    <a:pt x="40062" y="3630"/>
                  </a:cubicBezTo>
                  <a:cubicBezTo>
                    <a:pt x="39961" y="3764"/>
                    <a:pt x="39860" y="3932"/>
                    <a:pt x="39760" y="4067"/>
                  </a:cubicBezTo>
                  <a:cubicBezTo>
                    <a:pt x="39625" y="4302"/>
                    <a:pt x="39457" y="4571"/>
                    <a:pt x="39289" y="4806"/>
                  </a:cubicBezTo>
                  <a:cubicBezTo>
                    <a:pt x="39121" y="5008"/>
                    <a:pt x="38953" y="5243"/>
                    <a:pt x="38751" y="5478"/>
                  </a:cubicBezTo>
                  <a:cubicBezTo>
                    <a:pt x="38718" y="5512"/>
                    <a:pt x="38651" y="5579"/>
                    <a:pt x="38617" y="5646"/>
                  </a:cubicBezTo>
                  <a:cubicBezTo>
                    <a:pt x="38348" y="5915"/>
                    <a:pt x="38046" y="6184"/>
                    <a:pt x="37743" y="6487"/>
                  </a:cubicBezTo>
                  <a:cubicBezTo>
                    <a:pt x="37541" y="6655"/>
                    <a:pt x="37340" y="6823"/>
                    <a:pt x="37138" y="6991"/>
                  </a:cubicBezTo>
                  <a:cubicBezTo>
                    <a:pt x="36936" y="7159"/>
                    <a:pt x="36768" y="7293"/>
                    <a:pt x="36567" y="7461"/>
                  </a:cubicBezTo>
                  <a:cubicBezTo>
                    <a:pt x="36332" y="7629"/>
                    <a:pt x="36063" y="7764"/>
                    <a:pt x="35827" y="7932"/>
                  </a:cubicBezTo>
                  <a:cubicBezTo>
                    <a:pt x="35559" y="8100"/>
                    <a:pt x="35323" y="8268"/>
                    <a:pt x="35021" y="8436"/>
                  </a:cubicBezTo>
                  <a:cubicBezTo>
                    <a:pt x="34416" y="8806"/>
                    <a:pt x="33777" y="9108"/>
                    <a:pt x="33105" y="9410"/>
                  </a:cubicBezTo>
                  <a:cubicBezTo>
                    <a:pt x="32903" y="9511"/>
                    <a:pt x="32702" y="9579"/>
                    <a:pt x="32534" y="9679"/>
                  </a:cubicBezTo>
                  <a:cubicBezTo>
                    <a:pt x="31996" y="9881"/>
                    <a:pt x="31458" y="10083"/>
                    <a:pt x="30921" y="10284"/>
                  </a:cubicBezTo>
                  <a:cubicBezTo>
                    <a:pt x="30719" y="10352"/>
                    <a:pt x="30517" y="10419"/>
                    <a:pt x="30316" y="10486"/>
                  </a:cubicBezTo>
                  <a:cubicBezTo>
                    <a:pt x="29980" y="10587"/>
                    <a:pt x="29610" y="10688"/>
                    <a:pt x="29274" y="10788"/>
                  </a:cubicBezTo>
                  <a:cubicBezTo>
                    <a:pt x="29005" y="10856"/>
                    <a:pt x="28736" y="10923"/>
                    <a:pt x="28467" y="10990"/>
                  </a:cubicBezTo>
                  <a:cubicBezTo>
                    <a:pt x="28097" y="11091"/>
                    <a:pt x="27694" y="11158"/>
                    <a:pt x="27324" y="11225"/>
                  </a:cubicBezTo>
                  <a:cubicBezTo>
                    <a:pt x="27056" y="11293"/>
                    <a:pt x="26820" y="11360"/>
                    <a:pt x="26551" y="11393"/>
                  </a:cubicBezTo>
                  <a:cubicBezTo>
                    <a:pt x="25778" y="11528"/>
                    <a:pt x="25005" y="11629"/>
                    <a:pt x="24232" y="11729"/>
                  </a:cubicBezTo>
                  <a:cubicBezTo>
                    <a:pt x="23997" y="11729"/>
                    <a:pt x="23728" y="11763"/>
                    <a:pt x="23493" y="11763"/>
                  </a:cubicBezTo>
                  <a:cubicBezTo>
                    <a:pt x="23023" y="11830"/>
                    <a:pt x="22586" y="11864"/>
                    <a:pt x="22115" y="11864"/>
                  </a:cubicBezTo>
                  <a:cubicBezTo>
                    <a:pt x="21813" y="11897"/>
                    <a:pt x="21510" y="11897"/>
                    <a:pt x="21241" y="11897"/>
                  </a:cubicBezTo>
                  <a:lnTo>
                    <a:pt x="20099" y="11897"/>
                  </a:lnTo>
                  <a:cubicBezTo>
                    <a:pt x="19796" y="11897"/>
                    <a:pt x="19460" y="11897"/>
                    <a:pt x="19158" y="11864"/>
                  </a:cubicBezTo>
                  <a:cubicBezTo>
                    <a:pt x="18821" y="11864"/>
                    <a:pt x="18452" y="11830"/>
                    <a:pt x="18116" y="11830"/>
                  </a:cubicBezTo>
                  <a:cubicBezTo>
                    <a:pt x="17813" y="11797"/>
                    <a:pt x="17477" y="11763"/>
                    <a:pt x="17175" y="11729"/>
                  </a:cubicBezTo>
                  <a:cubicBezTo>
                    <a:pt x="16839" y="11696"/>
                    <a:pt x="16502" y="11662"/>
                    <a:pt x="16166" y="11629"/>
                  </a:cubicBezTo>
                  <a:cubicBezTo>
                    <a:pt x="15830" y="11595"/>
                    <a:pt x="15528" y="11528"/>
                    <a:pt x="15225" y="11494"/>
                  </a:cubicBezTo>
                  <a:cubicBezTo>
                    <a:pt x="14856" y="11427"/>
                    <a:pt x="14520" y="11360"/>
                    <a:pt x="14150" y="11293"/>
                  </a:cubicBezTo>
                  <a:cubicBezTo>
                    <a:pt x="13881" y="11259"/>
                    <a:pt x="13579" y="11192"/>
                    <a:pt x="13310" y="11124"/>
                  </a:cubicBezTo>
                  <a:cubicBezTo>
                    <a:pt x="12873" y="11057"/>
                    <a:pt x="12436" y="10923"/>
                    <a:pt x="12033" y="10822"/>
                  </a:cubicBezTo>
                  <a:cubicBezTo>
                    <a:pt x="11797" y="10755"/>
                    <a:pt x="11562" y="10688"/>
                    <a:pt x="11327" y="10620"/>
                  </a:cubicBezTo>
                  <a:cubicBezTo>
                    <a:pt x="10587" y="10419"/>
                    <a:pt x="9848" y="10183"/>
                    <a:pt x="9142" y="9881"/>
                  </a:cubicBezTo>
                  <a:cubicBezTo>
                    <a:pt x="8772" y="9747"/>
                    <a:pt x="8436" y="9612"/>
                    <a:pt x="8100" y="9444"/>
                  </a:cubicBezTo>
                  <a:cubicBezTo>
                    <a:pt x="7932" y="9377"/>
                    <a:pt x="7731" y="9310"/>
                    <a:pt x="7563" y="9209"/>
                  </a:cubicBezTo>
                  <a:cubicBezTo>
                    <a:pt x="7058" y="8974"/>
                    <a:pt x="6554" y="8705"/>
                    <a:pt x="6050" y="8436"/>
                  </a:cubicBezTo>
                  <a:cubicBezTo>
                    <a:pt x="2017" y="6117"/>
                    <a:pt x="1" y="3025"/>
                    <a:pt x="1" y="0"/>
                  </a:cubicBezTo>
                  <a:close/>
                </a:path>
              </a:pathLst>
            </a:custGeom>
            <a:solidFill>
              <a:srgbClr val="2B155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77" name="Google Shape;2772;p49"/>
            <p:cNvSpPr/>
            <p:nvPr/>
          </p:nvSpPr>
          <p:spPr>
            <a:xfrm>
              <a:off x="-18500675" y="12090625"/>
              <a:ext cx="1125900" cy="593225"/>
            </a:xfrm>
            <a:custGeom>
              <a:avLst/>
              <a:gdLst/>
              <a:ahLst/>
              <a:cxnLst/>
              <a:rect l="l" t="t" r="r" b="b"/>
              <a:pathLst>
                <a:path w="45036" h="23729" extrusionOk="0">
                  <a:moveTo>
                    <a:pt x="22459" y="1"/>
                  </a:moveTo>
                  <a:cubicBezTo>
                    <a:pt x="17216" y="1"/>
                    <a:pt x="11982" y="1160"/>
                    <a:pt x="7999" y="3479"/>
                  </a:cubicBezTo>
                  <a:cubicBezTo>
                    <a:pt x="0" y="8117"/>
                    <a:pt x="67" y="15612"/>
                    <a:pt x="8066" y="20250"/>
                  </a:cubicBezTo>
                  <a:cubicBezTo>
                    <a:pt x="12082" y="22569"/>
                    <a:pt x="17334" y="23728"/>
                    <a:pt x="22577" y="23728"/>
                  </a:cubicBezTo>
                  <a:cubicBezTo>
                    <a:pt x="27820" y="23728"/>
                    <a:pt x="33054" y="22569"/>
                    <a:pt x="37037" y="20250"/>
                  </a:cubicBezTo>
                  <a:cubicBezTo>
                    <a:pt x="45036" y="15612"/>
                    <a:pt x="44968" y="8117"/>
                    <a:pt x="36970" y="3479"/>
                  </a:cubicBezTo>
                  <a:cubicBezTo>
                    <a:pt x="32953" y="1160"/>
                    <a:pt x="27702" y="1"/>
                    <a:pt x="22459" y="1"/>
                  </a:cubicBezTo>
                  <a:close/>
                </a:path>
              </a:pathLst>
            </a:custGeom>
            <a:solidFill>
              <a:srgbClr val="BA8BF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78" name="Google Shape;2773;p49"/>
            <p:cNvSpPr/>
            <p:nvPr/>
          </p:nvSpPr>
          <p:spPr>
            <a:xfrm>
              <a:off x="-18115025" y="11416350"/>
              <a:ext cx="354600" cy="1109950"/>
            </a:xfrm>
            <a:custGeom>
              <a:avLst/>
              <a:gdLst/>
              <a:ahLst/>
              <a:cxnLst/>
              <a:rect l="l" t="t" r="r" b="b"/>
              <a:pathLst>
                <a:path w="14184" h="44398" extrusionOk="0">
                  <a:moveTo>
                    <a:pt x="135" y="1"/>
                  </a:moveTo>
                  <a:lnTo>
                    <a:pt x="34" y="40331"/>
                  </a:lnTo>
                  <a:cubicBezTo>
                    <a:pt x="0" y="41373"/>
                    <a:pt x="706" y="42415"/>
                    <a:pt x="2084" y="43221"/>
                  </a:cubicBezTo>
                  <a:cubicBezTo>
                    <a:pt x="2387" y="43389"/>
                    <a:pt x="2723" y="43557"/>
                    <a:pt x="3092" y="43692"/>
                  </a:cubicBezTo>
                  <a:cubicBezTo>
                    <a:pt x="3126" y="43692"/>
                    <a:pt x="3126" y="43726"/>
                    <a:pt x="3160" y="43726"/>
                  </a:cubicBezTo>
                  <a:cubicBezTo>
                    <a:pt x="3227" y="43726"/>
                    <a:pt x="3261" y="43759"/>
                    <a:pt x="3328" y="43793"/>
                  </a:cubicBezTo>
                  <a:cubicBezTo>
                    <a:pt x="3529" y="43860"/>
                    <a:pt x="3731" y="43927"/>
                    <a:pt x="3966" y="43994"/>
                  </a:cubicBezTo>
                  <a:cubicBezTo>
                    <a:pt x="4067" y="44028"/>
                    <a:pt x="4168" y="44062"/>
                    <a:pt x="4302" y="44062"/>
                  </a:cubicBezTo>
                  <a:lnTo>
                    <a:pt x="4504" y="44129"/>
                  </a:lnTo>
                  <a:cubicBezTo>
                    <a:pt x="4571" y="44129"/>
                    <a:pt x="4605" y="44162"/>
                    <a:pt x="4672" y="44162"/>
                  </a:cubicBezTo>
                  <a:cubicBezTo>
                    <a:pt x="4907" y="44230"/>
                    <a:pt x="5143" y="44263"/>
                    <a:pt x="5378" y="44297"/>
                  </a:cubicBezTo>
                  <a:cubicBezTo>
                    <a:pt x="5479" y="44297"/>
                    <a:pt x="5546" y="44297"/>
                    <a:pt x="5647" y="44330"/>
                  </a:cubicBezTo>
                  <a:lnTo>
                    <a:pt x="5815" y="44330"/>
                  </a:lnTo>
                  <a:cubicBezTo>
                    <a:pt x="5882" y="44330"/>
                    <a:pt x="5983" y="44364"/>
                    <a:pt x="6050" y="44364"/>
                  </a:cubicBezTo>
                  <a:cubicBezTo>
                    <a:pt x="6285" y="44398"/>
                    <a:pt x="6521" y="44398"/>
                    <a:pt x="6756" y="44398"/>
                  </a:cubicBezTo>
                  <a:lnTo>
                    <a:pt x="7495" y="44398"/>
                  </a:lnTo>
                  <a:cubicBezTo>
                    <a:pt x="7730" y="44398"/>
                    <a:pt x="7999" y="44364"/>
                    <a:pt x="8268" y="44364"/>
                  </a:cubicBezTo>
                  <a:lnTo>
                    <a:pt x="8335" y="44330"/>
                  </a:lnTo>
                  <a:lnTo>
                    <a:pt x="8571" y="44330"/>
                  </a:lnTo>
                  <a:cubicBezTo>
                    <a:pt x="8772" y="44297"/>
                    <a:pt x="8974" y="44263"/>
                    <a:pt x="9142" y="44230"/>
                  </a:cubicBezTo>
                  <a:cubicBezTo>
                    <a:pt x="9243" y="44230"/>
                    <a:pt x="9310" y="44196"/>
                    <a:pt x="9411" y="44162"/>
                  </a:cubicBezTo>
                  <a:cubicBezTo>
                    <a:pt x="9646" y="44129"/>
                    <a:pt x="9881" y="44062"/>
                    <a:pt x="10117" y="43994"/>
                  </a:cubicBezTo>
                  <a:cubicBezTo>
                    <a:pt x="10251" y="43961"/>
                    <a:pt x="10352" y="43927"/>
                    <a:pt x="10486" y="43894"/>
                  </a:cubicBezTo>
                  <a:cubicBezTo>
                    <a:pt x="10554" y="43894"/>
                    <a:pt x="10587" y="43860"/>
                    <a:pt x="10654" y="43826"/>
                  </a:cubicBezTo>
                  <a:cubicBezTo>
                    <a:pt x="11125" y="43658"/>
                    <a:pt x="11595" y="43457"/>
                    <a:pt x="12032" y="43221"/>
                  </a:cubicBezTo>
                  <a:cubicBezTo>
                    <a:pt x="12066" y="43221"/>
                    <a:pt x="12100" y="43188"/>
                    <a:pt x="12100" y="43188"/>
                  </a:cubicBezTo>
                  <a:cubicBezTo>
                    <a:pt x="12234" y="43087"/>
                    <a:pt x="12335" y="42986"/>
                    <a:pt x="12469" y="42919"/>
                  </a:cubicBezTo>
                  <a:cubicBezTo>
                    <a:pt x="12637" y="42784"/>
                    <a:pt x="12805" y="42684"/>
                    <a:pt x="12940" y="42549"/>
                  </a:cubicBezTo>
                  <a:cubicBezTo>
                    <a:pt x="12973" y="42549"/>
                    <a:pt x="12973" y="42549"/>
                    <a:pt x="13007" y="42516"/>
                  </a:cubicBezTo>
                  <a:cubicBezTo>
                    <a:pt x="13175" y="42381"/>
                    <a:pt x="13309" y="42213"/>
                    <a:pt x="13444" y="42045"/>
                  </a:cubicBezTo>
                  <a:cubicBezTo>
                    <a:pt x="13478" y="42011"/>
                    <a:pt x="13478" y="41978"/>
                    <a:pt x="13511" y="41944"/>
                  </a:cubicBezTo>
                  <a:cubicBezTo>
                    <a:pt x="13545" y="41911"/>
                    <a:pt x="13545" y="41877"/>
                    <a:pt x="13578" y="41843"/>
                  </a:cubicBezTo>
                  <a:cubicBezTo>
                    <a:pt x="13646" y="41776"/>
                    <a:pt x="13679" y="41709"/>
                    <a:pt x="13713" y="41642"/>
                  </a:cubicBezTo>
                  <a:cubicBezTo>
                    <a:pt x="13780" y="41507"/>
                    <a:pt x="13847" y="41373"/>
                    <a:pt x="13914" y="41238"/>
                  </a:cubicBezTo>
                  <a:cubicBezTo>
                    <a:pt x="13914" y="41205"/>
                    <a:pt x="13914" y="41205"/>
                    <a:pt x="13914" y="41171"/>
                  </a:cubicBezTo>
                  <a:cubicBezTo>
                    <a:pt x="13914" y="41138"/>
                    <a:pt x="13948" y="41138"/>
                    <a:pt x="13948" y="41104"/>
                  </a:cubicBezTo>
                  <a:cubicBezTo>
                    <a:pt x="13948" y="41003"/>
                    <a:pt x="13982" y="40936"/>
                    <a:pt x="14015" y="40835"/>
                  </a:cubicBezTo>
                  <a:cubicBezTo>
                    <a:pt x="14049" y="40701"/>
                    <a:pt x="14049" y="40566"/>
                    <a:pt x="14049" y="40432"/>
                  </a:cubicBezTo>
                  <a:lnTo>
                    <a:pt x="14049" y="40365"/>
                  </a:lnTo>
                  <a:lnTo>
                    <a:pt x="14183" y="68"/>
                  </a:lnTo>
                  <a:lnTo>
                    <a:pt x="14183" y="68"/>
                  </a:lnTo>
                  <a:cubicBezTo>
                    <a:pt x="14150" y="303"/>
                    <a:pt x="14116" y="538"/>
                    <a:pt x="14049" y="774"/>
                  </a:cubicBezTo>
                  <a:cubicBezTo>
                    <a:pt x="14049" y="807"/>
                    <a:pt x="14015" y="807"/>
                    <a:pt x="14015" y="841"/>
                  </a:cubicBezTo>
                  <a:cubicBezTo>
                    <a:pt x="13948" y="1076"/>
                    <a:pt x="13814" y="1278"/>
                    <a:pt x="13679" y="1513"/>
                  </a:cubicBezTo>
                  <a:lnTo>
                    <a:pt x="13612" y="1614"/>
                  </a:lnTo>
                  <a:cubicBezTo>
                    <a:pt x="13444" y="1816"/>
                    <a:pt x="13276" y="2017"/>
                    <a:pt x="13041" y="2219"/>
                  </a:cubicBezTo>
                  <a:cubicBezTo>
                    <a:pt x="12906" y="2353"/>
                    <a:pt x="12738" y="2488"/>
                    <a:pt x="12570" y="2589"/>
                  </a:cubicBezTo>
                  <a:cubicBezTo>
                    <a:pt x="12402" y="2689"/>
                    <a:pt x="12301" y="2824"/>
                    <a:pt x="12133" y="2891"/>
                  </a:cubicBezTo>
                  <a:cubicBezTo>
                    <a:pt x="11696" y="3160"/>
                    <a:pt x="11226" y="3328"/>
                    <a:pt x="10755" y="3496"/>
                  </a:cubicBezTo>
                  <a:cubicBezTo>
                    <a:pt x="10554" y="3563"/>
                    <a:pt x="10386" y="3630"/>
                    <a:pt x="10217" y="3664"/>
                  </a:cubicBezTo>
                  <a:cubicBezTo>
                    <a:pt x="9982" y="3731"/>
                    <a:pt x="9747" y="3798"/>
                    <a:pt x="9512" y="3832"/>
                  </a:cubicBezTo>
                  <a:cubicBezTo>
                    <a:pt x="9209" y="3899"/>
                    <a:pt x="8940" y="3966"/>
                    <a:pt x="8671" y="4000"/>
                  </a:cubicBezTo>
                  <a:cubicBezTo>
                    <a:pt x="8571" y="4000"/>
                    <a:pt x="8503" y="4000"/>
                    <a:pt x="8436" y="4034"/>
                  </a:cubicBezTo>
                  <a:cubicBezTo>
                    <a:pt x="8067" y="4067"/>
                    <a:pt x="7663" y="4067"/>
                    <a:pt x="7260" y="4101"/>
                  </a:cubicBezTo>
                  <a:lnTo>
                    <a:pt x="7092" y="4101"/>
                  </a:lnTo>
                  <a:cubicBezTo>
                    <a:pt x="6689" y="4067"/>
                    <a:pt x="6285" y="4067"/>
                    <a:pt x="5916" y="4034"/>
                  </a:cubicBezTo>
                  <a:cubicBezTo>
                    <a:pt x="5848" y="4034"/>
                    <a:pt x="5781" y="4000"/>
                    <a:pt x="5748" y="4000"/>
                  </a:cubicBezTo>
                  <a:cubicBezTo>
                    <a:pt x="5344" y="3966"/>
                    <a:pt x="4975" y="3899"/>
                    <a:pt x="4605" y="3798"/>
                  </a:cubicBezTo>
                  <a:cubicBezTo>
                    <a:pt x="4538" y="3798"/>
                    <a:pt x="4470" y="3765"/>
                    <a:pt x="4403" y="3765"/>
                  </a:cubicBezTo>
                  <a:cubicBezTo>
                    <a:pt x="4067" y="3664"/>
                    <a:pt x="3765" y="3563"/>
                    <a:pt x="3429" y="3462"/>
                  </a:cubicBezTo>
                  <a:cubicBezTo>
                    <a:pt x="3395" y="3429"/>
                    <a:pt x="3328" y="3429"/>
                    <a:pt x="3261" y="3395"/>
                  </a:cubicBezTo>
                  <a:cubicBezTo>
                    <a:pt x="2891" y="3261"/>
                    <a:pt x="2521" y="3093"/>
                    <a:pt x="2185" y="2891"/>
                  </a:cubicBezTo>
                  <a:cubicBezTo>
                    <a:pt x="807" y="2084"/>
                    <a:pt x="135" y="1043"/>
                    <a:pt x="135" y="1"/>
                  </a:cubicBezTo>
                  <a:close/>
                </a:path>
              </a:pathLst>
            </a:custGeom>
            <a:solidFill>
              <a:srgbClr val="2B155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79" name="Google Shape;2774;p49"/>
            <p:cNvSpPr/>
            <p:nvPr/>
          </p:nvSpPr>
          <p:spPr>
            <a:xfrm>
              <a:off x="-18129300" y="11315325"/>
              <a:ext cx="385675" cy="203550"/>
            </a:xfrm>
            <a:custGeom>
              <a:avLst/>
              <a:gdLst/>
              <a:ahLst/>
              <a:cxnLst/>
              <a:rect l="l" t="t" r="r" b="b"/>
              <a:pathLst>
                <a:path w="15427" h="8142" extrusionOk="0">
                  <a:moveTo>
                    <a:pt x="7696" y="0"/>
                  </a:moveTo>
                  <a:cubicBezTo>
                    <a:pt x="5898" y="0"/>
                    <a:pt x="4100" y="395"/>
                    <a:pt x="2722" y="1185"/>
                  </a:cubicBezTo>
                  <a:cubicBezTo>
                    <a:pt x="0" y="2798"/>
                    <a:pt x="34" y="5352"/>
                    <a:pt x="2756" y="6932"/>
                  </a:cubicBezTo>
                  <a:cubicBezTo>
                    <a:pt x="4134" y="7739"/>
                    <a:pt x="5940" y="8142"/>
                    <a:pt x="7743" y="8142"/>
                  </a:cubicBezTo>
                  <a:cubicBezTo>
                    <a:pt x="9545" y="8142"/>
                    <a:pt x="11343" y="7739"/>
                    <a:pt x="12704" y="6932"/>
                  </a:cubicBezTo>
                  <a:cubicBezTo>
                    <a:pt x="15426" y="5352"/>
                    <a:pt x="15426" y="2798"/>
                    <a:pt x="12671" y="1185"/>
                  </a:cubicBezTo>
                  <a:cubicBezTo>
                    <a:pt x="11293" y="395"/>
                    <a:pt x="9495" y="0"/>
                    <a:pt x="7696" y="0"/>
                  </a:cubicBezTo>
                  <a:close/>
                </a:path>
              </a:pathLst>
            </a:custGeom>
            <a:solidFill>
              <a:srgbClr val="E0DD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80" name="Google Shape;2775;p49"/>
            <p:cNvSpPr/>
            <p:nvPr/>
          </p:nvSpPr>
          <p:spPr>
            <a:xfrm>
              <a:off x="-18038575" y="11136150"/>
              <a:ext cx="337800" cy="178350"/>
            </a:xfrm>
            <a:custGeom>
              <a:avLst/>
              <a:gdLst/>
              <a:ahLst/>
              <a:cxnLst/>
              <a:rect l="l" t="t" r="r" b="b"/>
              <a:pathLst>
                <a:path w="13512" h="7134" extrusionOk="0">
                  <a:moveTo>
                    <a:pt x="6727" y="0"/>
                  </a:moveTo>
                  <a:cubicBezTo>
                    <a:pt x="5151" y="0"/>
                    <a:pt x="3580" y="353"/>
                    <a:pt x="2387" y="1059"/>
                  </a:cubicBezTo>
                  <a:cubicBezTo>
                    <a:pt x="1" y="2437"/>
                    <a:pt x="1" y="4689"/>
                    <a:pt x="2421" y="6100"/>
                  </a:cubicBezTo>
                  <a:cubicBezTo>
                    <a:pt x="3614" y="6789"/>
                    <a:pt x="5193" y="7134"/>
                    <a:pt x="6773" y="7134"/>
                  </a:cubicBezTo>
                  <a:cubicBezTo>
                    <a:pt x="8353" y="7134"/>
                    <a:pt x="9932" y="6789"/>
                    <a:pt x="11125" y="6100"/>
                  </a:cubicBezTo>
                  <a:cubicBezTo>
                    <a:pt x="13512" y="4689"/>
                    <a:pt x="13512" y="2437"/>
                    <a:pt x="11092" y="1059"/>
                  </a:cubicBezTo>
                  <a:cubicBezTo>
                    <a:pt x="9882" y="353"/>
                    <a:pt x="8302" y="0"/>
                    <a:pt x="6727" y="0"/>
                  </a:cubicBezTo>
                  <a:close/>
                </a:path>
              </a:pathLst>
            </a:custGeom>
            <a:solidFill>
              <a:srgbClr val="E0DD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81" name="Google Shape;2776;p49"/>
            <p:cNvSpPr/>
            <p:nvPr/>
          </p:nvSpPr>
          <p:spPr>
            <a:xfrm>
              <a:off x="-20586950" y="10874425"/>
              <a:ext cx="973000" cy="1228400"/>
            </a:xfrm>
            <a:custGeom>
              <a:avLst/>
              <a:gdLst/>
              <a:ahLst/>
              <a:cxnLst/>
              <a:rect l="l" t="t" r="r" b="b"/>
              <a:pathLst>
                <a:path w="38920" h="49136" extrusionOk="0">
                  <a:moveTo>
                    <a:pt x="68" y="0"/>
                  </a:moveTo>
                  <a:lnTo>
                    <a:pt x="1" y="26685"/>
                  </a:lnTo>
                  <a:lnTo>
                    <a:pt x="38920" y="49136"/>
                  </a:lnTo>
                  <a:cubicBezTo>
                    <a:pt x="27392" y="25744"/>
                    <a:pt x="10823" y="9142"/>
                    <a:pt x="68"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82" name="Google Shape;2777;p49"/>
            <p:cNvSpPr/>
            <p:nvPr/>
          </p:nvSpPr>
          <p:spPr>
            <a:xfrm>
              <a:off x="-20853300" y="10024125"/>
              <a:ext cx="3813775" cy="2969350"/>
            </a:xfrm>
            <a:custGeom>
              <a:avLst/>
              <a:gdLst/>
              <a:ahLst/>
              <a:cxnLst/>
              <a:rect l="l" t="t" r="r" b="b"/>
              <a:pathLst>
                <a:path w="152551" h="118774" extrusionOk="0">
                  <a:moveTo>
                    <a:pt x="106708" y="0"/>
                  </a:moveTo>
                  <a:cubicBezTo>
                    <a:pt x="88829" y="6957"/>
                    <a:pt x="59690" y="18014"/>
                    <a:pt x="42852" y="23156"/>
                  </a:cubicBezTo>
                  <a:cubicBezTo>
                    <a:pt x="29409" y="27290"/>
                    <a:pt x="18284" y="27794"/>
                    <a:pt x="10756" y="27358"/>
                  </a:cubicBezTo>
                  <a:cubicBezTo>
                    <a:pt x="3900" y="26954"/>
                    <a:pt x="1" y="25778"/>
                    <a:pt x="1" y="25778"/>
                  </a:cubicBezTo>
                  <a:cubicBezTo>
                    <a:pt x="1" y="25778"/>
                    <a:pt x="4336" y="28567"/>
                    <a:pt x="10756" y="34012"/>
                  </a:cubicBezTo>
                  <a:cubicBezTo>
                    <a:pt x="21477" y="43154"/>
                    <a:pt x="38046" y="59756"/>
                    <a:pt x="49574" y="83148"/>
                  </a:cubicBezTo>
                  <a:cubicBezTo>
                    <a:pt x="54783" y="93667"/>
                    <a:pt x="58950" y="105565"/>
                    <a:pt x="61135" y="118773"/>
                  </a:cubicBezTo>
                  <a:cubicBezTo>
                    <a:pt x="61135" y="118773"/>
                    <a:pt x="67622" y="110841"/>
                    <a:pt x="77906" y="99482"/>
                  </a:cubicBezTo>
                  <a:cubicBezTo>
                    <a:pt x="93198" y="82610"/>
                    <a:pt x="116892" y="58109"/>
                    <a:pt x="140014" y="40935"/>
                  </a:cubicBezTo>
                  <a:lnTo>
                    <a:pt x="148383" y="33609"/>
                  </a:lnTo>
                  <a:cubicBezTo>
                    <a:pt x="150164" y="31391"/>
                    <a:pt x="151542" y="28971"/>
                    <a:pt x="152550" y="26450"/>
                  </a:cubicBezTo>
                  <a:close/>
                </a:path>
              </a:pathLst>
            </a:custGeom>
            <a:solidFill>
              <a:srgbClr val="BF4CA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83" name="Google Shape;2778;p49"/>
            <p:cNvSpPr/>
            <p:nvPr/>
          </p:nvSpPr>
          <p:spPr>
            <a:xfrm>
              <a:off x="-21049900" y="10519850"/>
              <a:ext cx="1993025" cy="2920600"/>
            </a:xfrm>
            <a:custGeom>
              <a:avLst/>
              <a:gdLst/>
              <a:ahLst/>
              <a:cxnLst/>
              <a:rect l="l" t="t" r="r" b="b"/>
              <a:pathLst>
                <a:path w="79721" h="116824" extrusionOk="0">
                  <a:moveTo>
                    <a:pt x="39995" y="12671"/>
                  </a:moveTo>
                  <a:cubicBezTo>
                    <a:pt x="61975" y="25375"/>
                    <a:pt x="79720" y="56127"/>
                    <a:pt x="79653" y="81367"/>
                  </a:cubicBezTo>
                  <a:cubicBezTo>
                    <a:pt x="79586" y="106607"/>
                    <a:pt x="61740" y="116824"/>
                    <a:pt x="39760" y="104120"/>
                  </a:cubicBezTo>
                  <a:cubicBezTo>
                    <a:pt x="17780" y="91416"/>
                    <a:pt x="1" y="60664"/>
                    <a:pt x="101" y="35424"/>
                  </a:cubicBezTo>
                  <a:cubicBezTo>
                    <a:pt x="169" y="10150"/>
                    <a:pt x="18015" y="0"/>
                    <a:pt x="39995" y="12671"/>
                  </a:cubicBezTo>
                  <a:close/>
                </a:path>
              </a:pathLst>
            </a:custGeom>
            <a:solidFill>
              <a:srgbClr val="BF4CA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84" name="Google Shape;2779;p49"/>
            <p:cNvSpPr/>
            <p:nvPr/>
          </p:nvSpPr>
          <p:spPr>
            <a:xfrm>
              <a:off x="-20466800" y="11234975"/>
              <a:ext cx="1272125" cy="1155950"/>
            </a:xfrm>
            <a:custGeom>
              <a:avLst/>
              <a:gdLst/>
              <a:ahLst/>
              <a:cxnLst/>
              <a:rect l="l" t="t" r="r" b="b"/>
              <a:pathLst>
                <a:path w="50885" h="46238" extrusionOk="0">
                  <a:moveTo>
                    <a:pt x="25416" y="0"/>
                  </a:moveTo>
                  <a:cubicBezTo>
                    <a:pt x="14968" y="0"/>
                    <a:pt x="5487" y="7143"/>
                    <a:pt x="2959" y="17775"/>
                  </a:cubicBezTo>
                  <a:cubicBezTo>
                    <a:pt x="1" y="30177"/>
                    <a:pt x="7697" y="42646"/>
                    <a:pt x="20099" y="45603"/>
                  </a:cubicBezTo>
                  <a:cubicBezTo>
                    <a:pt x="21902" y="46032"/>
                    <a:pt x="23706" y="46238"/>
                    <a:pt x="25480" y="46238"/>
                  </a:cubicBezTo>
                  <a:cubicBezTo>
                    <a:pt x="35942" y="46238"/>
                    <a:pt x="45398" y="39094"/>
                    <a:pt x="47927" y="28463"/>
                  </a:cubicBezTo>
                  <a:cubicBezTo>
                    <a:pt x="50884" y="16061"/>
                    <a:pt x="43222" y="3592"/>
                    <a:pt x="30786" y="635"/>
                  </a:cubicBezTo>
                  <a:cubicBezTo>
                    <a:pt x="28988" y="206"/>
                    <a:pt x="27188" y="0"/>
                    <a:pt x="25416" y="0"/>
                  </a:cubicBezTo>
                  <a:close/>
                </a:path>
              </a:pathLst>
            </a:custGeom>
            <a:solidFill>
              <a:srgbClr val="240D4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85" name="Google Shape;2780;p49"/>
            <p:cNvSpPr/>
            <p:nvPr/>
          </p:nvSpPr>
          <p:spPr>
            <a:xfrm>
              <a:off x="-21212900" y="10764350"/>
              <a:ext cx="1841775" cy="2492100"/>
            </a:xfrm>
            <a:custGeom>
              <a:avLst/>
              <a:gdLst/>
              <a:ahLst/>
              <a:cxnLst/>
              <a:rect l="l" t="t" r="r" b="b"/>
              <a:pathLst>
                <a:path w="73671" h="99684" extrusionOk="0">
                  <a:moveTo>
                    <a:pt x="73671" y="91718"/>
                  </a:moveTo>
                  <a:lnTo>
                    <a:pt x="72655" y="92307"/>
                  </a:lnTo>
                  <a:lnTo>
                    <a:pt x="72655" y="92307"/>
                  </a:lnTo>
                  <a:cubicBezTo>
                    <a:pt x="72993" y="92136"/>
                    <a:pt x="73332" y="91936"/>
                    <a:pt x="73671" y="91718"/>
                  </a:cubicBezTo>
                  <a:close/>
                  <a:moveTo>
                    <a:pt x="20334" y="0"/>
                  </a:moveTo>
                  <a:lnTo>
                    <a:pt x="10991" y="5445"/>
                  </a:lnTo>
                  <a:cubicBezTo>
                    <a:pt x="10419" y="5781"/>
                    <a:pt x="9881" y="6151"/>
                    <a:pt x="9344" y="6554"/>
                  </a:cubicBezTo>
                  <a:cubicBezTo>
                    <a:pt x="9209" y="6655"/>
                    <a:pt x="9075" y="6756"/>
                    <a:pt x="8940" y="6856"/>
                  </a:cubicBezTo>
                  <a:cubicBezTo>
                    <a:pt x="8436" y="7260"/>
                    <a:pt x="7932" y="7697"/>
                    <a:pt x="7428" y="8167"/>
                  </a:cubicBezTo>
                  <a:cubicBezTo>
                    <a:pt x="7394" y="8201"/>
                    <a:pt x="7361" y="8234"/>
                    <a:pt x="7327" y="8268"/>
                  </a:cubicBezTo>
                  <a:cubicBezTo>
                    <a:pt x="6890" y="8705"/>
                    <a:pt x="6453" y="9175"/>
                    <a:pt x="6016" y="9680"/>
                  </a:cubicBezTo>
                  <a:cubicBezTo>
                    <a:pt x="5916" y="9814"/>
                    <a:pt x="5815" y="9948"/>
                    <a:pt x="5714" y="10083"/>
                  </a:cubicBezTo>
                  <a:cubicBezTo>
                    <a:pt x="5277" y="10621"/>
                    <a:pt x="4874" y="11192"/>
                    <a:pt x="4504" y="11763"/>
                  </a:cubicBezTo>
                  <a:cubicBezTo>
                    <a:pt x="4470" y="11797"/>
                    <a:pt x="4470" y="11831"/>
                    <a:pt x="4470" y="11831"/>
                  </a:cubicBezTo>
                  <a:cubicBezTo>
                    <a:pt x="4235" y="12200"/>
                    <a:pt x="4000" y="12570"/>
                    <a:pt x="3798" y="12940"/>
                  </a:cubicBezTo>
                  <a:cubicBezTo>
                    <a:pt x="3765" y="12973"/>
                    <a:pt x="3731" y="13007"/>
                    <a:pt x="3731" y="13074"/>
                  </a:cubicBezTo>
                  <a:cubicBezTo>
                    <a:pt x="3496" y="13511"/>
                    <a:pt x="3261" y="13948"/>
                    <a:pt x="3025" y="14418"/>
                  </a:cubicBezTo>
                  <a:cubicBezTo>
                    <a:pt x="3025" y="14418"/>
                    <a:pt x="3025" y="14452"/>
                    <a:pt x="3025" y="14452"/>
                  </a:cubicBezTo>
                  <a:cubicBezTo>
                    <a:pt x="2723" y="15091"/>
                    <a:pt x="2454" y="15729"/>
                    <a:pt x="2219" y="16368"/>
                  </a:cubicBezTo>
                  <a:cubicBezTo>
                    <a:pt x="2185" y="16435"/>
                    <a:pt x="2151" y="16469"/>
                    <a:pt x="2118" y="16536"/>
                  </a:cubicBezTo>
                  <a:cubicBezTo>
                    <a:pt x="2084" y="16704"/>
                    <a:pt x="2017" y="16872"/>
                    <a:pt x="1983" y="17006"/>
                  </a:cubicBezTo>
                  <a:cubicBezTo>
                    <a:pt x="1849" y="17410"/>
                    <a:pt x="1715" y="17779"/>
                    <a:pt x="1580" y="18183"/>
                  </a:cubicBezTo>
                  <a:cubicBezTo>
                    <a:pt x="1546" y="18317"/>
                    <a:pt x="1513" y="18418"/>
                    <a:pt x="1479" y="18519"/>
                  </a:cubicBezTo>
                  <a:cubicBezTo>
                    <a:pt x="1446" y="18687"/>
                    <a:pt x="1378" y="18821"/>
                    <a:pt x="1345" y="18989"/>
                  </a:cubicBezTo>
                  <a:cubicBezTo>
                    <a:pt x="1244" y="19325"/>
                    <a:pt x="1177" y="19661"/>
                    <a:pt x="1076" y="19997"/>
                  </a:cubicBezTo>
                  <a:cubicBezTo>
                    <a:pt x="1042" y="20166"/>
                    <a:pt x="1009" y="20300"/>
                    <a:pt x="975" y="20434"/>
                  </a:cubicBezTo>
                  <a:cubicBezTo>
                    <a:pt x="942" y="20602"/>
                    <a:pt x="908" y="20737"/>
                    <a:pt x="874" y="20905"/>
                  </a:cubicBezTo>
                  <a:cubicBezTo>
                    <a:pt x="807" y="21207"/>
                    <a:pt x="740" y="21510"/>
                    <a:pt x="706" y="21812"/>
                  </a:cubicBezTo>
                  <a:cubicBezTo>
                    <a:pt x="673" y="21947"/>
                    <a:pt x="639" y="22115"/>
                    <a:pt x="605" y="22283"/>
                  </a:cubicBezTo>
                  <a:cubicBezTo>
                    <a:pt x="572" y="22451"/>
                    <a:pt x="538" y="22619"/>
                    <a:pt x="505" y="22821"/>
                  </a:cubicBezTo>
                  <a:cubicBezTo>
                    <a:pt x="471" y="23089"/>
                    <a:pt x="437" y="23358"/>
                    <a:pt x="404" y="23627"/>
                  </a:cubicBezTo>
                  <a:cubicBezTo>
                    <a:pt x="370" y="23795"/>
                    <a:pt x="337" y="23930"/>
                    <a:pt x="337" y="24064"/>
                  </a:cubicBezTo>
                  <a:cubicBezTo>
                    <a:pt x="303" y="24299"/>
                    <a:pt x="269" y="24535"/>
                    <a:pt x="269" y="24770"/>
                  </a:cubicBezTo>
                  <a:cubicBezTo>
                    <a:pt x="236" y="25039"/>
                    <a:pt x="202" y="25274"/>
                    <a:pt x="169" y="25543"/>
                  </a:cubicBezTo>
                  <a:cubicBezTo>
                    <a:pt x="169" y="25677"/>
                    <a:pt x="135" y="25778"/>
                    <a:pt x="135" y="25879"/>
                  </a:cubicBezTo>
                  <a:cubicBezTo>
                    <a:pt x="101" y="26215"/>
                    <a:pt x="101" y="26585"/>
                    <a:pt x="68" y="26921"/>
                  </a:cubicBezTo>
                  <a:cubicBezTo>
                    <a:pt x="68" y="27123"/>
                    <a:pt x="34" y="27291"/>
                    <a:pt x="34" y="27492"/>
                  </a:cubicBezTo>
                  <a:cubicBezTo>
                    <a:pt x="34" y="27559"/>
                    <a:pt x="34" y="27593"/>
                    <a:pt x="34" y="27627"/>
                  </a:cubicBezTo>
                  <a:cubicBezTo>
                    <a:pt x="0" y="28232"/>
                    <a:pt x="0" y="28837"/>
                    <a:pt x="0" y="29442"/>
                  </a:cubicBezTo>
                  <a:lnTo>
                    <a:pt x="0" y="29542"/>
                  </a:lnTo>
                  <a:cubicBezTo>
                    <a:pt x="0" y="30114"/>
                    <a:pt x="0" y="30685"/>
                    <a:pt x="0" y="31256"/>
                  </a:cubicBezTo>
                  <a:cubicBezTo>
                    <a:pt x="0" y="31357"/>
                    <a:pt x="34" y="31458"/>
                    <a:pt x="34" y="31559"/>
                  </a:cubicBezTo>
                  <a:cubicBezTo>
                    <a:pt x="34" y="31794"/>
                    <a:pt x="34" y="32029"/>
                    <a:pt x="68" y="32265"/>
                  </a:cubicBezTo>
                  <a:cubicBezTo>
                    <a:pt x="68" y="32534"/>
                    <a:pt x="68" y="32802"/>
                    <a:pt x="101" y="33071"/>
                  </a:cubicBezTo>
                  <a:cubicBezTo>
                    <a:pt x="101" y="33273"/>
                    <a:pt x="135" y="33475"/>
                    <a:pt x="135" y="33676"/>
                  </a:cubicBezTo>
                  <a:cubicBezTo>
                    <a:pt x="169" y="33945"/>
                    <a:pt x="202" y="34180"/>
                    <a:pt x="202" y="34416"/>
                  </a:cubicBezTo>
                  <a:cubicBezTo>
                    <a:pt x="236" y="34550"/>
                    <a:pt x="236" y="34718"/>
                    <a:pt x="236" y="34886"/>
                  </a:cubicBezTo>
                  <a:cubicBezTo>
                    <a:pt x="269" y="35222"/>
                    <a:pt x="337" y="35592"/>
                    <a:pt x="370" y="35962"/>
                  </a:cubicBezTo>
                  <a:cubicBezTo>
                    <a:pt x="370" y="36130"/>
                    <a:pt x="404" y="36331"/>
                    <a:pt x="437" y="36533"/>
                  </a:cubicBezTo>
                  <a:cubicBezTo>
                    <a:pt x="437" y="36600"/>
                    <a:pt x="437" y="36667"/>
                    <a:pt x="437" y="36701"/>
                  </a:cubicBezTo>
                  <a:cubicBezTo>
                    <a:pt x="538" y="37340"/>
                    <a:pt x="605" y="37978"/>
                    <a:pt x="706" y="38617"/>
                  </a:cubicBezTo>
                  <a:cubicBezTo>
                    <a:pt x="740" y="38617"/>
                    <a:pt x="740" y="38650"/>
                    <a:pt x="740" y="38650"/>
                  </a:cubicBezTo>
                  <a:cubicBezTo>
                    <a:pt x="740" y="38751"/>
                    <a:pt x="773" y="38886"/>
                    <a:pt x="773" y="38986"/>
                  </a:cubicBezTo>
                  <a:cubicBezTo>
                    <a:pt x="874" y="39490"/>
                    <a:pt x="942" y="39995"/>
                    <a:pt x="1042" y="40499"/>
                  </a:cubicBezTo>
                  <a:lnTo>
                    <a:pt x="1110" y="40801"/>
                  </a:lnTo>
                  <a:cubicBezTo>
                    <a:pt x="1177" y="41036"/>
                    <a:pt x="1210" y="41305"/>
                    <a:pt x="1278" y="41541"/>
                  </a:cubicBezTo>
                  <a:cubicBezTo>
                    <a:pt x="1345" y="41843"/>
                    <a:pt x="1378" y="42146"/>
                    <a:pt x="1446" y="42448"/>
                  </a:cubicBezTo>
                  <a:cubicBezTo>
                    <a:pt x="1479" y="42616"/>
                    <a:pt x="1546" y="42818"/>
                    <a:pt x="1580" y="42986"/>
                  </a:cubicBezTo>
                  <a:cubicBezTo>
                    <a:pt x="1647" y="43255"/>
                    <a:pt x="1715" y="43524"/>
                    <a:pt x="1782" y="43826"/>
                  </a:cubicBezTo>
                  <a:cubicBezTo>
                    <a:pt x="1815" y="44028"/>
                    <a:pt x="1849" y="44229"/>
                    <a:pt x="1916" y="44431"/>
                  </a:cubicBezTo>
                  <a:cubicBezTo>
                    <a:pt x="1983" y="44700"/>
                    <a:pt x="2051" y="44935"/>
                    <a:pt x="2118" y="45204"/>
                  </a:cubicBezTo>
                  <a:cubicBezTo>
                    <a:pt x="2185" y="45473"/>
                    <a:pt x="2252" y="45775"/>
                    <a:pt x="2319" y="46044"/>
                  </a:cubicBezTo>
                  <a:cubicBezTo>
                    <a:pt x="2353" y="46179"/>
                    <a:pt x="2387" y="46279"/>
                    <a:pt x="2420" y="46414"/>
                  </a:cubicBezTo>
                  <a:cubicBezTo>
                    <a:pt x="2521" y="46784"/>
                    <a:pt x="2656" y="47187"/>
                    <a:pt x="2756" y="47557"/>
                  </a:cubicBezTo>
                  <a:cubicBezTo>
                    <a:pt x="2824" y="47792"/>
                    <a:pt x="2891" y="47993"/>
                    <a:pt x="2958" y="48229"/>
                  </a:cubicBezTo>
                  <a:cubicBezTo>
                    <a:pt x="2958" y="48296"/>
                    <a:pt x="2992" y="48363"/>
                    <a:pt x="3025" y="48397"/>
                  </a:cubicBezTo>
                  <a:cubicBezTo>
                    <a:pt x="3193" y="49069"/>
                    <a:pt x="3429" y="49708"/>
                    <a:pt x="3630" y="50346"/>
                  </a:cubicBezTo>
                  <a:lnTo>
                    <a:pt x="3664" y="50413"/>
                  </a:lnTo>
                  <a:cubicBezTo>
                    <a:pt x="3664" y="50481"/>
                    <a:pt x="3697" y="50581"/>
                    <a:pt x="3731" y="50682"/>
                  </a:cubicBezTo>
                  <a:cubicBezTo>
                    <a:pt x="3933" y="51220"/>
                    <a:pt x="4101" y="51758"/>
                    <a:pt x="4302" y="52295"/>
                  </a:cubicBezTo>
                  <a:cubicBezTo>
                    <a:pt x="4336" y="52363"/>
                    <a:pt x="4370" y="52463"/>
                    <a:pt x="4403" y="52564"/>
                  </a:cubicBezTo>
                  <a:cubicBezTo>
                    <a:pt x="4504" y="52800"/>
                    <a:pt x="4571" y="53001"/>
                    <a:pt x="4672" y="53236"/>
                  </a:cubicBezTo>
                  <a:cubicBezTo>
                    <a:pt x="4773" y="53539"/>
                    <a:pt x="4874" y="53841"/>
                    <a:pt x="5008" y="54144"/>
                  </a:cubicBezTo>
                  <a:cubicBezTo>
                    <a:pt x="5075" y="54346"/>
                    <a:pt x="5176" y="54547"/>
                    <a:pt x="5243" y="54749"/>
                  </a:cubicBezTo>
                  <a:cubicBezTo>
                    <a:pt x="5344" y="54984"/>
                    <a:pt x="5445" y="55219"/>
                    <a:pt x="5546" y="55455"/>
                  </a:cubicBezTo>
                  <a:cubicBezTo>
                    <a:pt x="5613" y="55623"/>
                    <a:pt x="5680" y="55791"/>
                    <a:pt x="5748" y="55959"/>
                  </a:cubicBezTo>
                  <a:cubicBezTo>
                    <a:pt x="5882" y="56328"/>
                    <a:pt x="6050" y="56665"/>
                    <a:pt x="6184" y="57034"/>
                  </a:cubicBezTo>
                  <a:cubicBezTo>
                    <a:pt x="6285" y="57202"/>
                    <a:pt x="6353" y="57404"/>
                    <a:pt x="6420" y="57572"/>
                  </a:cubicBezTo>
                  <a:cubicBezTo>
                    <a:pt x="6453" y="57639"/>
                    <a:pt x="6487" y="57706"/>
                    <a:pt x="6521" y="57774"/>
                  </a:cubicBezTo>
                  <a:cubicBezTo>
                    <a:pt x="6789" y="58379"/>
                    <a:pt x="7058" y="58984"/>
                    <a:pt x="7327" y="59588"/>
                  </a:cubicBezTo>
                  <a:cubicBezTo>
                    <a:pt x="7361" y="59622"/>
                    <a:pt x="7361" y="59656"/>
                    <a:pt x="7394" y="59656"/>
                  </a:cubicBezTo>
                  <a:cubicBezTo>
                    <a:pt x="7462" y="59857"/>
                    <a:pt x="7562" y="60025"/>
                    <a:pt x="7630" y="60193"/>
                  </a:cubicBezTo>
                  <a:cubicBezTo>
                    <a:pt x="7865" y="60664"/>
                    <a:pt x="8067" y="61134"/>
                    <a:pt x="8302" y="61571"/>
                  </a:cubicBezTo>
                  <a:cubicBezTo>
                    <a:pt x="8335" y="61639"/>
                    <a:pt x="8369" y="61706"/>
                    <a:pt x="8403" y="61807"/>
                  </a:cubicBezTo>
                  <a:cubicBezTo>
                    <a:pt x="8604" y="62176"/>
                    <a:pt x="8806" y="62546"/>
                    <a:pt x="9008" y="62916"/>
                  </a:cubicBezTo>
                  <a:cubicBezTo>
                    <a:pt x="9142" y="63218"/>
                    <a:pt x="9310" y="63554"/>
                    <a:pt x="9478" y="63857"/>
                  </a:cubicBezTo>
                  <a:cubicBezTo>
                    <a:pt x="9512" y="63890"/>
                    <a:pt x="9545" y="63958"/>
                    <a:pt x="9579" y="63991"/>
                  </a:cubicBezTo>
                  <a:cubicBezTo>
                    <a:pt x="10083" y="64999"/>
                    <a:pt x="10621" y="65941"/>
                    <a:pt x="11192" y="66915"/>
                  </a:cubicBezTo>
                  <a:cubicBezTo>
                    <a:pt x="11226" y="66982"/>
                    <a:pt x="11293" y="67083"/>
                    <a:pt x="11327" y="67150"/>
                  </a:cubicBezTo>
                  <a:cubicBezTo>
                    <a:pt x="11394" y="67251"/>
                    <a:pt x="11461" y="67318"/>
                    <a:pt x="11495" y="67419"/>
                  </a:cubicBezTo>
                  <a:cubicBezTo>
                    <a:pt x="12301" y="68797"/>
                    <a:pt x="13141" y="70108"/>
                    <a:pt x="14015" y="71419"/>
                  </a:cubicBezTo>
                  <a:cubicBezTo>
                    <a:pt x="14049" y="71486"/>
                    <a:pt x="14116" y="71587"/>
                    <a:pt x="14150" y="71654"/>
                  </a:cubicBezTo>
                  <a:cubicBezTo>
                    <a:pt x="14217" y="71755"/>
                    <a:pt x="14318" y="71889"/>
                    <a:pt x="14385" y="71990"/>
                  </a:cubicBezTo>
                  <a:cubicBezTo>
                    <a:pt x="15091" y="73032"/>
                    <a:pt x="15797" y="74040"/>
                    <a:pt x="16536" y="75015"/>
                  </a:cubicBezTo>
                  <a:cubicBezTo>
                    <a:pt x="16536" y="75048"/>
                    <a:pt x="16536" y="75048"/>
                    <a:pt x="16536" y="75048"/>
                  </a:cubicBezTo>
                  <a:cubicBezTo>
                    <a:pt x="16603" y="75149"/>
                    <a:pt x="16704" y="75250"/>
                    <a:pt x="16771" y="75351"/>
                  </a:cubicBezTo>
                  <a:cubicBezTo>
                    <a:pt x="17208" y="75956"/>
                    <a:pt x="17679" y="76561"/>
                    <a:pt x="18116" y="77132"/>
                  </a:cubicBezTo>
                  <a:cubicBezTo>
                    <a:pt x="18149" y="77166"/>
                    <a:pt x="18183" y="77199"/>
                    <a:pt x="18216" y="77233"/>
                  </a:cubicBezTo>
                  <a:cubicBezTo>
                    <a:pt x="18552" y="77704"/>
                    <a:pt x="18922" y="78140"/>
                    <a:pt x="19292" y="78577"/>
                  </a:cubicBezTo>
                  <a:cubicBezTo>
                    <a:pt x="19426" y="78712"/>
                    <a:pt x="19527" y="78880"/>
                    <a:pt x="19628" y="79014"/>
                  </a:cubicBezTo>
                  <a:lnTo>
                    <a:pt x="19662" y="79014"/>
                  </a:lnTo>
                  <a:cubicBezTo>
                    <a:pt x="20132" y="79619"/>
                    <a:pt x="20636" y="80157"/>
                    <a:pt x="21107" y="80728"/>
                  </a:cubicBezTo>
                  <a:cubicBezTo>
                    <a:pt x="21140" y="80762"/>
                    <a:pt x="21140" y="80762"/>
                    <a:pt x="21174" y="80796"/>
                  </a:cubicBezTo>
                  <a:cubicBezTo>
                    <a:pt x="21308" y="80964"/>
                    <a:pt x="21443" y="81098"/>
                    <a:pt x="21577" y="81266"/>
                  </a:cubicBezTo>
                  <a:cubicBezTo>
                    <a:pt x="21913" y="81636"/>
                    <a:pt x="22249" y="82005"/>
                    <a:pt x="22585" y="82375"/>
                  </a:cubicBezTo>
                  <a:cubicBezTo>
                    <a:pt x="22619" y="82409"/>
                    <a:pt x="22686" y="82476"/>
                    <a:pt x="22754" y="82543"/>
                  </a:cubicBezTo>
                  <a:cubicBezTo>
                    <a:pt x="22955" y="82778"/>
                    <a:pt x="23157" y="82980"/>
                    <a:pt x="23392" y="83215"/>
                  </a:cubicBezTo>
                  <a:cubicBezTo>
                    <a:pt x="23627" y="83451"/>
                    <a:pt x="23863" y="83719"/>
                    <a:pt x="24131" y="83955"/>
                  </a:cubicBezTo>
                  <a:cubicBezTo>
                    <a:pt x="24199" y="84056"/>
                    <a:pt x="24300" y="84156"/>
                    <a:pt x="24367" y="84224"/>
                  </a:cubicBezTo>
                  <a:cubicBezTo>
                    <a:pt x="24602" y="84459"/>
                    <a:pt x="24837" y="84694"/>
                    <a:pt x="25073" y="84929"/>
                  </a:cubicBezTo>
                  <a:cubicBezTo>
                    <a:pt x="25274" y="85131"/>
                    <a:pt x="25476" y="85333"/>
                    <a:pt x="25711" y="85534"/>
                  </a:cubicBezTo>
                  <a:cubicBezTo>
                    <a:pt x="25812" y="85635"/>
                    <a:pt x="25913" y="85736"/>
                    <a:pt x="26047" y="85837"/>
                  </a:cubicBezTo>
                  <a:cubicBezTo>
                    <a:pt x="26282" y="86106"/>
                    <a:pt x="26551" y="86341"/>
                    <a:pt x="26820" y="86576"/>
                  </a:cubicBezTo>
                  <a:cubicBezTo>
                    <a:pt x="26988" y="86744"/>
                    <a:pt x="27156" y="86912"/>
                    <a:pt x="27358" y="87080"/>
                  </a:cubicBezTo>
                  <a:cubicBezTo>
                    <a:pt x="27492" y="87181"/>
                    <a:pt x="27627" y="87316"/>
                    <a:pt x="27761" y="87416"/>
                  </a:cubicBezTo>
                  <a:cubicBezTo>
                    <a:pt x="28030" y="87652"/>
                    <a:pt x="28299" y="87887"/>
                    <a:pt x="28534" y="88089"/>
                  </a:cubicBezTo>
                  <a:cubicBezTo>
                    <a:pt x="28702" y="88257"/>
                    <a:pt x="28870" y="88391"/>
                    <a:pt x="29038" y="88526"/>
                  </a:cubicBezTo>
                  <a:cubicBezTo>
                    <a:pt x="29206" y="88660"/>
                    <a:pt x="29374" y="88794"/>
                    <a:pt x="29542" y="88929"/>
                  </a:cubicBezTo>
                  <a:cubicBezTo>
                    <a:pt x="29778" y="89130"/>
                    <a:pt x="30047" y="89366"/>
                    <a:pt x="30282" y="89567"/>
                  </a:cubicBezTo>
                  <a:cubicBezTo>
                    <a:pt x="30416" y="89668"/>
                    <a:pt x="30551" y="89769"/>
                    <a:pt x="30685" y="89903"/>
                  </a:cubicBezTo>
                  <a:cubicBezTo>
                    <a:pt x="30920" y="90072"/>
                    <a:pt x="31122" y="90206"/>
                    <a:pt x="31324" y="90374"/>
                  </a:cubicBezTo>
                  <a:cubicBezTo>
                    <a:pt x="31559" y="90576"/>
                    <a:pt x="31794" y="90744"/>
                    <a:pt x="32063" y="90912"/>
                  </a:cubicBezTo>
                  <a:cubicBezTo>
                    <a:pt x="32164" y="90979"/>
                    <a:pt x="32231" y="91080"/>
                    <a:pt x="32332" y="91147"/>
                  </a:cubicBezTo>
                  <a:cubicBezTo>
                    <a:pt x="32634" y="91349"/>
                    <a:pt x="32937" y="91550"/>
                    <a:pt x="33206" y="91752"/>
                  </a:cubicBezTo>
                  <a:cubicBezTo>
                    <a:pt x="33407" y="91920"/>
                    <a:pt x="33609" y="92054"/>
                    <a:pt x="33811" y="92189"/>
                  </a:cubicBezTo>
                  <a:cubicBezTo>
                    <a:pt x="33878" y="92222"/>
                    <a:pt x="33912" y="92256"/>
                    <a:pt x="33979" y="92290"/>
                  </a:cubicBezTo>
                  <a:cubicBezTo>
                    <a:pt x="34517" y="92659"/>
                    <a:pt x="35054" y="93029"/>
                    <a:pt x="35558" y="93365"/>
                  </a:cubicBezTo>
                  <a:lnTo>
                    <a:pt x="35592" y="93365"/>
                  </a:lnTo>
                  <a:cubicBezTo>
                    <a:pt x="35626" y="93365"/>
                    <a:pt x="35626" y="93399"/>
                    <a:pt x="35659" y="93399"/>
                  </a:cubicBezTo>
                  <a:cubicBezTo>
                    <a:pt x="36163" y="93735"/>
                    <a:pt x="36667" y="94037"/>
                    <a:pt x="37172" y="94340"/>
                  </a:cubicBezTo>
                  <a:cubicBezTo>
                    <a:pt x="37272" y="94407"/>
                    <a:pt x="37407" y="94474"/>
                    <a:pt x="37541" y="94541"/>
                  </a:cubicBezTo>
                  <a:cubicBezTo>
                    <a:pt x="37911" y="94777"/>
                    <a:pt x="38314" y="94978"/>
                    <a:pt x="38718" y="95214"/>
                  </a:cubicBezTo>
                  <a:cubicBezTo>
                    <a:pt x="38886" y="95281"/>
                    <a:pt x="39020" y="95348"/>
                    <a:pt x="39188" y="95449"/>
                  </a:cubicBezTo>
                  <a:cubicBezTo>
                    <a:pt x="39390" y="95550"/>
                    <a:pt x="39591" y="95651"/>
                    <a:pt x="39793" y="95751"/>
                  </a:cubicBezTo>
                  <a:cubicBezTo>
                    <a:pt x="39928" y="95852"/>
                    <a:pt x="40096" y="95919"/>
                    <a:pt x="40264" y="95987"/>
                  </a:cubicBezTo>
                  <a:cubicBezTo>
                    <a:pt x="40499" y="96121"/>
                    <a:pt x="40768" y="96256"/>
                    <a:pt x="41037" y="96356"/>
                  </a:cubicBezTo>
                  <a:cubicBezTo>
                    <a:pt x="41205" y="96457"/>
                    <a:pt x="41373" y="96524"/>
                    <a:pt x="41574" y="96625"/>
                  </a:cubicBezTo>
                  <a:cubicBezTo>
                    <a:pt x="41642" y="96659"/>
                    <a:pt x="41709" y="96692"/>
                    <a:pt x="41776" y="96726"/>
                  </a:cubicBezTo>
                  <a:cubicBezTo>
                    <a:pt x="42280" y="96928"/>
                    <a:pt x="42784" y="97163"/>
                    <a:pt x="43288" y="97365"/>
                  </a:cubicBezTo>
                  <a:lnTo>
                    <a:pt x="43356" y="97398"/>
                  </a:lnTo>
                  <a:cubicBezTo>
                    <a:pt x="43826" y="97566"/>
                    <a:pt x="44330" y="97768"/>
                    <a:pt x="44801" y="97936"/>
                  </a:cubicBezTo>
                  <a:cubicBezTo>
                    <a:pt x="44868" y="97936"/>
                    <a:pt x="44935" y="97970"/>
                    <a:pt x="45002" y="98003"/>
                  </a:cubicBezTo>
                  <a:cubicBezTo>
                    <a:pt x="45204" y="98070"/>
                    <a:pt x="45372" y="98104"/>
                    <a:pt x="45540" y="98171"/>
                  </a:cubicBezTo>
                  <a:cubicBezTo>
                    <a:pt x="45809" y="98272"/>
                    <a:pt x="46044" y="98339"/>
                    <a:pt x="46313" y="98406"/>
                  </a:cubicBezTo>
                  <a:cubicBezTo>
                    <a:pt x="46448" y="98474"/>
                    <a:pt x="46548" y="98474"/>
                    <a:pt x="46683" y="98541"/>
                  </a:cubicBezTo>
                  <a:cubicBezTo>
                    <a:pt x="46918" y="98575"/>
                    <a:pt x="47153" y="98642"/>
                    <a:pt x="47355" y="98709"/>
                  </a:cubicBezTo>
                  <a:cubicBezTo>
                    <a:pt x="47523" y="98743"/>
                    <a:pt x="47691" y="98810"/>
                    <a:pt x="47859" y="98843"/>
                  </a:cubicBezTo>
                  <a:cubicBezTo>
                    <a:pt x="48027" y="98877"/>
                    <a:pt x="48229" y="98911"/>
                    <a:pt x="48397" y="98978"/>
                  </a:cubicBezTo>
                  <a:cubicBezTo>
                    <a:pt x="48632" y="99011"/>
                    <a:pt x="48834" y="99079"/>
                    <a:pt x="49069" y="99112"/>
                  </a:cubicBezTo>
                  <a:cubicBezTo>
                    <a:pt x="49170" y="99146"/>
                    <a:pt x="49271" y="99179"/>
                    <a:pt x="49405" y="99179"/>
                  </a:cubicBezTo>
                  <a:cubicBezTo>
                    <a:pt x="49607" y="99247"/>
                    <a:pt x="49808" y="99247"/>
                    <a:pt x="50044" y="99280"/>
                  </a:cubicBezTo>
                  <a:cubicBezTo>
                    <a:pt x="50279" y="99348"/>
                    <a:pt x="50548" y="99381"/>
                    <a:pt x="50783" y="99415"/>
                  </a:cubicBezTo>
                  <a:cubicBezTo>
                    <a:pt x="50884" y="99448"/>
                    <a:pt x="50951" y="99448"/>
                    <a:pt x="51052" y="99448"/>
                  </a:cubicBezTo>
                  <a:cubicBezTo>
                    <a:pt x="51254" y="99482"/>
                    <a:pt x="51455" y="99516"/>
                    <a:pt x="51691" y="99516"/>
                  </a:cubicBezTo>
                  <a:cubicBezTo>
                    <a:pt x="51959" y="99549"/>
                    <a:pt x="52228" y="99583"/>
                    <a:pt x="52497" y="99616"/>
                  </a:cubicBezTo>
                  <a:cubicBezTo>
                    <a:pt x="52564" y="99616"/>
                    <a:pt x="52632" y="99616"/>
                    <a:pt x="52732" y="99650"/>
                  </a:cubicBezTo>
                  <a:lnTo>
                    <a:pt x="53270" y="99650"/>
                  </a:lnTo>
                  <a:cubicBezTo>
                    <a:pt x="53606" y="99684"/>
                    <a:pt x="53909" y="99684"/>
                    <a:pt x="54245" y="99684"/>
                  </a:cubicBezTo>
                  <a:lnTo>
                    <a:pt x="54917" y="99684"/>
                  </a:lnTo>
                  <a:cubicBezTo>
                    <a:pt x="55287" y="99684"/>
                    <a:pt x="55690" y="99650"/>
                    <a:pt x="56093" y="99616"/>
                  </a:cubicBezTo>
                  <a:lnTo>
                    <a:pt x="56429" y="99616"/>
                  </a:lnTo>
                  <a:cubicBezTo>
                    <a:pt x="56530" y="99583"/>
                    <a:pt x="56631" y="99583"/>
                    <a:pt x="56698" y="99583"/>
                  </a:cubicBezTo>
                  <a:cubicBezTo>
                    <a:pt x="57303" y="99516"/>
                    <a:pt x="57875" y="99415"/>
                    <a:pt x="58446" y="99314"/>
                  </a:cubicBezTo>
                  <a:cubicBezTo>
                    <a:pt x="58513" y="99314"/>
                    <a:pt x="58547" y="99314"/>
                    <a:pt x="58614" y="99280"/>
                  </a:cubicBezTo>
                  <a:lnTo>
                    <a:pt x="58648" y="99280"/>
                  </a:lnTo>
                  <a:cubicBezTo>
                    <a:pt x="58782" y="99247"/>
                    <a:pt x="58916" y="99213"/>
                    <a:pt x="59051" y="99179"/>
                  </a:cubicBezTo>
                  <a:cubicBezTo>
                    <a:pt x="59387" y="99112"/>
                    <a:pt x="59757" y="99011"/>
                    <a:pt x="60093" y="98944"/>
                  </a:cubicBezTo>
                  <a:cubicBezTo>
                    <a:pt x="60261" y="98877"/>
                    <a:pt x="60429" y="98810"/>
                    <a:pt x="60597" y="98776"/>
                  </a:cubicBezTo>
                  <a:cubicBezTo>
                    <a:pt x="60832" y="98709"/>
                    <a:pt x="61034" y="98642"/>
                    <a:pt x="61269" y="98575"/>
                  </a:cubicBezTo>
                  <a:cubicBezTo>
                    <a:pt x="61303" y="98541"/>
                    <a:pt x="61370" y="98507"/>
                    <a:pt x="61437" y="98507"/>
                  </a:cubicBezTo>
                  <a:cubicBezTo>
                    <a:pt x="61773" y="98373"/>
                    <a:pt x="62109" y="98238"/>
                    <a:pt x="62412" y="98070"/>
                  </a:cubicBezTo>
                  <a:cubicBezTo>
                    <a:pt x="62580" y="98003"/>
                    <a:pt x="62748" y="97970"/>
                    <a:pt x="62916" y="97869"/>
                  </a:cubicBezTo>
                  <a:cubicBezTo>
                    <a:pt x="63386" y="97667"/>
                    <a:pt x="63857" y="97398"/>
                    <a:pt x="64327" y="97129"/>
                  </a:cubicBezTo>
                  <a:lnTo>
                    <a:pt x="72655" y="92307"/>
                  </a:lnTo>
                  <a:lnTo>
                    <a:pt x="72655" y="92307"/>
                  </a:lnTo>
                  <a:cubicBezTo>
                    <a:pt x="72523" y="92373"/>
                    <a:pt x="72391" y="92435"/>
                    <a:pt x="72259" y="92491"/>
                  </a:cubicBezTo>
                  <a:cubicBezTo>
                    <a:pt x="72091" y="92592"/>
                    <a:pt x="71923" y="92626"/>
                    <a:pt x="71755" y="92693"/>
                  </a:cubicBezTo>
                  <a:cubicBezTo>
                    <a:pt x="71452" y="92861"/>
                    <a:pt x="71116" y="92995"/>
                    <a:pt x="70780" y="93130"/>
                  </a:cubicBezTo>
                  <a:cubicBezTo>
                    <a:pt x="70511" y="93231"/>
                    <a:pt x="70209" y="93298"/>
                    <a:pt x="69940" y="93399"/>
                  </a:cubicBezTo>
                  <a:cubicBezTo>
                    <a:pt x="69772" y="93432"/>
                    <a:pt x="69604" y="93500"/>
                    <a:pt x="69436" y="93567"/>
                  </a:cubicBezTo>
                  <a:cubicBezTo>
                    <a:pt x="69100" y="93634"/>
                    <a:pt x="68730" y="93735"/>
                    <a:pt x="68394" y="93802"/>
                  </a:cubicBezTo>
                  <a:cubicBezTo>
                    <a:pt x="68260" y="93836"/>
                    <a:pt x="68125" y="93869"/>
                    <a:pt x="68024" y="93903"/>
                  </a:cubicBezTo>
                  <a:cubicBezTo>
                    <a:pt x="67924" y="93903"/>
                    <a:pt x="67856" y="93903"/>
                    <a:pt x="67789" y="93937"/>
                  </a:cubicBezTo>
                  <a:cubicBezTo>
                    <a:pt x="67218" y="94037"/>
                    <a:pt x="66646" y="94138"/>
                    <a:pt x="66041" y="94172"/>
                  </a:cubicBezTo>
                  <a:cubicBezTo>
                    <a:pt x="65840" y="94205"/>
                    <a:pt x="65638" y="94205"/>
                    <a:pt x="65436" y="94239"/>
                  </a:cubicBezTo>
                  <a:cubicBezTo>
                    <a:pt x="65033" y="94273"/>
                    <a:pt x="64663" y="94273"/>
                    <a:pt x="64260" y="94306"/>
                  </a:cubicBezTo>
                  <a:lnTo>
                    <a:pt x="63588" y="94306"/>
                  </a:lnTo>
                  <a:cubicBezTo>
                    <a:pt x="63252" y="94306"/>
                    <a:pt x="62949" y="94273"/>
                    <a:pt x="62613" y="94273"/>
                  </a:cubicBezTo>
                  <a:cubicBezTo>
                    <a:pt x="62344" y="94273"/>
                    <a:pt x="62109" y="94239"/>
                    <a:pt x="61840" y="94239"/>
                  </a:cubicBezTo>
                  <a:cubicBezTo>
                    <a:pt x="61571" y="94205"/>
                    <a:pt x="61303" y="94172"/>
                    <a:pt x="61034" y="94138"/>
                  </a:cubicBezTo>
                  <a:cubicBezTo>
                    <a:pt x="60731" y="94105"/>
                    <a:pt x="60429" y="94071"/>
                    <a:pt x="60126" y="94037"/>
                  </a:cubicBezTo>
                  <a:cubicBezTo>
                    <a:pt x="59891" y="94004"/>
                    <a:pt x="59622" y="93970"/>
                    <a:pt x="59387" y="93903"/>
                  </a:cubicBezTo>
                  <a:cubicBezTo>
                    <a:pt x="59051" y="93869"/>
                    <a:pt x="58715" y="93802"/>
                    <a:pt x="58412" y="93735"/>
                  </a:cubicBezTo>
                  <a:cubicBezTo>
                    <a:pt x="58177" y="93668"/>
                    <a:pt x="57975" y="93634"/>
                    <a:pt x="57740" y="93567"/>
                  </a:cubicBezTo>
                  <a:cubicBezTo>
                    <a:pt x="57404" y="93500"/>
                    <a:pt x="57068" y="93432"/>
                    <a:pt x="56698" y="93332"/>
                  </a:cubicBezTo>
                  <a:cubicBezTo>
                    <a:pt x="56497" y="93264"/>
                    <a:pt x="56261" y="93197"/>
                    <a:pt x="56060" y="93130"/>
                  </a:cubicBezTo>
                  <a:cubicBezTo>
                    <a:pt x="55656" y="93029"/>
                    <a:pt x="55287" y="92928"/>
                    <a:pt x="54883" y="92794"/>
                  </a:cubicBezTo>
                  <a:cubicBezTo>
                    <a:pt x="54715" y="92727"/>
                    <a:pt x="54547" y="92659"/>
                    <a:pt x="54346" y="92592"/>
                  </a:cubicBezTo>
                  <a:cubicBezTo>
                    <a:pt x="53808" y="92424"/>
                    <a:pt x="53270" y="92222"/>
                    <a:pt x="52699" y="91987"/>
                  </a:cubicBezTo>
                  <a:lnTo>
                    <a:pt x="52632" y="91987"/>
                  </a:lnTo>
                  <a:cubicBezTo>
                    <a:pt x="52060" y="91752"/>
                    <a:pt x="51489" y="91483"/>
                    <a:pt x="50918" y="91214"/>
                  </a:cubicBezTo>
                  <a:cubicBezTo>
                    <a:pt x="50716" y="91147"/>
                    <a:pt x="50548" y="91046"/>
                    <a:pt x="50380" y="90979"/>
                  </a:cubicBezTo>
                  <a:cubicBezTo>
                    <a:pt x="49943" y="90777"/>
                    <a:pt x="49540" y="90576"/>
                    <a:pt x="49136" y="90374"/>
                  </a:cubicBezTo>
                  <a:cubicBezTo>
                    <a:pt x="48935" y="90273"/>
                    <a:pt x="48733" y="90172"/>
                    <a:pt x="48531" y="90072"/>
                  </a:cubicBezTo>
                  <a:cubicBezTo>
                    <a:pt x="47960" y="89769"/>
                    <a:pt x="47422" y="89467"/>
                    <a:pt x="46885" y="89164"/>
                  </a:cubicBezTo>
                  <a:cubicBezTo>
                    <a:pt x="46246" y="88794"/>
                    <a:pt x="45641" y="88425"/>
                    <a:pt x="45036" y="88021"/>
                  </a:cubicBezTo>
                  <a:cubicBezTo>
                    <a:pt x="45002" y="88021"/>
                    <a:pt x="44969" y="87988"/>
                    <a:pt x="44935" y="87988"/>
                  </a:cubicBezTo>
                  <a:cubicBezTo>
                    <a:pt x="44330" y="87584"/>
                    <a:pt x="43759" y="87215"/>
                    <a:pt x="43154" y="86811"/>
                  </a:cubicBezTo>
                  <a:cubicBezTo>
                    <a:pt x="42952" y="86677"/>
                    <a:pt x="42751" y="86509"/>
                    <a:pt x="42549" y="86375"/>
                  </a:cubicBezTo>
                  <a:cubicBezTo>
                    <a:pt x="42179" y="86106"/>
                    <a:pt x="41776" y="85837"/>
                    <a:pt x="41406" y="85534"/>
                  </a:cubicBezTo>
                  <a:cubicBezTo>
                    <a:pt x="41171" y="85366"/>
                    <a:pt x="40936" y="85165"/>
                    <a:pt x="40701" y="84997"/>
                  </a:cubicBezTo>
                  <a:cubicBezTo>
                    <a:pt x="40331" y="84728"/>
                    <a:pt x="39995" y="84459"/>
                    <a:pt x="39659" y="84190"/>
                  </a:cubicBezTo>
                  <a:cubicBezTo>
                    <a:pt x="39390" y="83955"/>
                    <a:pt x="39121" y="83753"/>
                    <a:pt x="38886" y="83551"/>
                  </a:cubicBezTo>
                  <a:cubicBezTo>
                    <a:pt x="38550" y="83283"/>
                    <a:pt x="38213" y="83014"/>
                    <a:pt x="37911" y="82711"/>
                  </a:cubicBezTo>
                  <a:cubicBezTo>
                    <a:pt x="37642" y="82510"/>
                    <a:pt x="37373" y="82274"/>
                    <a:pt x="37104" y="82039"/>
                  </a:cubicBezTo>
                  <a:cubicBezTo>
                    <a:pt x="36802" y="81770"/>
                    <a:pt x="36466" y="81468"/>
                    <a:pt x="36163" y="81165"/>
                  </a:cubicBezTo>
                  <a:cubicBezTo>
                    <a:pt x="35894" y="80930"/>
                    <a:pt x="35659" y="80695"/>
                    <a:pt x="35390" y="80459"/>
                  </a:cubicBezTo>
                  <a:cubicBezTo>
                    <a:pt x="35054" y="80157"/>
                    <a:pt x="34752" y="79821"/>
                    <a:pt x="34416" y="79518"/>
                  </a:cubicBezTo>
                  <a:cubicBezTo>
                    <a:pt x="34180" y="79283"/>
                    <a:pt x="33945" y="79048"/>
                    <a:pt x="33710" y="78813"/>
                  </a:cubicBezTo>
                  <a:cubicBezTo>
                    <a:pt x="33374" y="78477"/>
                    <a:pt x="33071" y="78140"/>
                    <a:pt x="32735" y="77804"/>
                  </a:cubicBezTo>
                  <a:cubicBezTo>
                    <a:pt x="32534" y="77569"/>
                    <a:pt x="32298" y="77367"/>
                    <a:pt x="32097" y="77132"/>
                  </a:cubicBezTo>
                  <a:cubicBezTo>
                    <a:pt x="31693" y="76729"/>
                    <a:pt x="31324" y="76292"/>
                    <a:pt x="30954" y="75889"/>
                  </a:cubicBezTo>
                  <a:cubicBezTo>
                    <a:pt x="30820" y="75721"/>
                    <a:pt x="30652" y="75553"/>
                    <a:pt x="30517" y="75418"/>
                  </a:cubicBezTo>
                  <a:cubicBezTo>
                    <a:pt x="30013" y="74813"/>
                    <a:pt x="29475" y="74208"/>
                    <a:pt x="28971" y="73603"/>
                  </a:cubicBezTo>
                  <a:cubicBezTo>
                    <a:pt x="28870" y="73469"/>
                    <a:pt x="28769" y="73334"/>
                    <a:pt x="28635" y="73200"/>
                  </a:cubicBezTo>
                  <a:cubicBezTo>
                    <a:pt x="28265" y="72696"/>
                    <a:pt x="27862" y="72225"/>
                    <a:pt x="27492" y="71721"/>
                  </a:cubicBezTo>
                  <a:cubicBezTo>
                    <a:pt x="27022" y="71150"/>
                    <a:pt x="26551" y="70545"/>
                    <a:pt x="26114" y="69940"/>
                  </a:cubicBezTo>
                  <a:cubicBezTo>
                    <a:pt x="26014" y="69839"/>
                    <a:pt x="25946" y="69738"/>
                    <a:pt x="25879" y="69637"/>
                  </a:cubicBezTo>
                  <a:cubicBezTo>
                    <a:pt x="25140" y="68629"/>
                    <a:pt x="24434" y="67621"/>
                    <a:pt x="23762" y="66613"/>
                  </a:cubicBezTo>
                  <a:cubicBezTo>
                    <a:pt x="23627" y="66411"/>
                    <a:pt x="23493" y="66243"/>
                    <a:pt x="23358" y="66041"/>
                  </a:cubicBezTo>
                  <a:cubicBezTo>
                    <a:pt x="22485" y="64731"/>
                    <a:pt x="21644" y="63386"/>
                    <a:pt x="20838" y="62042"/>
                  </a:cubicBezTo>
                  <a:cubicBezTo>
                    <a:pt x="20771" y="61874"/>
                    <a:pt x="20636" y="61706"/>
                    <a:pt x="20535" y="61504"/>
                  </a:cubicBezTo>
                  <a:cubicBezTo>
                    <a:pt x="19998" y="60563"/>
                    <a:pt x="19426" y="59588"/>
                    <a:pt x="18922" y="58614"/>
                  </a:cubicBezTo>
                  <a:cubicBezTo>
                    <a:pt x="18720" y="58244"/>
                    <a:pt x="18552" y="57908"/>
                    <a:pt x="18351" y="57538"/>
                  </a:cubicBezTo>
                  <a:cubicBezTo>
                    <a:pt x="18149" y="57169"/>
                    <a:pt x="17947" y="56799"/>
                    <a:pt x="17779" y="56396"/>
                  </a:cubicBezTo>
                  <a:cubicBezTo>
                    <a:pt x="17511" y="55892"/>
                    <a:pt x="17242" y="55354"/>
                    <a:pt x="17006" y="54816"/>
                  </a:cubicBezTo>
                  <a:cubicBezTo>
                    <a:pt x="16906" y="54648"/>
                    <a:pt x="16805" y="54446"/>
                    <a:pt x="16738" y="54278"/>
                  </a:cubicBezTo>
                  <a:cubicBezTo>
                    <a:pt x="16401" y="53573"/>
                    <a:pt x="16099" y="52867"/>
                    <a:pt x="15763" y="52161"/>
                  </a:cubicBezTo>
                  <a:cubicBezTo>
                    <a:pt x="15696" y="51993"/>
                    <a:pt x="15629" y="51825"/>
                    <a:pt x="15528" y="51623"/>
                  </a:cubicBezTo>
                  <a:cubicBezTo>
                    <a:pt x="15326" y="51119"/>
                    <a:pt x="15091" y="50581"/>
                    <a:pt x="14889" y="50044"/>
                  </a:cubicBezTo>
                  <a:cubicBezTo>
                    <a:pt x="14788" y="49808"/>
                    <a:pt x="14687" y="49573"/>
                    <a:pt x="14587" y="49338"/>
                  </a:cubicBezTo>
                  <a:cubicBezTo>
                    <a:pt x="14385" y="48834"/>
                    <a:pt x="14217" y="48330"/>
                    <a:pt x="14015" y="47825"/>
                  </a:cubicBezTo>
                  <a:cubicBezTo>
                    <a:pt x="13914" y="47624"/>
                    <a:pt x="13847" y="47389"/>
                    <a:pt x="13780" y="47187"/>
                  </a:cubicBezTo>
                  <a:cubicBezTo>
                    <a:pt x="13545" y="46548"/>
                    <a:pt x="13310" y="45910"/>
                    <a:pt x="13108" y="45271"/>
                  </a:cubicBezTo>
                  <a:cubicBezTo>
                    <a:pt x="13074" y="45170"/>
                    <a:pt x="13041" y="45103"/>
                    <a:pt x="13007" y="45002"/>
                  </a:cubicBezTo>
                  <a:cubicBezTo>
                    <a:pt x="12772" y="44297"/>
                    <a:pt x="12537" y="43557"/>
                    <a:pt x="12301" y="42818"/>
                  </a:cubicBezTo>
                  <a:cubicBezTo>
                    <a:pt x="12234" y="42616"/>
                    <a:pt x="12167" y="42381"/>
                    <a:pt x="12100" y="42146"/>
                  </a:cubicBezTo>
                  <a:cubicBezTo>
                    <a:pt x="11965" y="41641"/>
                    <a:pt x="11831" y="41137"/>
                    <a:pt x="11696" y="40633"/>
                  </a:cubicBezTo>
                  <a:cubicBezTo>
                    <a:pt x="11595" y="40364"/>
                    <a:pt x="11528" y="40095"/>
                    <a:pt x="11461" y="39827"/>
                  </a:cubicBezTo>
                  <a:cubicBezTo>
                    <a:pt x="11360" y="39356"/>
                    <a:pt x="11226" y="38886"/>
                    <a:pt x="11125" y="38415"/>
                  </a:cubicBezTo>
                  <a:cubicBezTo>
                    <a:pt x="11058" y="38146"/>
                    <a:pt x="10991" y="37877"/>
                    <a:pt x="10923" y="37575"/>
                  </a:cubicBezTo>
                  <a:cubicBezTo>
                    <a:pt x="10822" y="37104"/>
                    <a:pt x="10722" y="36634"/>
                    <a:pt x="10621" y="36163"/>
                  </a:cubicBezTo>
                  <a:cubicBezTo>
                    <a:pt x="10554" y="35894"/>
                    <a:pt x="10520" y="35659"/>
                    <a:pt x="10453" y="35390"/>
                  </a:cubicBezTo>
                  <a:cubicBezTo>
                    <a:pt x="10352" y="34785"/>
                    <a:pt x="10251" y="34180"/>
                    <a:pt x="10150" y="33575"/>
                  </a:cubicBezTo>
                  <a:cubicBezTo>
                    <a:pt x="10117" y="33475"/>
                    <a:pt x="10083" y="33374"/>
                    <a:pt x="10083" y="33239"/>
                  </a:cubicBezTo>
                  <a:cubicBezTo>
                    <a:pt x="9982" y="32534"/>
                    <a:pt x="9881" y="31828"/>
                    <a:pt x="9781" y="31122"/>
                  </a:cubicBezTo>
                  <a:cubicBezTo>
                    <a:pt x="9747" y="30920"/>
                    <a:pt x="9747" y="30719"/>
                    <a:pt x="9713" y="30551"/>
                  </a:cubicBezTo>
                  <a:cubicBezTo>
                    <a:pt x="9646" y="30013"/>
                    <a:pt x="9613" y="29509"/>
                    <a:pt x="9579" y="29005"/>
                  </a:cubicBezTo>
                  <a:cubicBezTo>
                    <a:pt x="9545" y="28769"/>
                    <a:pt x="9512" y="28534"/>
                    <a:pt x="9512" y="28265"/>
                  </a:cubicBezTo>
                  <a:cubicBezTo>
                    <a:pt x="9478" y="27795"/>
                    <a:pt x="9445" y="27324"/>
                    <a:pt x="9411" y="26854"/>
                  </a:cubicBezTo>
                  <a:cubicBezTo>
                    <a:pt x="9411" y="26618"/>
                    <a:pt x="9377" y="26383"/>
                    <a:pt x="9377" y="26148"/>
                  </a:cubicBezTo>
                  <a:cubicBezTo>
                    <a:pt x="9344" y="25476"/>
                    <a:pt x="9344" y="24804"/>
                    <a:pt x="9344" y="24131"/>
                  </a:cubicBezTo>
                  <a:cubicBezTo>
                    <a:pt x="9344" y="23426"/>
                    <a:pt x="9377" y="22753"/>
                    <a:pt x="9411" y="22081"/>
                  </a:cubicBezTo>
                  <a:cubicBezTo>
                    <a:pt x="9411" y="21880"/>
                    <a:pt x="9411" y="21712"/>
                    <a:pt x="9445" y="21510"/>
                  </a:cubicBezTo>
                  <a:cubicBezTo>
                    <a:pt x="9445" y="21039"/>
                    <a:pt x="9478" y="20602"/>
                    <a:pt x="9512" y="20132"/>
                  </a:cubicBezTo>
                  <a:cubicBezTo>
                    <a:pt x="9545" y="19863"/>
                    <a:pt x="9579" y="19628"/>
                    <a:pt x="9613" y="19359"/>
                  </a:cubicBezTo>
                  <a:cubicBezTo>
                    <a:pt x="9646" y="18989"/>
                    <a:pt x="9680" y="18586"/>
                    <a:pt x="9747" y="18216"/>
                  </a:cubicBezTo>
                  <a:cubicBezTo>
                    <a:pt x="9781" y="17947"/>
                    <a:pt x="9814" y="17678"/>
                    <a:pt x="9881" y="17410"/>
                  </a:cubicBezTo>
                  <a:cubicBezTo>
                    <a:pt x="9915" y="17074"/>
                    <a:pt x="9982" y="16704"/>
                    <a:pt x="10049" y="16368"/>
                  </a:cubicBezTo>
                  <a:cubicBezTo>
                    <a:pt x="10083" y="16065"/>
                    <a:pt x="10150" y="15796"/>
                    <a:pt x="10218" y="15494"/>
                  </a:cubicBezTo>
                  <a:cubicBezTo>
                    <a:pt x="10285" y="15191"/>
                    <a:pt x="10352" y="14889"/>
                    <a:pt x="10419" y="14586"/>
                  </a:cubicBezTo>
                  <a:cubicBezTo>
                    <a:pt x="10520" y="14250"/>
                    <a:pt x="10587" y="13881"/>
                    <a:pt x="10688" y="13545"/>
                  </a:cubicBezTo>
                  <a:cubicBezTo>
                    <a:pt x="10755" y="13276"/>
                    <a:pt x="10856" y="13040"/>
                    <a:pt x="10923" y="12772"/>
                  </a:cubicBezTo>
                  <a:cubicBezTo>
                    <a:pt x="11058" y="12368"/>
                    <a:pt x="11192" y="11965"/>
                    <a:pt x="11327" y="11595"/>
                  </a:cubicBezTo>
                  <a:cubicBezTo>
                    <a:pt x="11394" y="11360"/>
                    <a:pt x="11461" y="11158"/>
                    <a:pt x="11562" y="10957"/>
                  </a:cubicBezTo>
                  <a:cubicBezTo>
                    <a:pt x="11797" y="10285"/>
                    <a:pt x="12066" y="9646"/>
                    <a:pt x="12368" y="9041"/>
                  </a:cubicBezTo>
                  <a:cubicBezTo>
                    <a:pt x="12570" y="8571"/>
                    <a:pt x="12805" y="8100"/>
                    <a:pt x="13074" y="7629"/>
                  </a:cubicBezTo>
                  <a:cubicBezTo>
                    <a:pt x="13108" y="7596"/>
                    <a:pt x="13108" y="7562"/>
                    <a:pt x="13141" y="7495"/>
                  </a:cubicBezTo>
                  <a:cubicBezTo>
                    <a:pt x="13377" y="7092"/>
                    <a:pt x="13612" y="6722"/>
                    <a:pt x="13847" y="6352"/>
                  </a:cubicBezTo>
                  <a:cubicBezTo>
                    <a:pt x="14217" y="5747"/>
                    <a:pt x="14620" y="5176"/>
                    <a:pt x="15057" y="4638"/>
                  </a:cubicBezTo>
                  <a:cubicBezTo>
                    <a:pt x="15158" y="4504"/>
                    <a:pt x="15259" y="4403"/>
                    <a:pt x="15360" y="4269"/>
                  </a:cubicBezTo>
                  <a:cubicBezTo>
                    <a:pt x="15797" y="3764"/>
                    <a:pt x="16233" y="3294"/>
                    <a:pt x="16670" y="2823"/>
                  </a:cubicBezTo>
                  <a:cubicBezTo>
                    <a:pt x="16704" y="2790"/>
                    <a:pt x="16738" y="2756"/>
                    <a:pt x="16771" y="2723"/>
                  </a:cubicBezTo>
                  <a:cubicBezTo>
                    <a:pt x="17275" y="2252"/>
                    <a:pt x="17779" y="1815"/>
                    <a:pt x="18284" y="1412"/>
                  </a:cubicBezTo>
                  <a:cubicBezTo>
                    <a:pt x="18418" y="1311"/>
                    <a:pt x="18552" y="1210"/>
                    <a:pt x="18687" y="1109"/>
                  </a:cubicBezTo>
                  <a:cubicBezTo>
                    <a:pt x="19225" y="740"/>
                    <a:pt x="19762" y="336"/>
                    <a:pt x="20334" y="0"/>
                  </a:cubicBezTo>
                  <a:close/>
                </a:path>
              </a:pathLst>
            </a:custGeom>
            <a:solidFill>
              <a:srgbClr val="A96EEC"/>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86" name="Google Shape;2781;p49"/>
            <p:cNvSpPr/>
            <p:nvPr/>
          </p:nvSpPr>
          <p:spPr>
            <a:xfrm>
              <a:off x="-21013775" y="10563525"/>
              <a:ext cx="2024100" cy="2760975"/>
            </a:xfrm>
            <a:custGeom>
              <a:avLst/>
              <a:gdLst/>
              <a:ahLst/>
              <a:cxnLst/>
              <a:rect l="l" t="t" r="r" b="b"/>
              <a:pathLst>
                <a:path w="80964" h="110439" extrusionOk="0">
                  <a:moveTo>
                    <a:pt x="80930" y="76259"/>
                  </a:moveTo>
                  <a:cubicBezTo>
                    <a:pt x="80930" y="76124"/>
                    <a:pt x="80930" y="76024"/>
                    <a:pt x="80930" y="75889"/>
                  </a:cubicBezTo>
                  <a:cubicBezTo>
                    <a:pt x="80897" y="75654"/>
                    <a:pt x="80897" y="75385"/>
                    <a:pt x="80897" y="75150"/>
                  </a:cubicBezTo>
                  <a:cubicBezTo>
                    <a:pt x="80863" y="74847"/>
                    <a:pt x="80863" y="74545"/>
                    <a:pt x="80829" y="74242"/>
                  </a:cubicBezTo>
                  <a:cubicBezTo>
                    <a:pt x="80829" y="74007"/>
                    <a:pt x="80796" y="73772"/>
                    <a:pt x="80796" y="73537"/>
                  </a:cubicBezTo>
                  <a:lnTo>
                    <a:pt x="80729" y="72730"/>
                  </a:lnTo>
                  <a:cubicBezTo>
                    <a:pt x="80695" y="72562"/>
                    <a:pt x="80695" y="72394"/>
                    <a:pt x="80695" y="72226"/>
                  </a:cubicBezTo>
                  <a:cubicBezTo>
                    <a:pt x="80628" y="71823"/>
                    <a:pt x="80594" y="71419"/>
                    <a:pt x="80561" y="71016"/>
                  </a:cubicBezTo>
                  <a:cubicBezTo>
                    <a:pt x="80527" y="70814"/>
                    <a:pt x="80493" y="70579"/>
                    <a:pt x="80493" y="70377"/>
                  </a:cubicBezTo>
                  <a:cubicBezTo>
                    <a:pt x="80460" y="70310"/>
                    <a:pt x="80460" y="70243"/>
                    <a:pt x="80460" y="70176"/>
                  </a:cubicBezTo>
                  <a:cubicBezTo>
                    <a:pt x="80359" y="69470"/>
                    <a:pt x="80258" y="68764"/>
                    <a:pt x="80157" y="68058"/>
                  </a:cubicBezTo>
                  <a:lnTo>
                    <a:pt x="80157" y="67991"/>
                  </a:lnTo>
                  <a:cubicBezTo>
                    <a:pt x="80124" y="67890"/>
                    <a:pt x="80090" y="67756"/>
                    <a:pt x="80090" y="67655"/>
                  </a:cubicBezTo>
                  <a:cubicBezTo>
                    <a:pt x="79989" y="67084"/>
                    <a:pt x="79888" y="66512"/>
                    <a:pt x="79788" y="65941"/>
                  </a:cubicBezTo>
                  <a:cubicBezTo>
                    <a:pt x="79754" y="65840"/>
                    <a:pt x="79754" y="65739"/>
                    <a:pt x="79720" y="65605"/>
                  </a:cubicBezTo>
                  <a:cubicBezTo>
                    <a:pt x="79653" y="65336"/>
                    <a:pt x="79620" y="65034"/>
                    <a:pt x="79552" y="64765"/>
                  </a:cubicBezTo>
                  <a:cubicBezTo>
                    <a:pt x="79485" y="64429"/>
                    <a:pt x="79418" y="64093"/>
                    <a:pt x="79351" y="63756"/>
                  </a:cubicBezTo>
                  <a:cubicBezTo>
                    <a:pt x="79317" y="63555"/>
                    <a:pt x="79250" y="63353"/>
                    <a:pt x="79216" y="63185"/>
                  </a:cubicBezTo>
                  <a:cubicBezTo>
                    <a:pt x="79149" y="62849"/>
                    <a:pt x="79048" y="62547"/>
                    <a:pt x="78981" y="62244"/>
                  </a:cubicBezTo>
                  <a:cubicBezTo>
                    <a:pt x="78947" y="62009"/>
                    <a:pt x="78880" y="61807"/>
                    <a:pt x="78847" y="61572"/>
                  </a:cubicBezTo>
                  <a:cubicBezTo>
                    <a:pt x="78746" y="61269"/>
                    <a:pt x="78679" y="61001"/>
                    <a:pt x="78611" y="60698"/>
                  </a:cubicBezTo>
                  <a:lnTo>
                    <a:pt x="78376" y="59791"/>
                  </a:lnTo>
                  <a:cubicBezTo>
                    <a:pt x="78309" y="59623"/>
                    <a:pt x="78275" y="59488"/>
                    <a:pt x="78242" y="59354"/>
                  </a:cubicBezTo>
                  <a:cubicBezTo>
                    <a:pt x="78141" y="58917"/>
                    <a:pt x="78006" y="58514"/>
                    <a:pt x="77872" y="58110"/>
                  </a:cubicBezTo>
                  <a:cubicBezTo>
                    <a:pt x="77805" y="57841"/>
                    <a:pt x="77737" y="57572"/>
                    <a:pt x="77670" y="57337"/>
                  </a:cubicBezTo>
                  <a:cubicBezTo>
                    <a:pt x="77637" y="57270"/>
                    <a:pt x="77637" y="57203"/>
                    <a:pt x="77603" y="57136"/>
                  </a:cubicBezTo>
                  <a:cubicBezTo>
                    <a:pt x="77368" y="56396"/>
                    <a:pt x="77133" y="55690"/>
                    <a:pt x="76897" y="54951"/>
                  </a:cubicBezTo>
                  <a:cubicBezTo>
                    <a:pt x="76897" y="54951"/>
                    <a:pt x="76897" y="54917"/>
                    <a:pt x="76897" y="54917"/>
                  </a:cubicBezTo>
                  <a:cubicBezTo>
                    <a:pt x="76864" y="54817"/>
                    <a:pt x="76830" y="54716"/>
                    <a:pt x="76796" y="54615"/>
                  </a:cubicBezTo>
                  <a:cubicBezTo>
                    <a:pt x="76595" y="54010"/>
                    <a:pt x="76360" y="53405"/>
                    <a:pt x="76158" y="52834"/>
                  </a:cubicBezTo>
                  <a:cubicBezTo>
                    <a:pt x="76124" y="52699"/>
                    <a:pt x="76091" y="52598"/>
                    <a:pt x="76023" y="52498"/>
                  </a:cubicBezTo>
                  <a:cubicBezTo>
                    <a:pt x="75956" y="52262"/>
                    <a:pt x="75855" y="52027"/>
                    <a:pt x="75755" y="51758"/>
                  </a:cubicBezTo>
                  <a:cubicBezTo>
                    <a:pt x="75620" y="51422"/>
                    <a:pt x="75519" y="51086"/>
                    <a:pt x="75385" y="50750"/>
                  </a:cubicBezTo>
                  <a:cubicBezTo>
                    <a:pt x="75284" y="50548"/>
                    <a:pt x="75217" y="50313"/>
                    <a:pt x="75116" y="50078"/>
                  </a:cubicBezTo>
                  <a:cubicBezTo>
                    <a:pt x="75015" y="49809"/>
                    <a:pt x="74914" y="49574"/>
                    <a:pt x="74780" y="49305"/>
                  </a:cubicBezTo>
                  <a:lnTo>
                    <a:pt x="74578" y="48733"/>
                  </a:lnTo>
                  <a:cubicBezTo>
                    <a:pt x="74410" y="48330"/>
                    <a:pt x="74242" y="47927"/>
                    <a:pt x="74041" y="47523"/>
                  </a:cubicBezTo>
                  <a:cubicBezTo>
                    <a:pt x="73973" y="47322"/>
                    <a:pt x="73872" y="47120"/>
                    <a:pt x="73805" y="46919"/>
                  </a:cubicBezTo>
                  <a:cubicBezTo>
                    <a:pt x="73772" y="46851"/>
                    <a:pt x="73738" y="46784"/>
                    <a:pt x="73704" y="46717"/>
                  </a:cubicBezTo>
                  <a:cubicBezTo>
                    <a:pt x="73402" y="46045"/>
                    <a:pt x="73099" y="45373"/>
                    <a:pt x="72763" y="44700"/>
                  </a:cubicBezTo>
                  <a:cubicBezTo>
                    <a:pt x="72763" y="44667"/>
                    <a:pt x="72763" y="44633"/>
                    <a:pt x="72730" y="44600"/>
                  </a:cubicBezTo>
                  <a:cubicBezTo>
                    <a:pt x="72629" y="44398"/>
                    <a:pt x="72528" y="44196"/>
                    <a:pt x="72461" y="43995"/>
                  </a:cubicBezTo>
                  <a:cubicBezTo>
                    <a:pt x="72192" y="43490"/>
                    <a:pt x="71957" y="42986"/>
                    <a:pt x="71722" y="42482"/>
                  </a:cubicBezTo>
                  <a:cubicBezTo>
                    <a:pt x="71654" y="42381"/>
                    <a:pt x="71621" y="42314"/>
                    <a:pt x="71587" y="42213"/>
                  </a:cubicBezTo>
                  <a:cubicBezTo>
                    <a:pt x="71352" y="41810"/>
                    <a:pt x="71150" y="41373"/>
                    <a:pt x="70915" y="40970"/>
                  </a:cubicBezTo>
                  <a:cubicBezTo>
                    <a:pt x="70747" y="40634"/>
                    <a:pt x="70579" y="40298"/>
                    <a:pt x="70411" y="39962"/>
                  </a:cubicBezTo>
                  <a:cubicBezTo>
                    <a:pt x="70377" y="39894"/>
                    <a:pt x="70344" y="39827"/>
                    <a:pt x="70310" y="39760"/>
                  </a:cubicBezTo>
                  <a:cubicBezTo>
                    <a:pt x="69705" y="38684"/>
                    <a:pt x="69100" y="37575"/>
                    <a:pt x="68495" y="36533"/>
                  </a:cubicBezTo>
                  <a:cubicBezTo>
                    <a:pt x="68428" y="36433"/>
                    <a:pt x="68394" y="36332"/>
                    <a:pt x="68327" y="36265"/>
                  </a:cubicBezTo>
                  <a:cubicBezTo>
                    <a:pt x="68193" y="35996"/>
                    <a:pt x="68025" y="35727"/>
                    <a:pt x="67857" y="35458"/>
                  </a:cubicBezTo>
                  <a:cubicBezTo>
                    <a:pt x="67588" y="35021"/>
                    <a:pt x="67319" y="34551"/>
                    <a:pt x="67050" y="34114"/>
                  </a:cubicBezTo>
                  <a:cubicBezTo>
                    <a:pt x="66815" y="33744"/>
                    <a:pt x="66579" y="33374"/>
                    <a:pt x="66311" y="33005"/>
                  </a:cubicBezTo>
                  <a:cubicBezTo>
                    <a:pt x="66042" y="32568"/>
                    <a:pt x="65773" y="32131"/>
                    <a:pt x="65470" y="31694"/>
                  </a:cubicBezTo>
                  <a:cubicBezTo>
                    <a:pt x="65369" y="31559"/>
                    <a:pt x="65302" y="31391"/>
                    <a:pt x="65201" y="31257"/>
                  </a:cubicBezTo>
                  <a:cubicBezTo>
                    <a:pt x="65101" y="31122"/>
                    <a:pt x="65000" y="30988"/>
                    <a:pt x="64933" y="30854"/>
                  </a:cubicBezTo>
                  <a:cubicBezTo>
                    <a:pt x="64160" y="29711"/>
                    <a:pt x="63353" y="28602"/>
                    <a:pt x="62546" y="27493"/>
                  </a:cubicBezTo>
                  <a:cubicBezTo>
                    <a:pt x="62546" y="27493"/>
                    <a:pt x="62546" y="27493"/>
                    <a:pt x="62546" y="27459"/>
                  </a:cubicBezTo>
                  <a:cubicBezTo>
                    <a:pt x="62479" y="27358"/>
                    <a:pt x="62378" y="27291"/>
                    <a:pt x="62311" y="27190"/>
                  </a:cubicBezTo>
                  <a:cubicBezTo>
                    <a:pt x="61807" y="26484"/>
                    <a:pt x="61303" y="25812"/>
                    <a:pt x="60765" y="25140"/>
                  </a:cubicBezTo>
                  <a:cubicBezTo>
                    <a:pt x="60732" y="25107"/>
                    <a:pt x="60698" y="25073"/>
                    <a:pt x="60698" y="25039"/>
                  </a:cubicBezTo>
                  <a:cubicBezTo>
                    <a:pt x="60295" y="24502"/>
                    <a:pt x="59858" y="24031"/>
                    <a:pt x="59454" y="23527"/>
                  </a:cubicBezTo>
                  <a:cubicBezTo>
                    <a:pt x="59320" y="23359"/>
                    <a:pt x="59219" y="23224"/>
                    <a:pt x="59085" y="23056"/>
                  </a:cubicBezTo>
                  <a:cubicBezTo>
                    <a:pt x="59085" y="23056"/>
                    <a:pt x="59085" y="23056"/>
                    <a:pt x="59051" y="23023"/>
                  </a:cubicBezTo>
                  <a:cubicBezTo>
                    <a:pt x="58513" y="22384"/>
                    <a:pt x="57976" y="21779"/>
                    <a:pt x="57438" y="21141"/>
                  </a:cubicBezTo>
                  <a:cubicBezTo>
                    <a:pt x="57404" y="21107"/>
                    <a:pt x="57404" y="21107"/>
                    <a:pt x="57371" y="21073"/>
                  </a:cubicBezTo>
                  <a:cubicBezTo>
                    <a:pt x="57203" y="20872"/>
                    <a:pt x="57035" y="20704"/>
                    <a:pt x="56900" y="20536"/>
                  </a:cubicBezTo>
                  <a:cubicBezTo>
                    <a:pt x="56530" y="20132"/>
                    <a:pt x="56161" y="19729"/>
                    <a:pt x="55791" y="19326"/>
                  </a:cubicBezTo>
                  <a:cubicBezTo>
                    <a:pt x="55757" y="19259"/>
                    <a:pt x="55690" y="19191"/>
                    <a:pt x="55623" y="19124"/>
                  </a:cubicBezTo>
                  <a:cubicBezTo>
                    <a:pt x="55388" y="18889"/>
                    <a:pt x="55152" y="18654"/>
                    <a:pt x="54917" y="18385"/>
                  </a:cubicBezTo>
                  <a:cubicBezTo>
                    <a:pt x="54648" y="18116"/>
                    <a:pt x="54379" y="17813"/>
                    <a:pt x="54111" y="17545"/>
                  </a:cubicBezTo>
                  <a:cubicBezTo>
                    <a:pt x="54010" y="17444"/>
                    <a:pt x="53909" y="17343"/>
                    <a:pt x="53808" y="17242"/>
                  </a:cubicBezTo>
                  <a:cubicBezTo>
                    <a:pt x="53539" y="17007"/>
                    <a:pt x="53304" y="16738"/>
                    <a:pt x="53035" y="16469"/>
                  </a:cubicBezTo>
                  <a:cubicBezTo>
                    <a:pt x="52800" y="16267"/>
                    <a:pt x="52565" y="16032"/>
                    <a:pt x="52329" y="15797"/>
                  </a:cubicBezTo>
                  <a:cubicBezTo>
                    <a:pt x="52195" y="15662"/>
                    <a:pt x="52094" y="15562"/>
                    <a:pt x="51960" y="15427"/>
                  </a:cubicBezTo>
                  <a:cubicBezTo>
                    <a:pt x="51657" y="15158"/>
                    <a:pt x="51388" y="14923"/>
                    <a:pt x="51086" y="14654"/>
                  </a:cubicBezTo>
                  <a:cubicBezTo>
                    <a:pt x="50884" y="14453"/>
                    <a:pt x="50683" y="14251"/>
                    <a:pt x="50481" y="14083"/>
                  </a:cubicBezTo>
                  <a:cubicBezTo>
                    <a:pt x="50346" y="13948"/>
                    <a:pt x="50178" y="13814"/>
                    <a:pt x="50044" y="13680"/>
                  </a:cubicBezTo>
                  <a:cubicBezTo>
                    <a:pt x="49741" y="13411"/>
                    <a:pt x="49473" y="13175"/>
                    <a:pt x="49170" y="12907"/>
                  </a:cubicBezTo>
                  <a:cubicBezTo>
                    <a:pt x="49002" y="12772"/>
                    <a:pt x="48800" y="12604"/>
                    <a:pt x="48632" y="12436"/>
                  </a:cubicBezTo>
                  <a:cubicBezTo>
                    <a:pt x="48431" y="12302"/>
                    <a:pt x="48263" y="12134"/>
                    <a:pt x="48061" y="11999"/>
                  </a:cubicBezTo>
                  <a:cubicBezTo>
                    <a:pt x="47792" y="11764"/>
                    <a:pt x="47490" y="11529"/>
                    <a:pt x="47221" y="11293"/>
                  </a:cubicBezTo>
                  <a:cubicBezTo>
                    <a:pt x="47053" y="11193"/>
                    <a:pt x="46918" y="11058"/>
                    <a:pt x="46784" y="10924"/>
                  </a:cubicBezTo>
                  <a:cubicBezTo>
                    <a:pt x="46549" y="10756"/>
                    <a:pt x="46280" y="10554"/>
                    <a:pt x="46045" y="10386"/>
                  </a:cubicBezTo>
                  <a:cubicBezTo>
                    <a:pt x="45809" y="10184"/>
                    <a:pt x="45540" y="9983"/>
                    <a:pt x="45272" y="9781"/>
                  </a:cubicBezTo>
                  <a:cubicBezTo>
                    <a:pt x="45171" y="9714"/>
                    <a:pt x="45036" y="9613"/>
                    <a:pt x="44935" y="9546"/>
                  </a:cubicBezTo>
                  <a:cubicBezTo>
                    <a:pt x="44599" y="9310"/>
                    <a:pt x="44297" y="9075"/>
                    <a:pt x="43961" y="8840"/>
                  </a:cubicBezTo>
                  <a:cubicBezTo>
                    <a:pt x="43759" y="8672"/>
                    <a:pt x="43524" y="8537"/>
                    <a:pt x="43289" y="8369"/>
                  </a:cubicBezTo>
                  <a:cubicBezTo>
                    <a:pt x="43255" y="8336"/>
                    <a:pt x="43188" y="8269"/>
                    <a:pt x="43121" y="8235"/>
                  </a:cubicBezTo>
                  <a:cubicBezTo>
                    <a:pt x="42516" y="7832"/>
                    <a:pt x="41944" y="7462"/>
                    <a:pt x="41339" y="7059"/>
                  </a:cubicBezTo>
                  <a:cubicBezTo>
                    <a:pt x="41339" y="7059"/>
                    <a:pt x="41339" y="7059"/>
                    <a:pt x="41339" y="7059"/>
                  </a:cubicBezTo>
                  <a:lnTo>
                    <a:pt x="41239" y="6991"/>
                  </a:lnTo>
                  <a:cubicBezTo>
                    <a:pt x="40667" y="6655"/>
                    <a:pt x="40129" y="6319"/>
                    <a:pt x="39592" y="5983"/>
                  </a:cubicBezTo>
                  <a:cubicBezTo>
                    <a:pt x="39457" y="5916"/>
                    <a:pt x="39323" y="5815"/>
                    <a:pt x="39155" y="5748"/>
                  </a:cubicBezTo>
                  <a:cubicBezTo>
                    <a:pt x="38718" y="5479"/>
                    <a:pt x="38281" y="5244"/>
                    <a:pt x="37844" y="5009"/>
                  </a:cubicBezTo>
                  <a:cubicBezTo>
                    <a:pt x="37676" y="4908"/>
                    <a:pt x="37508" y="4840"/>
                    <a:pt x="37340" y="4740"/>
                  </a:cubicBezTo>
                  <a:lnTo>
                    <a:pt x="36668" y="4404"/>
                  </a:lnTo>
                  <a:cubicBezTo>
                    <a:pt x="36466" y="4303"/>
                    <a:pt x="36298" y="4202"/>
                    <a:pt x="36130" y="4101"/>
                  </a:cubicBezTo>
                  <a:cubicBezTo>
                    <a:pt x="35828" y="3967"/>
                    <a:pt x="35559" y="3832"/>
                    <a:pt x="35290" y="3698"/>
                  </a:cubicBezTo>
                  <a:cubicBezTo>
                    <a:pt x="35088" y="3631"/>
                    <a:pt x="34886" y="3530"/>
                    <a:pt x="34685" y="3429"/>
                  </a:cubicBezTo>
                  <a:lnTo>
                    <a:pt x="34450" y="3328"/>
                  </a:lnTo>
                  <a:cubicBezTo>
                    <a:pt x="33878" y="3059"/>
                    <a:pt x="33307" y="2824"/>
                    <a:pt x="32769" y="2622"/>
                  </a:cubicBezTo>
                  <a:cubicBezTo>
                    <a:pt x="32769" y="2622"/>
                    <a:pt x="32769" y="2589"/>
                    <a:pt x="32769" y="2589"/>
                  </a:cubicBezTo>
                  <a:cubicBezTo>
                    <a:pt x="32736" y="2589"/>
                    <a:pt x="32702" y="2589"/>
                    <a:pt x="32668" y="2555"/>
                  </a:cubicBezTo>
                  <a:cubicBezTo>
                    <a:pt x="32131" y="2353"/>
                    <a:pt x="31593" y="2152"/>
                    <a:pt x="31089" y="1984"/>
                  </a:cubicBezTo>
                  <a:lnTo>
                    <a:pt x="30853" y="1883"/>
                  </a:lnTo>
                  <a:cubicBezTo>
                    <a:pt x="30652" y="1816"/>
                    <a:pt x="30450" y="1748"/>
                    <a:pt x="30248" y="1681"/>
                  </a:cubicBezTo>
                  <a:cubicBezTo>
                    <a:pt x="29980" y="1614"/>
                    <a:pt x="29677" y="1513"/>
                    <a:pt x="29408" y="1412"/>
                  </a:cubicBezTo>
                  <a:cubicBezTo>
                    <a:pt x="29274" y="1379"/>
                    <a:pt x="29106" y="1345"/>
                    <a:pt x="28971" y="1312"/>
                  </a:cubicBezTo>
                  <a:cubicBezTo>
                    <a:pt x="28736" y="1211"/>
                    <a:pt x="28467" y="1144"/>
                    <a:pt x="28232" y="1076"/>
                  </a:cubicBezTo>
                  <a:cubicBezTo>
                    <a:pt x="28064" y="1043"/>
                    <a:pt x="27862" y="975"/>
                    <a:pt x="27694" y="942"/>
                  </a:cubicBezTo>
                  <a:cubicBezTo>
                    <a:pt x="27459" y="875"/>
                    <a:pt x="27291" y="841"/>
                    <a:pt x="27056" y="807"/>
                  </a:cubicBezTo>
                  <a:cubicBezTo>
                    <a:pt x="26820" y="740"/>
                    <a:pt x="26585" y="707"/>
                    <a:pt x="26350" y="639"/>
                  </a:cubicBezTo>
                  <a:cubicBezTo>
                    <a:pt x="26215" y="606"/>
                    <a:pt x="26081" y="572"/>
                    <a:pt x="25947" y="572"/>
                  </a:cubicBezTo>
                  <a:cubicBezTo>
                    <a:pt x="25711" y="505"/>
                    <a:pt x="25476" y="471"/>
                    <a:pt x="25241" y="438"/>
                  </a:cubicBezTo>
                  <a:cubicBezTo>
                    <a:pt x="24972" y="404"/>
                    <a:pt x="24703" y="337"/>
                    <a:pt x="24401" y="303"/>
                  </a:cubicBezTo>
                  <a:cubicBezTo>
                    <a:pt x="24300" y="303"/>
                    <a:pt x="24233" y="270"/>
                    <a:pt x="24132" y="270"/>
                  </a:cubicBezTo>
                  <a:cubicBezTo>
                    <a:pt x="23896" y="236"/>
                    <a:pt x="23661" y="202"/>
                    <a:pt x="23426" y="169"/>
                  </a:cubicBezTo>
                  <a:cubicBezTo>
                    <a:pt x="23123" y="135"/>
                    <a:pt x="22821" y="102"/>
                    <a:pt x="22519" y="102"/>
                  </a:cubicBezTo>
                  <a:cubicBezTo>
                    <a:pt x="22418" y="68"/>
                    <a:pt x="22350" y="68"/>
                    <a:pt x="22250" y="68"/>
                  </a:cubicBezTo>
                  <a:cubicBezTo>
                    <a:pt x="22048" y="68"/>
                    <a:pt x="21846" y="68"/>
                    <a:pt x="21645" y="34"/>
                  </a:cubicBezTo>
                  <a:cubicBezTo>
                    <a:pt x="21275" y="34"/>
                    <a:pt x="20939" y="1"/>
                    <a:pt x="20569" y="1"/>
                  </a:cubicBezTo>
                  <a:cubicBezTo>
                    <a:pt x="20468" y="1"/>
                    <a:pt x="20368" y="1"/>
                    <a:pt x="20300" y="1"/>
                  </a:cubicBezTo>
                  <a:cubicBezTo>
                    <a:pt x="20132" y="1"/>
                    <a:pt x="19998" y="34"/>
                    <a:pt x="19830" y="34"/>
                  </a:cubicBezTo>
                  <a:cubicBezTo>
                    <a:pt x="19393" y="34"/>
                    <a:pt x="18956" y="68"/>
                    <a:pt x="18519" y="102"/>
                  </a:cubicBezTo>
                  <a:cubicBezTo>
                    <a:pt x="18385" y="102"/>
                    <a:pt x="18250" y="102"/>
                    <a:pt x="18116" y="102"/>
                  </a:cubicBezTo>
                  <a:cubicBezTo>
                    <a:pt x="18015" y="102"/>
                    <a:pt x="17914" y="135"/>
                    <a:pt x="17813" y="135"/>
                  </a:cubicBezTo>
                  <a:cubicBezTo>
                    <a:pt x="17175" y="202"/>
                    <a:pt x="16503" y="303"/>
                    <a:pt x="15864" y="438"/>
                  </a:cubicBezTo>
                  <a:cubicBezTo>
                    <a:pt x="15830" y="438"/>
                    <a:pt x="15763" y="438"/>
                    <a:pt x="15696" y="438"/>
                  </a:cubicBezTo>
                  <a:lnTo>
                    <a:pt x="15629" y="471"/>
                  </a:lnTo>
                  <a:cubicBezTo>
                    <a:pt x="15494" y="505"/>
                    <a:pt x="15360" y="539"/>
                    <a:pt x="15225" y="572"/>
                  </a:cubicBezTo>
                  <a:cubicBezTo>
                    <a:pt x="14822" y="639"/>
                    <a:pt x="14452" y="740"/>
                    <a:pt x="14049" y="841"/>
                  </a:cubicBezTo>
                  <a:cubicBezTo>
                    <a:pt x="13881" y="908"/>
                    <a:pt x="13679" y="975"/>
                    <a:pt x="13478" y="1043"/>
                  </a:cubicBezTo>
                  <a:cubicBezTo>
                    <a:pt x="13243" y="1110"/>
                    <a:pt x="12974" y="1177"/>
                    <a:pt x="12738" y="1244"/>
                  </a:cubicBezTo>
                  <a:cubicBezTo>
                    <a:pt x="12671" y="1278"/>
                    <a:pt x="12638" y="1312"/>
                    <a:pt x="12570" y="1345"/>
                  </a:cubicBezTo>
                  <a:cubicBezTo>
                    <a:pt x="12201" y="1480"/>
                    <a:pt x="11831" y="1614"/>
                    <a:pt x="11461" y="1782"/>
                  </a:cubicBezTo>
                  <a:cubicBezTo>
                    <a:pt x="11293" y="1849"/>
                    <a:pt x="11092" y="1950"/>
                    <a:pt x="10924" y="2017"/>
                  </a:cubicBezTo>
                  <a:cubicBezTo>
                    <a:pt x="10386" y="2286"/>
                    <a:pt x="9848" y="2555"/>
                    <a:pt x="9344" y="2824"/>
                  </a:cubicBezTo>
                  <a:lnTo>
                    <a:pt x="1" y="8269"/>
                  </a:lnTo>
                  <a:cubicBezTo>
                    <a:pt x="505" y="7966"/>
                    <a:pt x="1043" y="7697"/>
                    <a:pt x="1580" y="7462"/>
                  </a:cubicBezTo>
                  <a:cubicBezTo>
                    <a:pt x="1748" y="7361"/>
                    <a:pt x="1916" y="7294"/>
                    <a:pt x="2118" y="7227"/>
                  </a:cubicBezTo>
                  <a:cubicBezTo>
                    <a:pt x="2488" y="7059"/>
                    <a:pt x="2857" y="6891"/>
                    <a:pt x="3227" y="6756"/>
                  </a:cubicBezTo>
                  <a:cubicBezTo>
                    <a:pt x="3530" y="6655"/>
                    <a:pt x="3832" y="6555"/>
                    <a:pt x="4135" y="6454"/>
                  </a:cubicBezTo>
                  <a:cubicBezTo>
                    <a:pt x="4336" y="6386"/>
                    <a:pt x="4538" y="6319"/>
                    <a:pt x="4706" y="6286"/>
                  </a:cubicBezTo>
                  <a:cubicBezTo>
                    <a:pt x="5109" y="6151"/>
                    <a:pt x="5479" y="6084"/>
                    <a:pt x="5882" y="5983"/>
                  </a:cubicBezTo>
                  <a:cubicBezTo>
                    <a:pt x="6017" y="5950"/>
                    <a:pt x="6151" y="5916"/>
                    <a:pt x="6286" y="5882"/>
                  </a:cubicBezTo>
                  <a:cubicBezTo>
                    <a:pt x="6353" y="5882"/>
                    <a:pt x="6454" y="5849"/>
                    <a:pt x="6521" y="5849"/>
                  </a:cubicBezTo>
                  <a:cubicBezTo>
                    <a:pt x="7159" y="5714"/>
                    <a:pt x="7798" y="5647"/>
                    <a:pt x="8470" y="5580"/>
                  </a:cubicBezTo>
                  <a:cubicBezTo>
                    <a:pt x="8705" y="5546"/>
                    <a:pt x="8941" y="5513"/>
                    <a:pt x="9142" y="5513"/>
                  </a:cubicBezTo>
                  <a:cubicBezTo>
                    <a:pt x="9579" y="5479"/>
                    <a:pt x="10016" y="5445"/>
                    <a:pt x="10487" y="5445"/>
                  </a:cubicBezTo>
                  <a:cubicBezTo>
                    <a:pt x="10722" y="5445"/>
                    <a:pt x="10991" y="5445"/>
                    <a:pt x="11226" y="5445"/>
                  </a:cubicBezTo>
                  <a:cubicBezTo>
                    <a:pt x="11596" y="5445"/>
                    <a:pt x="11932" y="5445"/>
                    <a:pt x="12301" y="5479"/>
                  </a:cubicBezTo>
                  <a:cubicBezTo>
                    <a:pt x="12604" y="5479"/>
                    <a:pt x="12873" y="5479"/>
                    <a:pt x="13175" y="5513"/>
                  </a:cubicBezTo>
                  <a:cubicBezTo>
                    <a:pt x="13478" y="5546"/>
                    <a:pt x="13780" y="5580"/>
                    <a:pt x="14083" y="5613"/>
                  </a:cubicBezTo>
                  <a:cubicBezTo>
                    <a:pt x="14385" y="5647"/>
                    <a:pt x="14721" y="5681"/>
                    <a:pt x="15057" y="5714"/>
                  </a:cubicBezTo>
                  <a:cubicBezTo>
                    <a:pt x="15326" y="5782"/>
                    <a:pt x="15629" y="5815"/>
                    <a:pt x="15898" y="5882"/>
                  </a:cubicBezTo>
                  <a:cubicBezTo>
                    <a:pt x="16267" y="5916"/>
                    <a:pt x="16637" y="5983"/>
                    <a:pt x="16973" y="6084"/>
                  </a:cubicBezTo>
                  <a:cubicBezTo>
                    <a:pt x="17242" y="6118"/>
                    <a:pt x="17477" y="6185"/>
                    <a:pt x="17712" y="6218"/>
                  </a:cubicBezTo>
                  <a:cubicBezTo>
                    <a:pt x="18116" y="6319"/>
                    <a:pt x="18485" y="6420"/>
                    <a:pt x="18889" y="6521"/>
                  </a:cubicBezTo>
                  <a:cubicBezTo>
                    <a:pt x="19124" y="6588"/>
                    <a:pt x="19359" y="6655"/>
                    <a:pt x="19628" y="6723"/>
                  </a:cubicBezTo>
                  <a:cubicBezTo>
                    <a:pt x="20031" y="6857"/>
                    <a:pt x="20468" y="6958"/>
                    <a:pt x="20905" y="7126"/>
                  </a:cubicBezTo>
                  <a:cubicBezTo>
                    <a:pt x="21107" y="7193"/>
                    <a:pt x="21309" y="7260"/>
                    <a:pt x="21510" y="7328"/>
                  </a:cubicBezTo>
                  <a:cubicBezTo>
                    <a:pt x="22115" y="7529"/>
                    <a:pt x="22720" y="7764"/>
                    <a:pt x="23325" y="8000"/>
                  </a:cubicBezTo>
                  <a:cubicBezTo>
                    <a:pt x="23359" y="8000"/>
                    <a:pt x="23392" y="8033"/>
                    <a:pt x="23392" y="8033"/>
                  </a:cubicBezTo>
                  <a:cubicBezTo>
                    <a:pt x="24031" y="8302"/>
                    <a:pt x="24669" y="8571"/>
                    <a:pt x="25342" y="8840"/>
                  </a:cubicBezTo>
                  <a:cubicBezTo>
                    <a:pt x="25510" y="8941"/>
                    <a:pt x="25711" y="9042"/>
                    <a:pt x="25913" y="9142"/>
                  </a:cubicBezTo>
                  <a:cubicBezTo>
                    <a:pt x="26384" y="9344"/>
                    <a:pt x="26854" y="9579"/>
                    <a:pt x="27291" y="9815"/>
                  </a:cubicBezTo>
                  <a:cubicBezTo>
                    <a:pt x="27526" y="9915"/>
                    <a:pt x="27761" y="10050"/>
                    <a:pt x="27997" y="10151"/>
                  </a:cubicBezTo>
                  <a:cubicBezTo>
                    <a:pt x="28602" y="10487"/>
                    <a:pt x="29207" y="10823"/>
                    <a:pt x="29812" y="11159"/>
                  </a:cubicBezTo>
                  <a:cubicBezTo>
                    <a:pt x="30517" y="11562"/>
                    <a:pt x="31190" y="11999"/>
                    <a:pt x="31895" y="12436"/>
                  </a:cubicBezTo>
                  <a:cubicBezTo>
                    <a:pt x="31929" y="12436"/>
                    <a:pt x="31963" y="12470"/>
                    <a:pt x="31996" y="12470"/>
                  </a:cubicBezTo>
                  <a:cubicBezTo>
                    <a:pt x="32635" y="12907"/>
                    <a:pt x="33307" y="13343"/>
                    <a:pt x="33945" y="13780"/>
                  </a:cubicBezTo>
                  <a:cubicBezTo>
                    <a:pt x="34181" y="13948"/>
                    <a:pt x="34382" y="14116"/>
                    <a:pt x="34618" y="14251"/>
                  </a:cubicBezTo>
                  <a:cubicBezTo>
                    <a:pt x="35055" y="14587"/>
                    <a:pt x="35491" y="14889"/>
                    <a:pt x="35928" y="15192"/>
                  </a:cubicBezTo>
                  <a:cubicBezTo>
                    <a:pt x="36164" y="15394"/>
                    <a:pt x="36432" y="15595"/>
                    <a:pt x="36701" y="15797"/>
                  </a:cubicBezTo>
                  <a:cubicBezTo>
                    <a:pt x="37105" y="16099"/>
                    <a:pt x="37474" y="16402"/>
                    <a:pt x="37878" y="16704"/>
                  </a:cubicBezTo>
                  <a:cubicBezTo>
                    <a:pt x="38147" y="16940"/>
                    <a:pt x="38449" y="17175"/>
                    <a:pt x="38718" y="17410"/>
                  </a:cubicBezTo>
                  <a:cubicBezTo>
                    <a:pt x="39088" y="17713"/>
                    <a:pt x="39457" y="18015"/>
                    <a:pt x="39827" y="18351"/>
                  </a:cubicBezTo>
                  <a:cubicBezTo>
                    <a:pt x="40096" y="18586"/>
                    <a:pt x="40398" y="18855"/>
                    <a:pt x="40667" y="19091"/>
                  </a:cubicBezTo>
                  <a:cubicBezTo>
                    <a:pt x="41037" y="19427"/>
                    <a:pt x="41407" y="19729"/>
                    <a:pt x="41743" y="20065"/>
                  </a:cubicBezTo>
                  <a:cubicBezTo>
                    <a:pt x="42045" y="20334"/>
                    <a:pt x="42314" y="20569"/>
                    <a:pt x="42616" y="20838"/>
                  </a:cubicBezTo>
                  <a:cubicBezTo>
                    <a:pt x="42953" y="21208"/>
                    <a:pt x="43322" y="21544"/>
                    <a:pt x="43658" y="21880"/>
                  </a:cubicBezTo>
                  <a:cubicBezTo>
                    <a:pt x="43927" y="22149"/>
                    <a:pt x="44196" y="22418"/>
                    <a:pt x="44465" y="22653"/>
                  </a:cubicBezTo>
                  <a:cubicBezTo>
                    <a:pt x="44835" y="23056"/>
                    <a:pt x="45204" y="23426"/>
                    <a:pt x="45574" y="23796"/>
                  </a:cubicBezTo>
                  <a:cubicBezTo>
                    <a:pt x="45809" y="24065"/>
                    <a:pt x="46045" y="24300"/>
                    <a:pt x="46280" y="24535"/>
                  </a:cubicBezTo>
                  <a:cubicBezTo>
                    <a:pt x="46717" y="25006"/>
                    <a:pt x="47120" y="25476"/>
                    <a:pt x="47557" y="25947"/>
                  </a:cubicBezTo>
                  <a:lnTo>
                    <a:pt x="48027" y="26484"/>
                  </a:lnTo>
                  <a:cubicBezTo>
                    <a:pt x="48599" y="27123"/>
                    <a:pt x="49170" y="27795"/>
                    <a:pt x="49741" y="28501"/>
                  </a:cubicBezTo>
                  <a:cubicBezTo>
                    <a:pt x="49876" y="28635"/>
                    <a:pt x="49977" y="28770"/>
                    <a:pt x="50078" y="28904"/>
                  </a:cubicBezTo>
                  <a:cubicBezTo>
                    <a:pt x="50548" y="29476"/>
                    <a:pt x="50985" y="30013"/>
                    <a:pt x="51422" y="30585"/>
                  </a:cubicBezTo>
                  <a:cubicBezTo>
                    <a:pt x="51926" y="31223"/>
                    <a:pt x="52430" y="31895"/>
                    <a:pt x="52934" y="32568"/>
                  </a:cubicBezTo>
                  <a:cubicBezTo>
                    <a:pt x="53035" y="32668"/>
                    <a:pt x="53102" y="32803"/>
                    <a:pt x="53203" y="32904"/>
                  </a:cubicBezTo>
                  <a:cubicBezTo>
                    <a:pt x="54010" y="34013"/>
                    <a:pt x="54816" y="35122"/>
                    <a:pt x="55556" y="36265"/>
                  </a:cubicBezTo>
                  <a:cubicBezTo>
                    <a:pt x="55757" y="36567"/>
                    <a:pt x="55959" y="36836"/>
                    <a:pt x="56127" y="37105"/>
                  </a:cubicBezTo>
                  <a:cubicBezTo>
                    <a:pt x="56430" y="37542"/>
                    <a:pt x="56698" y="37979"/>
                    <a:pt x="56967" y="38416"/>
                  </a:cubicBezTo>
                  <a:cubicBezTo>
                    <a:pt x="57203" y="38785"/>
                    <a:pt x="57438" y="39155"/>
                    <a:pt x="57707" y="39558"/>
                  </a:cubicBezTo>
                  <a:cubicBezTo>
                    <a:pt x="57976" y="39995"/>
                    <a:pt x="58244" y="40432"/>
                    <a:pt x="58513" y="40869"/>
                  </a:cubicBezTo>
                  <a:cubicBezTo>
                    <a:pt x="58715" y="41239"/>
                    <a:pt x="58917" y="41575"/>
                    <a:pt x="59118" y="41944"/>
                  </a:cubicBezTo>
                  <a:cubicBezTo>
                    <a:pt x="59757" y="43020"/>
                    <a:pt x="60362" y="44095"/>
                    <a:pt x="60933" y="45171"/>
                  </a:cubicBezTo>
                  <a:cubicBezTo>
                    <a:pt x="61168" y="45574"/>
                    <a:pt x="61370" y="45977"/>
                    <a:pt x="61572" y="46381"/>
                  </a:cubicBezTo>
                  <a:cubicBezTo>
                    <a:pt x="61773" y="46784"/>
                    <a:pt x="62009" y="47221"/>
                    <a:pt x="62210" y="47624"/>
                  </a:cubicBezTo>
                  <a:cubicBezTo>
                    <a:pt x="62513" y="48229"/>
                    <a:pt x="62815" y="48834"/>
                    <a:pt x="63084" y="49439"/>
                  </a:cubicBezTo>
                  <a:cubicBezTo>
                    <a:pt x="63185" y="49607"/>
                    <a:pt x="63286" y="49809"/>
                    <a:pt x="63387" y="50011"/>
                  </a:cubicBezTo>
                  <a:cubicBezTo>
                    <a:pt x="63756" y="50784"/>
                    <a:pt x="64092" y="51557"/>
                    <a:pt x="64428" y="52330"/>
                  </a:cubicBezTo>
                  <a:cubicBezTo>
                    <a:pt x="64529" y="52531"/>
                    <a:pt x="64630" y="52733"/>
                    <a:pt x="64697" y="52934"/>
                  </a:cubicBezTo>
                  <a:cubicBezTo>
                    <a:pt x="64966" y="53539"/>
                    <a:pt x="65201" y="54111"/>
                    <a:pt x="65437" y="54716"/>
                  </a:cubicBezTo>
                  <a:cubicBezTo>
                    <a:pt x="65538" y="54951"/>
                    <a:pt x="65638" y="55220"/>
                    <a:pt x="65773" y="55489"/>
                  </a:cubicBezTo>
                  <a:cubicBezTo>
                    <a:pt x="65974" y="56060"/>
                    <a:pt x="66210" y="56598"/>
                    <a:pt x="66411" y="57169"/>
                  </a:cubicBezTo>
                  <a:cubicBezTo>
                    <a:pt x="66512" y="57438"/>
                    <a:pt x="66613" y="57673"/>
                    <a:pt x="66680" y="57909"/>
                  </a:cubicBezTo>
                  <a:cubicBezTo>
                    <a:pt x="66949" y="58614"/>
                    <a:pt x="67184" y="59320"/>
                    <a:pt x="67453" y="60060"/>
                  </a:cubicBezTo>
                  <a:cubicBezTo>
                    <a:pt x="67487" y="60127"/>
                    <a:pt x="67520" y="60228"/>
                    <a:pt x="67520" y="60328"/>
                  </a:cubicBezTo>
                  <a:cubicBezTo>
                    <a:pt x="67789" y="61135"/>
                    <a:pt x="68058" y="61942"/>
                    <a:pt x="68293" y="62748"/>
                  </a:cubicBezTo>
                  <a:cubicBezTo>
                    <a:pt x="68394" y="62983"/>
                    <a:pt x="68461" y="63252"/>
                    <a:pt x="68529" y="63521"/>
                  </a:cubicBezTo>
                  <a:cubicBezTo>
                    <a:pt x="68697" y="64059"/>
                    <a:pt x="68865" y="64630"/>
                    <a:pt x="68999" y="65202"/>
                  </a:cubicBezTo>
                  <a:cubicBezTo>
                    <a:pt x="69100" y="65504"/>
                    <a:pt x="69167" y="65807"/>
                    <a:pt x="69234" y="66109"/>
                  </a:cubicBezTo>
                  <a:cubicBezTo>
                    <a:pt x="69369" y="66613"/>
                    <a:pt x="69503" y="67151"/>
                    <a:pt x="69638" y="67655"/>
                  </a:cubicBezTo>
                  <a:cubicBezTo>
                    <a:pt x="69705" y="67958"/>
                    <a:pt x="69772" y="68260"/>
                    <a:pt x="69839" y="68563"/>
                  </a:cubicBezTo>
                  <a:cubicBezTo>
                    <a:pt x="69974" y="69100"/>
                    <a:pt x="70075" y="69638"/>
                    <a:pt x="70176" y="70176"/>
                  </a:cubicBezTo>
                  <a:cubicBezTo>
                    <a:pt x="70243" y="70445"/>
                    <a:pt x="70310" y="70747"/>
                    <a:pt x="70377" y="71016"/>
                  </a:cubicBezTo>
                  <a:cubicBezTo>
                    <a:pt x="70478" y="71688"/>
                    <a:pt x="70612" y="72360"/>
                    <a:pt x="70713" y="73066"/>
                  </a:cubicBezTo>
                  <a:cubicBezTo>
                    <a:pt x="70747" y="73167"/>
                    <a:pt x="70780" y="73301"/>
                    <a:pt x="70780" y="73402"/>
                  </a:cubicBezTo>
                  <a:cubicBezTo>
                    <a:pt x="70915" y="74209"/>
                    <a:pt x="71016" y="74982"/>
                    <a:pt x="71117" y="75788"/>
                  </a:cubicBezTo>
                  <a:cubicBezTo>
                    <a:pt x="71150" y="75990"/>
                    <a:pt x="71150" y="76225"/>
                    <a:pt x="71184" y="76427"/>
                  </a:cubicBezTo>
                  <a:cubicBezTo>
                    <a:pt x="71251" y="76998"/>
                    <a:pt x="71318" y="77570"/>
                    <a:pt x="71352" y="78141"/>
                  </a:cubicBezTo>
                  <a:cubicBezTo>
                    <a:pt x="71385" y="78410"/>
                    <a:pt x="71419" y="78679"/>
                    <a:pt x="71419" y="78948"/>
                  </a:cubicBezTo>
                  <a:cubicBezTo>
                    <a:pt x="71453" y="79485"/>
                    <a:pt x="71486" y="80023"/>
                    <a:pt x="71520" y="80561"/>
                  </a:cubicBezTo>
                  <a:cubicBezTo>
                    <a:pt x="71520" y="80796"/>
                    <a:pt x="71553" y="81065"/>
                    <a:pt x="71553" y="81300"/>
                  </a:cubicBezTo>
                  <a:cubicBezTo>
                    <a:pt x="71587" y="82073"/>
                    <a:pt x="71587" y="82813"/>
                    <a:pt x="71587" y="83552"/>
                  </a:cubicBezTo>
                  <a:cubicBezTo>
                    <a:pt x="71587" y="84325"/>
                    <a:pt x="71587" y="85098"/>
                    <a:pt x="71553" y="85837"/>
                  </a:cubicBezTo>
                  <a:cubicBezTo>
                    <a:pt x="71520" y="86073"/>
                    <a:pt x="71520" y="86274"/>
                    <a:pt x="71486" y="86476"/>
                  </a:cubicBezTo>
                  <a:cubicBezTo>
                    <a:pt x="71486" y="87014"/>
                    <a:pt x="71453" y="87518"/>
                    <a:pt x="71385" y="88022"/>
                  </a:cubicBezTo>
                  <a:cubicBezTo>
                    <a:pt x="71352" y="88324"/>
                    <a:pt x="71318" y="88593"/>
                    <a:pt x="71318" y="88896"/>
                  </a:cubicBezTo>
                  <a:cubicBezTo>
                    <a:pt x="71251" y="89299"/>
                    <a:pt x="71217" y="89736"/>
                    <a:pt x="71150" y="90139"/>
                  </a:cubicBezTo>
                  <a:cubicBezTo>
                    <a:pt x="71117" y="90442"/>
                    <a:pt x="71049" y="90744"/>
                    <a:pt x="71016" y="91047"/>
                  </a:cubicBezTo>
                  <a:cubicBezTo>
                    <a:pt x="70949" y="91450"/>
                    <a:pt x="70881" y="91820"/>
                    <a:pt x="70814" y="92189"/>
                  </a:cubicBezTo>
                  <a:cubicBezTo>
                    <a:pt x="70747" y="92525"/>
                    <a:pt x="70680" y="92862"/>
                    <a:pt x="70612" y="93198"/>
                  </a:cubicBezTo>
                  <a:cubicBezTo>
                    <a:pt x="70545" y="93534"/>
                    <a:pt x="70478" y="93870"/>
                    <a:pt x="70377" y="94206"/>
                  </a:cubicBezTo>
                  <a:cubicBezTo>
                    <a:pt x="70276" y="94576"/>
                    <a:pt x="70176" y="94979"/>
                    <a:pt x="70075" y="95349"/>
                  </a:cubicBezTo>
                  <a:cubicBezTo>
                    <a:pt x="70007" y="95617"/>
                    <a:pt x="69907" y="95920"/>
                    <a:pt x="69839" y="96222"/>
                  </a:cubicBezTo>
                  <a:cubicBezTo>
                    <a:pt x="69705" y="96659"/>
                    <a:pt x="69537" y="97096"/>
                    <a:pt x="69403" y="97533"/>
                  </a:cubicBezTo>
                  <a:cubicBezTo>
                    <a:pt x="69302" y="97768"/>
                    <a:pt x="69234" y="98004"/>
                    <a:pt x="69134" y="98239"/>
                  </a:cubicBezTo>
                  <a:cubicBezTo>
                    <a:pt x="68865" y="98978"/>
                    <a:pt x="68562" y="99684"/>
                    <a:pt x="68226" y="100390"/>
                  </a:cubicBezTo>
                  <a:cubicBezTo>
                    <a:pt x="67991" y="100894"/>
                    <a:pt x="67722" y="101432"/>
                    <a:pt x="67453" y="101936"/>
                  </a:cubicBezTo>
                  <a:cubicBezTo>
                    <a:pt x="67420" y="101970"/>
                    <a:pt x="67386" y="102037"/>
                    <a:pt x="67352" y="102070"/>
                  </a:cubicBezTo>
                  <a:cubicBezTo>
                    <a:pt x="67117" y="102507"/>
                    <a:pt x="66848" y="102944"/>
                    <a:pt x="66579" y="103381"/>
                  </a:cubicBezTo>
                  <a:cubicBezTo>
                    <a:pt x="66142" y="104053"/>
                    <a:pt x="65706" y="104658"/>
                    <a:pt x="65235" y="105263"/>
                  </a:cubicBezTo>
                  <a:cubicBezTo>
                    <a:pt x="65101" y="105431"/>
                    <a:pt x="65000" y="105566"/>
                    <a:pt x="64865" y="105700"/>
                  </a:cubicBezTo>
                  <a:cubicBezTo>
                    <a:pt x="64395" y="106238"/>
                    <a:pt x="63924" y="106776"/>
                    <a:pt x="63420" y="107280"/>
                  </a:cubicBezTo>
                  <a:cubicBezTo>
                    <a:pt x="63387" y="107313"/>
                    <a:pt x="63353" y="107381"/>
                    <a:pt x="63319" y="107414"/>
                  </a:cubicBezTo>
                  <a:cubicBezTo>
                    <a:pt x="62782" y="107918"/>
                    <a:pt x="62210" y="108422"/>
                    <a:pt x="61639" y="108859"/>
                  </a:cubicBezTo>
                  <a:cubicBezTo>
                    <a:pt x="61471" y="108960"/>
                    <a:pt x="61336" y="109095"/>
                    <a:pt x="61202" y="109195"/>
                  </a:cubicBezTo>
                  <a:cubicBezTo>
                    <a:pt x="60597" y="109632"/>
                    <a:pt x="59992" y="110036"/>
                    <a:pt x="59354" y="110439"/>
                  </a:cubicBezTo>
                  <a:lnTo>
                    <a:pt x="68697" y="104994"/>
                  </a:lnTo>
                  <a:cubicBezTo>
                    <a:pt x="69335" y="104625"/>
                    <a:pt x="69940" y="104188"/>
                    <a:pt x="70545" y="103751"/>
                  </a:cubicBezTo>
                  <a:cubicBezTo>
                    <a:pt x="70680" y="103650"/>
                    <a:pt x="70814" y="103549"/>
                    <a:pt x="70982" y="103448"/>
                  </a:cubicBezTo>
                  <a:cubicBezTo>
                    <a:pt x="71553" y="102978"/>
                    <a:pt x="72125" y="102507"/>
                    <a:pt x="72663" y="101970"/>
                  </a:cubicBezTo>
                  <a:cubicBezTo>
                    <a:pt x="72696" y="101936"/>
                    <a:pt x="72730" y="101902"/>
                    <a:pt x="72763" y="101869"/>
                  </a:cubicBezTo>
                  <a:cubicBezTo>
                    <a:pt x="73268" y="101365"/>
                    <a:pt x="73772" y="100827"/>
                    <a:pt x="74209" y="100255"/>
                  </a:cubicBezTo>
                  <a:cubicBezTo>
                    <a:pt x="74343" y="100121"/>
                    <a:pt x="74444" y="99987"/>
                    <a:pt x="74578" y="99852"/>
                  </a:cubicBezTo>
                  <a:cubicBezTo>
                    <a:pt x="75049" y="99247"/>
                    <a:pt x="75519" y="98609"/>
                    <a:pt x="75923" y="97936"/>
                  </a:cubicBezTo>
                  <a:cubicBezTo>
                    <a:pt x="75956" y="97936"/>
                    <a:pt x="75956" y="97903"/>
                    <a:pt x="75990" y="97869"/>
                  </a:cubicBezTo>
                  <a:cubicBezTo>
                    <a:pt x="76225" y="97500"/>
                    <a:pt x="76460" y="97096"/>
                    <a:pt x="76696" y="96693"/>
                  </a:cubicBezTo>
                  <a:cubicBezTo>
                    <a:pt x="76729" y="96626"/>
                    <a:pt x="76763" y="96559"/>
                    <a:pt x="76796" y="96491"/>
                  </a:cubicBezTo>
                  <a:cubicBezTo>
                    <a:pt x="77065" y="96021"/>
                    <a:pt x="77301" y="95517"/>
                    <a:pt x="77569" y="95013"/>
                  </a:cubicBezTo>
                  <a:lnTo>
                    <a:pt x="77569" y="94945"/>
                  </a:lnTo>
                  <a:cubicBezTo>
                    <a:pt x="77906" y="94273"/>
                    <a:pt x="78208" y="93567"/>
                    <a:pt x="78477" y="92828"/>
                  </a:cubicBezTo>
                  <a:cubicBezTo>
                    <a:pt x="78510" y="92761"/>
                    <a:pt x="78544" y="92694"/>
                    <a:pt x="78578" y="92626"/>
                  </a:cubicBezTo>
                  <a:cubicBezTo>
                    <a:pt x="78611" y="92458"/>
                    <a:pt x="78679" y="92290"/>
                    <a:pt x="78746" y="92122"/>
                  </a:cubicBezTo>
                  <a:cubicBezTo>
                    <a:pt x="78880" y="91685"/>
                    <a:pt x="79048" y="91248"/>
                    <a:pt x="79183" y="90778"/>
                  </a:cubicBezTo>
                  <a:cubicBezTo>
                    <a:pt x="79216" y="90677"/>
                    <a:pt x="79250" y="90543"/>
                    <a:pt x="79283" y="90442"/>
                  </a:cubicBezTo>
                  <a:cubicBezTo>
                    <a:pt x="79351" y="90274"/>
                    <a:pt x="79384" y="90072"/>
                    <a:pt x="79418" y="89904"/>
                  </a:cubicBezTo>
                  <a:cubicBezTo>
                    <a:pt x="79519" y="89534"/>
                    <a:pt x="79620" y="89165"/>
                    <a:pt x="79720" y="88761"/>
                  </a:cubicBezTo>
                  <a:cubicBezTo>
                    <a:pt x="79754" y="88627"/>
                    <a:pt x="79821" y="88459"/>
                    <a:pt x="79855" y="88291"/>
                  </a:cubicBezTo>
                  <a:cubicBezTo>
                    <a:pt x="79888" y="88123"/>
                    <a:pt x="79922" y="87955"/>
                    <a:pt x="79956" y="87787"/>
                  </a:cubicBezTo>
                  <a:cubicBezTo>
                    <a:pt x="80023" y="87451"/>
                    <a:pt x="80090" y="87114"/>
                    <a:pt x="80157" y="86778"/>
                  </a:cubicBezTo>
                  <a:cubicBezTo>
                    <a:pt x="80191" y="86610"/>
                    <a:pt x="80225" y="86409"/>
                    <a:pt x="80258" y="86241"/>
                  </a:cubicBezTo>
                  <a:cubicBezTo>
                    <a:pt x="80292" y="86039"/>
                    <a:pt x="80325" y="85837"/>
                    <a:pt x="80359" y="85636"/>
                  </a:cubicBezTo>
                  <a:cubicBezTo>
                    <a:pt x="80393" y="85333"/>
                    <a:pt x="80460" y="85031"/>
                    <a:pt x="80493" y="84728"/>
                  </a:cubicBezTo>
                  <a:cubicBezTo>
                    <a:pt x="80527" y="84560"/>
                    <a:pt x="80527" y="84426"/>
                    <a:pt x="80561" y="84258"/>
                  </a:cubicBezTo>
                  <a:cubicBezTo>
                    <a:pt x="80594" y="83989"/>
                    <a:pt x="80628" y="83720"/>
                    <a:pt x="80661" y="83451"/>
                  </a:cubicBezTo>
                  <a:cubicBezTo>
                    <a:pt x="80661" y="83182"/>
                    <a:pt x="80695" y="82880"/>
                    <a:pt x="80729" y="82611"/>
                  </a:cubicBezTo>
                  <a:cubicBezTo>
                    <a:pt x="80762" y="82477"/>
                    <a:pt x="80762" y="82376"/>
                    <a:pt x="80762" y="82241"/>
                  </a:cubicBezTo>
                  <a:cubicBezTo>
                    <a:pt x="80796" y="81838"/>
                    <a:pt x="80829" y="81468"/>
                    <a:pt x="80829" y="81065"/>
                  </a:cubicBezTo>
                  <a:cubicBezTo>
                    <a:pt x="80863" y="80863"/>
                    <a:pt x="80863" y="80628"/>
                    <a:pt x="80897" y="80426"/>
                  </a:cubicBezTo>
                  <a:cubicBezTo>
                    <a:pt x="80897" y="80393"/>
                    <a:pt x="80897" y="80326"/>
                    <a:pt x="80897" y="80258"/>
                  </a:cubicBezTo>
                  <a:cubicBezTo>
                    <a:pt x="80930" y="79620"/>
                    <a:pt x="80930" y="78948"/>
                    <a:pt x="80930" y="78242"/>
                  </a:cubicBezTo>
                  <a:lnTo>
                    <a:pt x="80930" y="78141"/>
                  </a:lnTo>
                  <a:cubicBezTo>
                    <a:pt x="80964" y="77502"/>
                    <a:pt x="80964" y="76897"/>
                    <a:pt x="80930" y="7625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87" name="Google Shape;2782;p49"/>
            <p:cNvSpPr/>
            <p:nvPr/>
          </p:nvSpPr>
          <p:spPr>
            <a:xfrm>
              <a:off x="-21322125" y="10509750"/>
              <a:ext cx="2100550" cy="3076075"/>
            </a:xfrm>
            <a:custGeom>
              <a:avLst/>
              <a:gdLst/>
              <a:ahLst/>
              <a:cxnLst/>
              <a:rect l="l" t="t" r="r" b="b"/>
              <a:pathLst>
                <a:path w="84022" h="123043" extrusionOk="0">
                  <a:moveTo>
                    <a:pt x="42146" y="13344"/>
                  </a:moveTo>
                  <a:cubicBezTo>
                    <a:pt x="65268" y="26686"/>
                    <a:pt x="84022" y="59152"/>
                    <a:pt x="83955" y="85737"/>
                  </a:cubicBezTo>
                  <a:cubicBezTo>
                    <a:pt x="83887" y="112287"/>
                    <a:pt x="64999" y="123042"/>
                    <a:pt x="41877" y="109700"/>
                  </a:cubicBezTo>
                  <a:cubicBezTo>
                    <a:pt x="18754" y="96357"/>
                    <a:pt x="0" y="63857"/>
                    <a:pt x="101" y="37307"/>
                  </a:cubicBezTo>
                  <a:cubicBezTo>
                    <a:pt x="168" y="10756"/>
                    <a:pt x="19023" y="1"/>
                    <a:pt x="42146" y="13344"/>
                  </a:cubicBezTo>
                  <a:close/>
                  <a:moveTo>
                    <a:pt x="41910" y="104793"/>
                  </a:moveTo>
                  <a:cubicBezTo>
                    <a:pt x="62680" y="116757"/>
                    <a:pt x="79619" y="107112"/>
                    <a:pt x="79686" y="83250"/>
                  </a:cubicBezTo>
                  <a:cubicBezTo>
                    <a:pt x="79754" y="59387"/>
                    <a:pt x="62916" y="30249"/>
                    <a:pt x="42146" y="18250"/>
                  </a:cubicBezTo>
                  <a:cubicBezTo>
                    <a:pt x="21375" y="6252"/>
                    <a:pt x="4437" y="15931"/>
                    <a:pt x="4369" y="39760"/>
                  </a:cubicBezTo>
                  <a:cubicBezTo>
                    <a:pt x="4302" y="63622"/>
                    <a:pt x="21140" y="92794"/>
                    <a:pt x="41910" y="104793"/>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88" name="Google Shape;2783;p49"/>
            <p:cNvSpPr/>
            <p:nvPr/>
          </p:nvSpPr>
          <p:spPr>
            <a:xfrm>
              <a:off x="-18176350" y="10070325"/>
              <a:ext cx="0" cy="25"/>
            </a:xfrm>
            <a:custGeom>
              <a:avLst/>
              <a:gdLst/>
              <a:ahLst/>
              <a:cxnLst/>
              <a:rect l="l" t="t" r="r" b="b"/>
              <a:pathLst>
                <a:path h="1" extrusionOk="0">
                  <a:moveTo>
                    <a:pt x="0" y="1"/>
                  </a:move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89" name="Google Shape;2784;p49"/>
            <p:cNvSpPr/>
            <p:nvPr/>
          </p:nvSpPr>
          <p:spPr>
            <a:xfrm>
              <a:off x="-17565525" y="11155875"/>
              <a:ext cx="3375" cy="875"/>
            </a:xfrm>
            <a:custGeom>
              <a:avLst/>
              <a:gdLst/>
              <a:ahLst/>
              <a:cxnLst/>
              <a:rect l="l" t="t" r="r" b="b"/>
              <a:pathLst>
                <a:path w="135" h="35" extrusionOk="0">
                  <a:moveTo>
                    <a:pt x="1" y="35"/>
                  </a:moveTo>
                  <a:cubicBezTo>
                    <a:pt x="34" y="35"/>
                    <a:pt x="68" y="35"/>
                    <a:pt x="101" y="35"/>
                  </a:cubicBezTo>
                  <a:cubicBezTo>
                    <a:pt x="101" y="1"/>
                    <a:pt x="135" y="1"/>
                    <a:pt x="135" y="1"/>
                  </a:cubicBezTo>
                  <a:cubicBezTo>
                    <a:pt x="101" y="1"/>
                    <a:pt x="68" y="35"/>
                    <a:pt x="1" y="35"/>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90" name="Google Shape;2785;p49"/>
            <p:cNvSpPr/>
            <p:nvPr/>
          </p:nvSpPr>
          <p:spPr>
            <a:xfrm>
              <a:off x="-18586375" y="10182075"/>
              <a:ext cx="0" cy="25"/>
            </a:xfrm>
            <a:custGeom>
              <a:avLst/>
              <a:gdLst/>
              <a:ahLst/>
              <a:cxnLst/>
              <a:rect l="l" t="t" r="r" b="b"/>
              <a:pathLst>
                <a:path h="1" extrusionOk="0">
                  <a:moveTo>
                    <a:pt x="0" y="1"/>
                  </a:move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91" name="Google Shape;2786;p49"/>
            <p:cNvSpPr/>
            <p:nvPr/>
          </p:nvSpPr>
          <p:spPr>
            <a:xfrm>
              <a:off x="-17871375" y="11453325"/>
              <a:ext cx="4225" cy="1700"/>
            </a:xfrm>
            <a:custGeom>
              <a:avLst/>
              <a:gdLst/>
              <a:ahLst/>
              <a:cxnLst/>
              <a:rect l="l" t="t" r="r" b="b"/>
              <a:pathLst>
                <a:path w="169" h="68" extrusionOk="0">
                  <a:moveTo>
                    <a:pt x="1" y="68"/>
                  </a:moveTo>
                  <a:cubicBezTo>
                    <a:pt x="35" y="34"/>
                    <a:pt x="68" y="34"/>
                    <a:pt x="102" y="34"/>
                  </a:cubicBezTo>
                  <a:cubicBezTo>
                    <a:pt x="135" y="0"/>
                    <a:pt x="135" y="0"/>
                    <a:pt x="169" y="0"/>
                  </a:cubicBezTo>
                  <a:cubicBezTo>
                    <a:pt x="135" y="34"/>
                    <a:pt x="68" y="34"/>
                    <a:pt x="1" y="68"/>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92" name="Google Shape;2787;p49"/>
            <p:cNvSpPr/>
            <p:nvPr/>
          </p:nvSpPr>
          <p:spPr>
            <a:xfrm>
              <a:off x="-18392300" y="10055200"/>
              <a:ext cx="17675" cy="3400"/>
            </a:xfrm>
            <a:custGeom>
              <a:avLst/>
              <a:gdLst/>
              <a:ahLst/>
              <a:cxnLst/>
              <a:rect l="l" t="t" r="r" b="b"/>
              <a:pathLst>
                <a:path w="707" h="136" extrusionOk="0">
                  <a:moveTo>
                    <a:pt x="438" y="68"/>
                  </a:moveTo>
                  <a:cubicBezTo>
                    <a:pt x="303" y="68"/>
                    <a:pt x="169" y="34"/>
                    <a:pt x="1" y="1"/>
                  </a:cubicBezTo>
                  <a:cubicBezTo>
                    <a:pt x="236" y="34"/>
                    <a:pt x="471" y="101"/>
                    <a:pt x="706" y="135"/>
                  </a:cubicBezTo>
                  <a:cubicBezTo>
                    <a:pt x="639" y="101"/>
                    <a:pt x="538" y="101"/>
                    <a:pt x="438" y="68"/>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93" name="Google Shape;2788;p49"/>
            <p:cNvSpPr/>
            <p:nvPr/>
          </p:nvSpPr>
          <p:spPr>
            <a:xfrm>
              <a:off x="-18365400" y="10060250"/>
              <a:ext cx="18500" cy="4225"/>
            </a:xfrm>
            <a:custGeom>
              <a:avLst/>
              <a:gdLst/>
              <a:ahLst/>
              <a:cxnLst/>
              <a:rect l="l" t="t" r="r" b="b"/>
              <a:pathLst>
                <a:path w="740" h="169" extrusionOk="0">
                  <a:moveTo>
                    <a:pt x="370" y="67"/>
                  </a:moveTo>
                  <a:cubicBezTo>
                    <a:pt x="235" y="34"/>
                    <a:pt x="135" y="34"/>
                    <a:pt x="0" y="0"/>
                  </a:cubicBezTo>
                  <a:cubicBezTo>
                    <a:pt x="235" y="34"/>
                    <a:pt x="504" y="101"/>
                    <a:pt x="739" y="168"/>
                  </a:cubicBezTo>
                  <a:cubicBezTo>
                    <a:pt x="605" y="135"/>
                    <a:pt x="504" y="101"/>
                    <a:pt x="370" y="67"/>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94" name="Google Shape;2789;p49"/>
            <p:cNvSpPr/>
            <p:nvPr/>
          </p:nvSpPr>
          <p:spPr>
            <a:xfrm>
              <a:off x="-18418350" y="10052675"/>
              <a:ext cx="18525" cy="1700"/>
            </a:xfrm>
            <a:custGeom>
              <a:avLst/>
              <a:gdLst/>
              <a:ahLst/>
              <a:cxnLst/>
              <a:rect l="l" t="t" r="r" b="b"/>
              <a:pathLst>
                <a:path w="741" h="68" extrusionOk="0">
                  <a:moveTo>
                    <a:pt x="471" y="34"/>
                  </a:moveTo>
                  <a:cubicBezTo>
                    <a:pt x="337" y="1"/>
                    <a:pt x="169" y="1"/>
                    <a:pt x="1" y="1"/>
                  </a:cubicBezTo>
                  <a:cubicBezTo>
                    <a:pt x="236" y="1"/>
                    <a:pt x="471" y="34"/>
                    <a:pt x="740" y="68"/>
                  </a:cubicBezTo>
                  <a:cubicBezTo>
                    <a:pt x="639" y="68"/>
                    <a:pt x="572" y="34"/>
                    <a:pt x="471" y="34"/>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95" name="Google Shape;2790;p49"/>
            <p:cNvSpPr/>
            <p:nvPr/>
          </p:nvSpPr>
          <p:spPr>
            <a:xfrm>
              <a:off x="-18339375" y="10066125"/>
              <a:ext cx="20200" cy="5900"/>
            </a:xfrm>
            <a:custGeom>
              <a:avLst/>
              <a:gdLst/>
              <a:ahLst/>
              <a:cxnLst/>
              <a:rect l="l" t="t" r="r" b="b"/>
              <a:pathLst>
                <a:path w="808" h="236" extrusionOk="0">
                  <a:moveTo>
                    <a:pt x="371" y="101"/>
                  </a:moveTo>
                  <a:cubicBezTo>
                    <a:pt x="236" y="68"/>
                    <a:pt x="102" y="34"/>
                    <a:pt x="1" y="1"/>
                  </a:cubicBezTo>
                  <a:cubicBezTo>
                    <a:pt x="270" y="68"/>
                    <a:pt x="539" y="169"/>
                    <a:pt x="808" y="236"/>
                  </a:cubicBezTo>
                  <a:cubicBezTo>
                    <a:pt x="640" y="202"/>
                    <a:pt x="505" y="169"/>
                    <a:pt x="371" y="101"/>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96" name="Google Shape;2791;p49"/>
            <p:cNvSpPr/>
            <p:nvPr/>
          </p:nvSpPr>
          <p:spPr>
            <a:xfrm>
              <a:off x="-17647025" y="11310475"/>
              <a:ext cx="5075" cy="16000"/>
            </a:xfrm>
            <a:custGeom>
              <a:avLst/>
              <a:gdLst/>
              <a:ahLst/>
              <a:cxnLst/>
              <a:rect l="l" t="t" r="r" b="b"/>
              <a:pathLst>
                <a:path w="203" h="640" extrusionOk="0">
                  <a:moveTo>
                    <a:pt x="0" y="640"/>
                  </a:moveTo>
                  <a:cubicBezTo>
                    <a:pt x="0" y="572"/>
                    <a:pt x="34" y="505"/>
                    <a:pt x="68" y="404"/>
                  </a:cubicBezTo>
                  <a:cubicBezTo>
                    <a:pt x="101" y="303"/>
                    <a:pt x="135" y="203"/>
                    <a:pt x="169" y="68"/>
                  </a:cubicBezTo>
                  <a:cubicBezTo>
                    <a:pt x="169" y="68"/>
                    <a:pt x="202" y="35"/>
                    <a:pt x="202" y="1"/>
                  </a:cubicBezTo>
                  <a:lnTo>
                    <a:pt x="202" y="1"/>
                  </a:lnTo>
                  <a:cubicBezTo>
                    <a:pt x="135" y="236"/>
                    <a:pt x="68" y="438"/>
                    <a:pt x="0" y="640"/>
                  </a:cubicBezTo>
                  <a:cubicBezTo>
                    <a:pt x="0" y="640"/>
                    <a:pt x="0" y="640"/>
                    <a:pt x="0" y="640"/>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97" name="Google Shape;2792;p49"/>
            <p:cNvSpPr/>
            <p:nvPr/>
          </p:nvSpPr>
          <p:spPr>
            <a:xfrm>
              <a:off x="-18577975" y="10074525"/>
              <a:ext cx="10100" cy="4225"/>
            </a:xfrm>
            <a:custGeom>
              <a:avLst/>
              <a:gdLst/>
              <a:ahLst/>
              <a:cxnLst/>
              <a:rect l="l" t="t" r="r" b="b"/>
              <a:pathLst>
                <a:path w="404" h="169" extrusionOk="0">
                  <a:moveTo>
                    <a:pt x="403" y="1"/>
                  </a:moveTo>
                  <a:cubicBezTo>
                    <a:pt x="370" y="34"/>
                    <a:pt x="336" y="34"/>
                    <a:pt x="303" y="68"/>
                  </a:cubicBezTo>
                  <a:cubicBezTo>
                    <a:pt x="202" y="101"/>
                    <a:pt x="101" y="135"/>
                    <a:pt x="0" y="169"/>
                  </a:cubicBezTo>
                  <a:lnTo>
                    <a:pt x="0" y="169"/>
                  </a:lnTo>
                  <a:lnTo>
                    <a:pt x="0" y="169"/>
                  </a:lnTo>
                  <a:cubicBezTo>
                    <a:pt x="135" y="135"/>
                    <a:pt x="269" y="68"/>
                    <a:pt x="403" y="1"/>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98" name="Google Shape;2793;p49"/>
            <p:cNvSpPr/>
            <p:nvPr/>
          </p:nvSpPr>
          <p:spPr>
            <a:xfrm>
              <a:off x="-18444400" y="10051000"/>
              <a:ext cx="17675" cy="875"/>
            </a:xfrm>
            <a:custGeom>
              <a:avLst/>
              <a:gdLst/>
              <a:ahLst/>
              <a:cxnLst/>
              <a:rect l="l" t="t" r="r" b="b"/>
              <a:pathLst>
                <a:path w="707" h="35" extrusionOk="0">
                  <a:moveTo>
                    <a:pt x="539" y="34"/>
                  </a:moveTo>
                  <a:cubicBezTo>
                    <a:pt x="371" y="1"/>
                    <a:pt x="169" y="1"/>
                    <a:pt x="1" y="1"/>
                  </a:cubicBezTo>
                  <a:cubicBezTo>
                    <a:pt x="236" y="1"/>
                    <a:pt x="471" y="34"/>
                    <a:pt x="707" y="34"/>
                  </a:cubicBezTo>
                  <a:cubicBezTo>
                    <a:pt x="639" y="34"/>
                    <a:pt x="606" y="34"/>
                    <a:pt x="539" y="34"/>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299" name="Google Shape;2794;p49"/>
            <p:cNvSpPr/>
            <p:nvPr/>
          </p:nvSpPr>
          <p:spPr>
            <a:xfrm>
              <a:off x="-17665500" y="11356700"/>
              <a:ext cx="6725" cy="14300"/>
            </a:xfrm>
            <a:custGeom>
              <a:avLst/>
              <a:gdLst/>
              <a:ahLst/>
              <a:cxnLst/>
              <a:rect l="l" t="t" r="r" b="b"/>
              <a:pathLst>
                <a:path w="269" h="572" extrusionOk="0">
                  <a:moveTo>
                    <a:pt x="0" y="572"/>
                  </a:moveTo>
                  <a:cubicBezTo>
                    <a:pt x="34" y="505"/>
                    <a:pt x="67" y="471"/>
                    <a:pt x="101" y="404"/>
                  </a:cubicBezTo>
                  <a:cubicBezTo>
                    <a:pt x="101" y="337"/>
                    <a:pt x="135" y="303"/>
                    <a:pt x="168" y="236"/>
                  </a:cubicBezTo>
                  <a:cubicBezTo>
                    <a:pt x="202" y="168"/>
                    <a:pt x="235" y="68"/>
                    <a:pt x="269" y="0"/>
                  </a:cubicBezTo>
                  <a:lnTo>
                    <a:pt x="269" y="0"/>
                  </a:lnTo>
                  <a:cubicBezTo>
                    <a:pt x="168" y="202"/>
                    <a:pt x="67" y="404"/>
                    <a:pt x="0" y="572"/>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00" name="Google Shape;2795;p49"/>
            <p:cNvSpPr/>
            <p:nvPr/>
          </p:nvSpPr>
          <p:spPr>
            <a:xfrm>
              <a:off x="-18555300" y="10066975"/>
              <a:ext cx="6750" cy="2525"/>
            </a:xfrm>
            <a:custGeom>
              <a:avLst/>
              <a:gdLst/>
              <a:ahLst/>
              <a:cxnLst/>
              <a:rect l="l" t="t" r="r" b="b"/>
              <a:pathLst>
                <a:path w="270" h="101" extrusionOk="0">
                  <a:moveTo>
                    <a:pt x="236" y="34"/>
                  </a:moveTo>
                  <a:cubicBezTo>
                    <a:pt x="169" y="34"/>
                    <a:pt x="68" y="67"/>
                    <a:pt x="1" y="101"/>
                  </a:cubicBezTo>
                  <a:lnTo>
                    <a:pt x="1" y="101"/>
                  </a:lnTo>
                  <a:lnTo>
                    <a:pt x="1" y="101"/>
                  </a:lnTo>
                  <a:cubicBezTo>
                    <a:pt x="101" y="67"/>
                    <a:pt x="169" y="34"/>
                    <a:pt x="269" y="0"/>
                  </a:cubicBezTo>
                  <a:cubicBezTo>
                    <a:pt x="269" y="34"/>
                    <a:pt x="236" y="34"/>
                    <a:pt x="236" y="34"/>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01" name="Google Shape;2796;p49"/>
            <p:cNvSpPr/>
            <p:nvPr/>
          </p:nvSpPr>
          <p:spPr>
            <a:xfrm>
              <a:off x="-18512450" y="10052675"/>
              <a:ext cx="35325" cy="5075"/>
            </a:xfrm>
            <a:custGeom>
              <a:avLst/>
              <a:gdLst/>
              <a:ahLst/>
              <a:cxnLst/>
              <a:rect l="l" t="t" r="r" b="b"/>
              <a:pathLst>
                <a:path w="1413" h="203" extrusionOk="0">
                  <a:moveTo>
                    <a:pt x="1177" y="1"/>
                  </a:moveTo>
                  <a:cubicBezTo>
                    <a:pt x="807" y="68"/>
                    <a:pt x="471" y="102"/>
                    <a:pt x="101" y="169"/>
                  </a:cubicBezTo>
                  <a:cubicBezTo>
                    <a:pt x="68" y="169"/>
                    <a:pt x="34" y="169"/>
                    <a:pt x="1" y="202"/>
                  </a:cubicBezTo>
                  <a:cubicBezTo>
                    <a:pt x="438" y="102"/>
                    <a:pt x="942" y="34"/>
                    <a:pt x="1412" y="1"/>
                  </a:cubicBezTo>
                  <a:cubicBezTo>
                    <a:pt x="1345" y="1"/>
                    <a:pt x="1244" y="1"/>
                    <a:pt x="1177" y="1"/>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02" name="Google Shape;2797;p49"/>
            <p:cNvSpPr/>
            <p:nvPr/>
          </p:nvSpPr>
          <p:spPr>
            <a:xfrm>
              <a:off x="-18472950" y="10051000"/>
              <a:ext cx="21025" cy="875"/>
            </a:xfrm>
            <a:custGeom>
              <a:avLst/>
              <a:gdLst/>
              <a:ahLst/>
              <a:cxnLst/>
              <a:rect l="l" t="t" r="r" b="b"/>
              <a:pathLst>
                <a:path w="841" h="35" extrusionOk="0">
                  <a:moveTo>
                    <a:pt x="706" y="1"/>
                  </a:moveTo>
                  <a:cubicBezTo>
                    <a:pt x="471" y="1"/>
                    <a:pt x="235" y="34"/>
                    <a:pt x="0" y="34"/>
                  </a:cubicBezTo>
                  <a:cubicBezTo>
                    <a:pt x="269" y="34"/>
                    <a:pt x="538" y="1"/>
                    <a:pt x="840" y="1"/>
                  </a:cubicBezTo>
                  <a:cubicBezTo>
                    <a:pt x="773" y="1"/>
                    <a:pt x="740" y="1"/>
                    <a:pt x="706" y="1"/>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03" name="Google Shape;2798;p49"/>
            <p:cNvSpPr/>
            <p:nvPr/>
          </p:nvSpPr>
          <p:spPr>
            <a:xfrm>
              <a:off x="-17749525" y="11472650"/>
              <a:ext cx="8425" cy="7575"/>
            </a:xfrm>
            <a:custGeom>
              <a:avLst/>
              <a:gdLst/>
              <a:ahLst/>
              <a:cxnLst/>
              <a:rect l="l" t="t" r="r" b="b"/>
              <a:pathLst>
                <a:path w="337" h="303" extrusionOk="0">
                  <a:moveTo>
                    <a:pt x="269" y="101"/>
                  </a:moveTo>
                  <a:cubicBezTo>
                    <a:pt x="303" y="68"/>
                    <a:pt x="336" y="34"/>
                    <a:pt x="336" y="0"/>
                  </a:cubicBezTo>
                  <a:cubicBezTo>
                    <a:pt x="235" y="101"/>
                    <a:pt x="135" y="236"/>
                    <a:pt x="0" y="303"/>
                  </a:cubicBezTo>
                  <a:cubicBezTo>
                    <a:pt x="101" y="236"/>
                    <a:pt x="202" y="168"/>
                    <a:pt x="269" y="101"/>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04" name="Google Shape;2799;p49"/>
            <p:cNvSpPr/>
            <p:nvPr/>
          </p:nvSpPr>
          <p:spPr>
            <a:xfrm>
              <a:off x="-17690725" y="11408800"/>
              <a:ext cx="4225" cy="5900"/>
            </a:xfrm>
            <a:custGeom>
              <a:avLst/>
              <a:gdLst/>
              <a:ahLst/>
              <a:cxnLst/>
              <a:rect l="l" t="t" r="r" b="b"/>
              <a:pathLst>
                <a:path w="169" h="236" extrusionOk="0">
                  <a:moveTo>
                    <a:pt x="1" y="235"/>
                  </a:moveTo>
                  <a:cubicBezTo>
                    <a:pt x="1" y="235"/>
                    <a:pt x="1" y="235"/>
                    <a:pt x="1" y="235"/>
                  </a:cubicBezTo>
                  <a:cubicBezTo>
                    <a:pt x="68" y="168"/>
                    <a:pt x="135" y="101"/>
                    <a:pt x="169" y="0"/>
                  </a:cubicBezTo>
                  <a:cubicBezTo>
                    <a:pt x="135" y="101"/>
                    <a:pt x="68" y="168"/>
                    <a:pt x="1" y="235"/>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05" name="Google Shape;2800;p49"/>
            <p:cNvSpPr/>
            <p:nvPr/>
          </p:nvSpPr>
          <p:spPr>
            <a:xfrm>
              <a:off x="-17721800" y="11442400"/>
              <a:ext cx="10100" cy="11775"/>
            </a:xfrm>
            <a:custGeom>
              <a:avLst/>
              <a:gdLst/>
              <a:ahLst/>
              <a:cxnLst/>
              <a:rect l="l" t="t" r="r" b="b"/>
              <a:pathLst>
                <a:path w="404" h="471" extrusionOk="0">
                  <a:moveTo>
                    <a:pt x="34" y="437"/>
                  </a:moveTo>
                  <a:cubicBezTo>
                    <a:pt x="135" y="337"/>
                    <a:pt x="269" y="202"/>
                    <a:pt x="370" y="68"/>
                  </a:cubicBezTo>
                  <a:cubicBezTo>
                    <a:pt x="404" y="34"/>
                    <a:pt x="404" y="34"/>
                    <a:pt x="404" y="1"/>
                  </a:cubicBezTo>
                  <a:lnTo>
                    <a:pt x="404" y="1"/>
                  </a:lnTo>
                  <a:cubicBezTo>
                    <a:pt x="269" y="169"/>
                    <a:pt x="135" y="337"/>
                    <a:pt x="0" y="471"/>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06" name="Google Shape;2801;p49"/>
            <p:cNvSpPr/>
            <p:nvPr/>
          </p:nvSpPr>
          <p:spPr>
            <a:xfrm>
              <a:off x="-17686525" y="11370975"/>
              <a:ext cx="21050" cy="37850"/>
            </a:xfrm>
            <a:custGeom>
              <a:avLst/>
              <a:gdLst/>
              <a:ahLst/>
              <a:cxnLst/>
              <a:rect l="l" t="t" r="r" b="b"/>
              <a:pathLst>
                <a:path w="842" h="1514" extrusionOk="0">
                  <a:moveTo>
                    <a:pt x="841" y="1"/>
                  </a:moveTo>
                  <a:cubicBezTo>
                    <a:pt x="572" y="539"/>
                    <a:pt x="303" y="1043"/>
                    <a:pt x="1" y="1513"/>
                  </a:cubicBezTo>
                  <a:cubicBezTo>
                    <a:pt x="303" y="1043"/>
                    <a:pt x="572" y="539"/>
                    <a:pt x="841"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07" name="Google Shape;2802;p49"/>
            <p:cNvSpPr/>
            <p:nvPr/>
          </p:nvSpPr>
          <p:spPr>
            <a:xfrm>
              <a:off x="-18548575" y="10057725"/>
              <a:ext cx="36150" cy="10100"/>
            </a:xfrm>
            <a:custGeom>
              <a:avLst/>
              <a:gdLst/>
              <a:ahLst/>
              <a:cxnLst/>
              <a:rect l="l" t="t" r="r" b="b"/>
              <a:pathLst>
                <a:path w="1446" h="404" extrusionOk="0">
                  <a:moveTo>
                    <a:pt x="1446" y="0"/>
                  </a:moveTo>
                  <a:cubicBezTo>
                    <a:pt x="941" y="101"/>
                    <a:pt x="471" y="236"/>
                    <a:pt x="0" y="404"/>
                  </a:cubicBezTo>
                  <a:lnTo>
                    <a:pt x="0" y="404"/>
                  </a:lnTo>
                  <a:cubicBezTo>
                    <a:pt x="471" y="236"/>
                    <a:pt x="941" y="101"/>
                    <a:pt x="1446"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08" name="Google Shape;2803;p49"/>
            <p:cNvSpPr/>
            <p:nvPr/>
          </p:nvSpPr>
          <p:spPr>
            <a:xfrm>
              <a:off x="-18567900" y="10069475"/>
              <a:ext cx="12625" cy="5075"/>
            </a:xfrm>
            <a:custGeom>
              <a:avLst/>
              <a:gdLst/>
              <a:ahLst/>
              <a:cxnLst/>
              <a:rect l="l" t="t" r="r" b="b"/>
              <a:pathLst>
                <a:path w="505" h="203" extrusionOk="0">
                  <a:moveTo>
                    <a:pt x="0" y="203"/>
                  </a:moveTo>
                  <a:cubicBezTo>
                    <a:pt x="168" y="135"/>
                    <a:pt x="337" y="68"/>
                    <a:pt x="505" y="1"/>
                  </a:cubicBezTo>
                  <a:cubicBezTo>
                    <a:pt x="337" y="68"/>
                    <a:pt x="168" y="135"/>
                    <a:pt x="0" y="203"/>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09" name="Google Shape;2804;p49"/>
            <p:cNvSpPr/>
            <p:nvPr/>
          </p:nvSpPr>
          <p:spPr>
            <a:xfrm>
              <a:off x="-18598150" y="10078725"/>
              <a:ext cx="20200" cy="10950"/>
            </a:xfrm>
            <a:custGeom>
              <a:avLst/>
              <a:gdLst/>
              <a:ahLst/>
              <a:cxnLst/>
              <a:rect l="l" t="t" r="r" b="b"/>
              <a:pathLst>
                <a:path w="808" h="438" extrusionOk="0">
                  <a:moveTo>
                    <a:pt x="1" y="438"/>
                  </a:moveTo>
                  <a:cubicBezTo>
                    <a:pt x="269" y="303"/>
                    <a:pt x="538" y="135"/>
                    <a:pt x="807" y="1"/>
                  </a:cubicBezTo>
                  <a:cubicBezTo>
                    <a:pt x="538" y="135"/>
                    <a:pt x="269" y="303"/>
                    <a:pt x="1" y="438"/>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10" name="Google Shape;2805;p49"/>
            <p:cNvSpPr/>
            <p:nvPr/>
          </p:nvSpPr>
          <p:spPr>
            <a:xfrm>
              <a:off x="-17741125" y="11454175"/>
              <a:ext cx="19350" cy="18500"/>
            </a:xfrm>
            <a:custGeom>
              <a:avLst/>
              <a:gdLst/>
              <a:ahLst/>
              <a:cxnLst/>
              <a:rect l="l" t="t" r="r" b="b"/>
              <a:pathLst>
                <a:path w="774" h="740" extrusionOk="0">
                  <a:moveTo>
                    <a:pt x="0" y="739"/>
                  </a:moveTo>
                  <a:lnTo>
                    <a:pt x="0" y="739"/>
                  </a:lnTo>
                  <a:cubicBezTo>
                    <a:pt x="269" y="504"/>
                    <a:pt x="538" y="269"/>
                    <a:pt x="773" y="0"/>
                  </a:cubicBezTo>
                  <a:lnTo>
                    <a:pt x="773" y="0"/>
                  </a:lnTo>
                  <a:cubicBezTo>
                    <a:pt x="538" y="269"/>
                    <a:pt x="269" y="504"/>
                    <a:pt x="0" y="739"/>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11" name="Google Shape;2806;p49"/>
            <p:cNvSpPr/>
            <p:nvPr/>
          </p:nvSpPr>
          <p:spPr>
            <a:xfrm>
              <a:off x="-17711725" y="11414675"/>
              <a:ext cx="21025" cy="27750"/>
            </a:xfrm>
            <a:custGeom>
              <a:avLst/>
              <a:gdLst/>
              <a:ahLst/>
              <a:cxnLst/>
              <a:rect l="l" t="t" r="r" b="b"/>
              <a:pathLst>
                <a:path w="841" h="1110" extrusionOk="0">
                  <a:moveTo>
                    <a:pt x="841" y="0"/>
                  </a:moveTo>
                  <a:cubicBezTo>
                    <a:pt x="572" y="404"/>
                    <a:pt x="303" y="773"/>
                    <a:pt x="1" y="1110"/>
                  </a:cubicBezTo>
                  <a:cubicBezTo>
                    <a:pt x="303" y="773"/>
                    <a:pt x="572" y="404"/>
                    <a:pt x="841"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12" name="Google Shape;2807;p49"/>
            <p:cNvSpPr/>
            <p:nvPr/>
          </p:nvSpPr>
          <p:spPr>
            <a:xfrm>
              <a:off x="-17658800" y="11326450"/>
              <a:ext cx="11800" cy="30275"/>
            </a:xfrm>
            <a:custGeom>
              <a:avLst/>
              <a:gdLst/>
              <a:ahLst/>
              <a:cxnLst/>
              <a:rect l="l" t="t" r="r" b="b"/>
              <a:pathLst>
                <a:path w="472" h="1211" extrusionOk="0">
                  <a:moveTo>
                    <a:pt x="471" y="1"/>
                  </a:moveTo>
                  <a:cubicBezTo>
                    <a:pt x="303" y="404"/>
                    <a:pt x="169" y="807"/>
                    <a:pt x="1" y="1210"/>
                  </a:cubicBezTo>
                  <a:cubicBezTo>
                    <a:pt x="169" y="807"/>
                    <a:pt x="303" y="404"/>
                    <a:pt x="471"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13" name="Google Shape;2808;p49"/>
            <p:cNvSpPr/>
            <p:nvPr/>
          </p:nvSpPr>
          <p:spPr>
            <a:xfrm>
              <a:off x="-17778950" y="11481050"/>
              <a:ext cx="29450" cy="21875"/>
            </a:xfrm>
            <a:custGeom>
              <a:avLst/>
              <a:gdLst/>
              <a:ahLst/>
              <a:cxnLst/>
              <a:rect l="l" t="t" r="r" b="b"/>
              <a:pathLst>
                <a:path w="1178" h="875" extrusionOk="0">
                  <a:moveTo>
                    <a:pt x="1" y="874"/>
                  </a:moveTo>
                  <a:cubicBezTo>
                    <a:pt x="404" y="605"/>
                    <a:pt x="808" y="303"/>
                    <a:pt x="1177" y="1"/>
                  </a:cubicBezTo>
                  <a:lnTo>
                    <a:pt x="1177" y="1"/>
                  </a:lnTo>
                  <a:cubicBezTo>
                    <a:pt x="808" y="303"/>
                    <a:pt x="404" y="605"/>
                    <a:pt x="1" y="874"/>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14" name="Google Shape;2809;p49"/>
            <p:cNvSpPr/>
            <p:nvPr/>
          </p:nvSpPr>
          <p:spPr>
            <a:xfrm>
              <a:off x="-17641975" y="11265950"/>
              <a:ext cx="11775" cy="44550"/>
            </a:xfrm>
            <a:custGeom>
              <a:avLst/>
              <a:gdLst/>
              <a:ahLst/>
              <a:cxnLst/>
              <a:rect l="l" t="t" r="r" b="b"/>
              <a:pathLst>
                <a:path w="471" h="1782" extrusionOk="0">
                  <a:moveTo>
                    <a:pt x="471" y="1"/>
                  </a:moveTo>
                  <a:cubicBezTo>
                    <a:pt x="336" y="606"/>
                    <a:pt x="168" y="1211"/>
                    <a:pt x="0" y="1782"/>
                  </a:cubicBezTo>
                  <a:cubicBezTo>
                    <a:pt x="168" y="1211"/>
                    <a:pt x="336" y="639"/>
                    <a:pt x="471"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15" name="Google Shape;2810;p49"/>
            <p:cNvSpPr/>
            <p:nvPr/>
          </p:nvSpPr>
          <p:spPr>
            <a:xfrm>
              <a:off x="-17384050" y="11047500"/>
              <a:ext cx="10125" cy="26075"/>
            </a:xfrm>
            <a:custGeom>
              <a:avLst/>
              <a:gdLst/>
              <a:ahLst/>
              <a:cxnLst/>
              <a:rect l="l" t="t" r="r" b="b"/>
              <a:pathLst>
                <a:path w="405" h="1043" extrusionOk="0">
                  <a:moveTo>
                    <a:pt x="1" y="1042"/>
                  </a:moveTo>
                  <a:lnTo>
                    <a:pt x="1" y="1042"/>
                  </a:lnTo>
                  <a:cubicBezTo>
                    <a:pt x="135" y="706"/>
                    <a:pt x="270" y="337"/>
                    <a:pt x="404" y="0"/>
                  </a:cubicBezTo>
                  <a:lnTo>
                    <a:pt x="404" y="0"/>
                  </a:lnTo>
                  <a:cubicBezTo>
                    <a:pt x="270" y="337"/>
                    <a:pt x="135" y="706"/>
                    <a:pt x="1" y="1042"/>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16" name="Google Shape;2811;p49"/>
            <p:cNvSpPr/>
            <p:nvPr/>
          </p:nvSpPr>
          <p:spPr>
            <a:xfrm>
              <a:off x="-17869675" y="10207275"/>
              <a:ext cx="471375" cy="900750"/>
            </a:xfrm>
            <a:custGeom>
              <a:avLst/>
              <a:gdLst/>
              <a:ahLst/>
              <a:cxnLst/>
              <a:rect l="l" t="t" r="r" b="b"/>
              <a:pathLst>
                <a:path w="18855" h="36030" extrusionOk="0">
                  <a:moveTo>
                    <a:pt x="471" y="438"/>
                  </a:moveTo>
                  <a:cubicBezTo>
                    <a:pt x="706" y="673"/>
                    <a:pt x="908" y="908"/>
                    <a:pt x="1143" y="1143"/>
                  </a:cubicBezTo>
                  <a:cubicBezTo>
                    <a:pt x="1176" y="1211"/>
                    <a:pt x="1244" y="1244"/>
                    <a:pt x="1277" y="1312"/>
                  </a:cubicBezTo>
                  <a:cubicBezTo>
                    <a:pt x="1345" y="1345"/>
                    <a:pt x="1378" y="1412"/>
                    <a:pt x="1412" y="1446"/>
                  </a:cubicBezTo>
                  <a:cubicBezTo>
                    <a:pt x="1714" y="1782"/>
                    <a:pt x="2017" y="2118"/>
                    <a:pt x="2319" y="2454"/>
                  </a:cubicBezTo>
                  <a:cubicBezTo>
                    <a:pt x="2622" y="2790"/>
                    <a:pt x="2924" y="3160"/>
                    <a:pt x="3193" y="3496"/>
                  </a:cubicBezTo>
                  <a:cubicBezTo>
                    <a:pt x="3227" y="3496"/>
                    <a:pt x="3227" y="3530"/>
                    <a:pt x="3227" y="3530"/>
                  </a:cubicBezTo>
                  <a:cubicBezTo>
                    <a:pt x="3227" y="3530"/>
                    <a:pt x="3260" y="3563"/>
                    <a:pt x="3260" y="3563"/>
                  </a:cubicBezTo>
                  <a:cubicBezTo>
                    <a:pt x="3529" y="3899"/>
                    <a:pt x="3832" y="4269"/>
                    <a:pt x="4100" y="4605"/>
                  </a:cubicBezTo>
                  <a:cubicBezTo>
                    <a:pt x="4437" y="5042"/>
                    <a:pt x="4773" y="5513"/>
                    <a:pt x="5109" y="5950"/>
                  </a:cubicBezTo>
                  <a:cubicBezTo>
                    <a:pt x="5109" y="5983"/>
                    <a:pt x="5109" y="5983"/>
                    <a:pt x="5109" y="5983"/>
                  </a:cubicBezTo>
                  <a:cubicBezTo>
                    <a:pt x="5142" y="6017"/>
                    <a:pt x="5176" y="6050"/>
                    <a:pt x="5210" y="6084"/>
                  </a:cubicBezTo>
                  <a:cubicBezTo>
                    <a:pt x="5680" y="6723"/>
                    <a:pt x="6117" y="7395"/>
                    <a:pt x="6554" y="8067"/>
                  </a:cubicBezTo>
                  <a:cubicBezTo>
                    <a:pt x="6621" y="8134"/>
                    <a:pt x="6655" y="8235"/>
                    <a:pt x="6722" y="8302"/>
                  </a:cubicBezTo>
                  <a:cubicBezTo>
                    <a:pt x="7058" y="8806"/>
                    <a:pt x="7360" y="9310"/>
                    <a:pt x="7663" y="9848"/>
                  </a:cubicBezTo>
                  <a:cubicBezTo>
                    <a:pt x="7865" y="10151"/>
                    <a:pt x="8100" y="10487"/>
                    <a:pt x="8302" y="10823"/>
                  </a:cubicBezTo>
                  <a:cubicBezTo>
                    <a:pt x="8335" y="10924"/>
                    <a:pt x="8369" y="10991"/>
                    <a:pt x="8436" y="11058"/>
                  </a:cubicBezTo>
                  <a:cubicBezTo>
                    <a:pt x="8537" y="11260"/>
                    <a:pt x="8638" y="11495"/>
                    <a:pt x="8772" y="11697"/>
                  </a:cubicBezTo>
                  <a:cubicBezTo>
                    <a:pt x="9007" y="12066"/>
                    <a:pt x="9209" y="12470"/>
                    <a:pt x="9444" y="12873"/>
                  </a:cubicBezTo>
                  <a:cubicBezTo>
                    <a:pt x="9612" y="13209"/>
                    <a:pt x="9747" y="13511"/>
                    <a:pt x="9915" y="13848"/>
                  </a:cubicBezTo>
                  <a:cubicBezTo>
                    <a:pt x="9982" y="13915"/>
                    <a:pt x="10016" y="14016"/>
                    <a:pt x="10049" y="14083"/>
                  </a:cubicBezTo>
                  <a:cubicBezTo>
                    <a:pt x="10083" y="14150"/>
                    <a:pt x="10116" y="14217"/>
                    <a:pt x="10150" y="14284"/>
                  </a:cubicBezTo>
                  <a:cubicBezTo>
                    <a:pt x="10352" y="14688"/>
                    <a:pt x="10553" y="15091"/>
                    <a:pt x="10721" y="15494"/>
                  </a:cubicBezTo>
                  <a:cubicBezTo>
                    <a:pt x="10889" y="15864"/>
                    <a:pt x="11091" y="16267"/>
                    <a:pt x="11225" y="16637"/>
                  </a:cubicBezTo>
                  <a:lnTo>
                    <a:pt x="11293" y="16771"/>
                  </a:lnTo>
                  <a:cubicBezTo>
                    <a:pt x="11326" y="16839"/>
                    <a:pt x="11326" y="16872"/>
                    <a:pt x="11360" y="16906"/>
                  </a:cubicBezTo>
                  <a:cubicBezTo>
                    <a:pt x="11494" y="17208"/>
                    <a:pt x="11595" y="17477"/>
                    <a:pt x="11696" y="17746"/>
                  </a:cubicBezTo>
                  <a:cubicBezTo>
                    <a:pt x="11864" y="18116"/>
                    <a:pt x="11998" y="18486"/>
                    <a:pt x="12167" y="18889"/>
                  </a:cubicBezTo>
                  <a:cubicBezTo>
                    <a:pt x="12267" y="19124"/>
                    <a:pt x="12335" y="19359"/>
                    <a:pt x="12435" y="19595"/>
                  </a:cubicBezTo>
                  <a:cubicBezTo>
                    <a:pt x="12435" y="19662"/>
                    <a:pt x="12469" y="19729"/>
                    <a:pt x="12503" y="19796"/>
                  </a:cubicBezTo>
                  <a:cubicBezTo>
                    <a:pt x="12536" y="19863"/>
                    <a:pt x="12570" y="19931"/>
                    <a:pt x="12570" y="19998"/>
                  </a:cubicBezTo>
                  <a:cubicBezTo>
                    <a:pt x="12738" y="20401"/>
                    <a:pt x="12872" y="20805"/>
                    <a:pt x="12973" y="21208"/>
                  </a:cubicBezTo>
                  <a:cubicBezTo>
                    <a:pt x="13108" y="21611"/>
                    <a:pt x="13242" y="22014"/>
                    <a:pt x="13376" y="22418"/>
                  </a:cubicBezTo>
                  <a:cubicBezTo>
                    <a:pt x="13376" y="22451"/>
                    <a:pt x="13410" y="22519"/>
                    <a:pt x="13410" y="22552"/>
                  </a:cubicBezTo>
                  <a:cubicBezTo>
                    <a:pt x="13444" y="22619"/>
                    <a:pt x="13444" y="22653"/>
                    <a:pt x="13444" y="22720"/>
                  </a:cubicBezTo>
                  <a:cubicBezTo>
                    <a:pt x="13544" y="23023"/>
                    <a:pt x="13645" y="23325"/>
                    <a:pt x="13712" y="23628"/>
                  </a:cubicBezTo>
                  <a:cubicBezTo>
                    <a:pt x="13847" y="24031"/>
                    <a:pt x="13948" y="24468"/>
                    <a:pt x="14049" y="24871"/>
                  </a:cubicBezTo>
                  <a:cubicBezTo>
                    <a:pt x="14082" y="25039"/>
                    <a:pt x="14116" y="25207"/>
                    <a:pt x="14149" y="25375"/>
                  </a:cubicBezTo>
                  <a:cubicBezTo>
                    <a:pt x="14183" y="25476"/>
                    <a:pt x="14183" y="25543"/>
                    <a:pt x="14217" y="25644"/>
                  </a:cubicBezTo>
                  <a:cubicBezTo>
                    <a:pt x="14250" y="25779"/>
                    <a:pt x="14284" y="25947"/>
                    <a:pt x="14317" y="26081"/>
                  </a:cubicBezTo>
                  <a:cubicBezTo>
                    <a:pt x="14418" y="26484"/>
                    <a:pt x="14485" y="26888"/>
                    <a:pt x="14553" y="27291"/>
                  </a:cubicBezTo>
                  <a:cubicBezTo>
                    <a:pt x="14620" y="27661"/>
                    <a:pt x="14687" y="28030"/>
                    <a:pt x="14754" y="28366"/>
                  </a:cubicBezTo>
                  <a:cubicBezTo>
                    <a:pt x="14754" y="28400"/>
                    <a:pt x="14754" y="28400"/>
                    <a:pt x="14754" y="28434"/>
                  </a:cubicBezTo>
                  <a:cubicBezTo>
                    <a:pt x="14754" y="28434"/>
                    <a:pt x="14754" y="28467"/>
                    <a:pt x="14754" y="28467"/>
                  </a:cubicBezTo>
                  <a:cubicBezTo>
                    <a:pt x="14822" y="28871"/>
                    <a:pt x="14889" y="29240"/>
                    <a:pt x="14922" y="29644"/>
                  </a:cubicBezTo>
                  <a:cubicBezTo>
                    <a:pt x="14990" y="30013"/>
                    <a:pt x="15023" y="30383"/>
                    <a:pt x="15057" y="30753"/>
                  </a:cubicBezTo>
                  <a:cubicBezTo>
                    <a:pt x="15057" y="30887"/>
                    <a:pt x="15090" y="31022"/>
                    <a:pt x="15090" y="31156"/>
                  </a:cubicBezTo>
                  <a:cubicBezTo>
                    <a:pt x="15090" y="31223"/>
                    <a:pt x="15090" y="31290"/>
                    <a:pt x="15090" y="31391"/>
                  </a:cubicBezTo>
                  <a:cubicBezTo>
                    <a:pt x="15124" y="31559"/>
                    <a:pt x="15124" y="31727"/>
                    <a:pt x="15158" y="31895"/>
                  </a:cubicBezTo>
                  <a:cubicBezTo>
                    <a:pt x="15158" y="32265"/>
                    <a:pt x="15191" y="32635"/>
                    <a:pt x="15191" y="33004"/>
                  </a:cubicBezTo>
                  <a:cubicBezTo>
                    <a:pt x="15191" y="33374"/>
                    <a:pt x="15225" y="33710"/>
                    <a:pt x="15191" y="34046"/>
                  </a:cubicBezTo>
                  <a:lnTo>
                    <a:pt x="15191" y="34114"/>
                  </a:lnTo>
                  <a:cubicBezTo>
                    <a:pt x="15191" y="34517"/>
                    <a:pt x="15191" y="34887"/>
                    <a:pt x="15191" y="35256"/>
                  </a:cubicBezTo>
                  <a:cubicBezTo>
                    <a:pt x="15158" y="35492"/>
                    <a:pt x="15158" y="35760"/>
                    <a:pt x="15124" y="36029"/>
                  </a:cubicBezTo>
                  <a:cubicBezTo>
                    <a:pt x="15258" y="35928"/>
                    <a:pt x="15359" y="35828"/>
                    <a:pt x="15494" y="35727"/>
                  </a:cubicBezTo>
                  <a:cubicBezTo>
                    <a:pt x="15695" y="35525"/>
                    <a:pt x="15897" y="35357"/>
                    <a:pt x="16099" y="35155"/>
                  </a:cubicBezTo>
                  <a:cubicBezTo>
                    <a:pt x="17846" y="33004"/>
                    <a:pt x="18821" y="29845"/>
                    <a:pt x="18855" y="25879"/>
                  </a:cubicBezTo>
                  <a:cubicBezTo>
                    <a:pt x="18855" y="19964"/>
                    <a:pt x="16704" y="13411"/>
                    <a:pt x="13276" y="7630"/>
                  </a:cubicBezTo>
                  <a:lnTo>
                    <a:pt x="0" y="1"/>
                  </a:lnTo>
                  <a:cubicBezTo>
                    <a:pt x="168" y="135"/>
                    <a:pt x="336" y="303"/>
                    <a:pt x="471" y="438"/>
                  </a:cubicBezTo>
                  <a:close/>
                </a:path>
              </a:pathLst>
            </a:custGeom>
            <a:solidFill>
              <a:srgbClr val="BF4CA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17" name="Google Shape;2812;p49"/>
            <p:cNvSpPr/>
            <p:nvPr/>
          </p:nvSpPr>
          <p:spPr>
            <a:xfrm>
              <a:off x="-17453775" y="11156725"/>
              <a:ext cx="15975" cy="16000"/>
            </a:xfrm>
            <a:custGeom>
              <a:avLst/>
              <a:gdLst/>
              <a:ahLst/>
              <a:cxnLst/>
              <a:rect l="l" t="t" r="r" b="b"/>
              <a:pathLst>
                <a:path w="639" h="640" extrusionOk="0">
                  <a:moveTo>
                    <a:pt x="0" y="639"/>
                  </a:moveTo>
                  <a:lnTo>
                    <a:pt x="0" y="639"/>
                  </a:lnTo>
                  <a:cubicBezTo>
                    <a:pt x="236" y="437"/>
                    <a:pt x="437" y="236"/>
                    <a:pt x="639" y="1"/>
                  </a:cubicBezTo>
                  <a:lnTo>
                    <a:pt x="639" y="1"/>
                  </a:lnTo>
                  <a:cubicBezTo>
                    <a:pt x="437" y="236"/>
                    <a:pt x="236" y="437"/>
                    <a:pt x="0" y="639"/>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18" name="Google Shape;2813;p49"/>
            <p:cNvSpPr/>
            <p:nvPr/>
          </p:nvSpPr>
          <p:spPr>
            <a:xfrm>
              <a:off x="-17428575" y="11123125"/>
              <a:ext cx="17675" cy="23550"/>
            </a:xfrm>
            <a:custGeom>
              <a:avLst/>
              <a:gdLst/>
              <a:ahLst/>
              <a:cxnLst/>
              <a:rect l="l" t="t" r="r" b="b"/>
              <a:pathLst>
                <a:path w="707" h="942" extrusionOk="0">
                  <a:moveTo>
                    <a:pt x="1" y="941"/>
                  </a:moveTo>
                  <a:cubicBezTo>
                    <a:pt x="236" y="639"/>
                    <a:pt x="471" y="336"/>
                    <a:pt x="706" y="0"/>
                  </a:cubicBezTo>
                  <a:cubicBezTo>
                    <a:pt x="471" y="336"/>
                    <a:pt x="236" y="639"/>
                    <a:pt x="1" y="94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19" name="Google Shape;2814;p49"/>
            <p:cNvSpPr/>
            <p:nvPr/>
          </p:nvSpPr>
          <p:spPr>
            <a:xfrm>
              <a:off x="-17407575" y="11086150"/>
              <a:ext cx="17675" cy="31950"/>
            </a:xfrm>
            <a:custGeom>
              <a:avLst/>
              <a:gdLst/>
              <a:ahLst/>
              <a:cxnLst/>
              <a:rect l="l" t="t" r="r" b="b"/>
              <a:pathLst>
                <a:path w="707" h="1278" extrusionOk="0">
                  <a:moveTo>
                    <a:pt x="1" y="1278"/>
                  </a:moveTo>
                  <a:cubicBezTo>
                    <a:pt x="270" y="874"/>
                    <a:pt x="505" y="437"/>
                    <a:pt x="707" y="0"/>
                  </a:cubicBezTo>
                  <a:lnTo>
                    <a:pt x="707" y="0"/>
                  </a:lnTo>
                  <a:cubicBezTo>
                    <a:pt x="505" y="437"/>
                    <a:pt x="270" y="874"/>
                    <a:pt x="1" y="1278"/>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20" name="Google Shape;2815;p49"/>
            <p:cNvSpPr/>
            <p:nvPr/>
          </p:nvSpPr>
          <p:spPr>
            <a:xfrm>
              <a:off x="-17486550" y="11179400"/>
              <a:ext cx="25225" cy="18525"/>
            </a:xfrm>
            <a:custGeom>
              <a:avLst/>
              <a:gdLst/>
              <a:ahLst/>
              <a:cxnLst/>
              <a:rect l="l" t="t" r="r" b="b"/>
              <a:pathLst>
                <a:path w="1009" h="741" extrusionOk="0">
                  <a:moveTo>
                    <a:pt x="1009" y="1"/>
                  </a:moveTo>
                  <a:lnTo>
                    <a:pt x="1009" y="1"/>
                  </a:lnTo>
                  <a:cubicBezTo>
                    <a:pt x="673" y="270"/>
                    <a:pt x="370" y="505"/>
                    <a:pt x="1" y="740"/>
                  </a:cubicBezTo>
                  <a:cubicBezTo>
                    <a:pt x="370" y="505"/>
                    <a:pt x="706" y="270"/>
                    <a:pt x="1009"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21" name="Google Shape;2816;p49"/>
            <p:cNvSpPr/>
            <p:nvPr/>
          </p:nvSpPr>
          <p:spPr>
            <a:xfrm>
              <a:off x="-17369750" y="10995400"/>
              <a:ext cx="10100" cy="38675"/>
            </a:xfrm>
            <a:custGeom>
              <a:avLst/>
              <a:gdLst/>
              <a:ahLst/>
              <a:cxnLst/>
              <a:rect l="l" t="t" r="r" b="b"/>
              <a:pathLst>
                <a:path w="404" h="1547" extrusionOk="0">
                  <a:moveTo>
                    <a:pt x="404" y="1"/>
                  </a:moveTo>
                  <a:cubicBezTo>
                    <a:pt x="303" y="538"/>
                    <a:pt x="168" y="1043"/>
                    <a:pt x="0" y="1547"/>
                  </a:cubicBezTo>
                  <a:cubicBezTo>
                    <a:pt x="168" y="1043"/>
                    <a:pt x="303" y="538"/>
                    <a:pt x="404"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22" name="Google Shape;2817;p49"/>
            <p:cNvSpPr/>
            <p:nvPr/>
          </p:nvSpPr>
          <p:spPr>
            <a:xfrm>
              <a:off x="-18720825" y="10051850"/>
              <a:ext cx="1103225" cy="1496450"/>
            </a:xfrm>
            <a:custGeom>
              <a:avLst/>
              <a:gdLst/>
              <a:ahLst/>
              <a:cxnLst/>
              <a:rect l="l" t="t" r="r" b="b"/>
              <a:pathLst>
                <a:path w="44129" h="59858" extrusionOk="0">
                  <a:moveTo>
                    <a:pt x="44129" y="43288"/>
                  </a:moveTo>
                  <a:cubicBezTo>
                    <a:pt x="44129" y="41440"/>
                    <a:pt x="43994" y="39524"/>
                    <a:pt x="43658" y="37608"/>
                  </a:cubicBezTo>
                  <a:lnTo>
                    <a:pt x="43658" y="37608"/>
                  </a:lnTo>
                  <a:cubicBezTo>
                    <a:pt x="43591" y="37037"/>
                    <a:pt x="43457" y="36499"/>
                    <a:pt x="43356" y="35961"/>
                  </a:cubicBezTo>
                  <a:cubicBezTo>
                    <a:pt x="42885" y="33575"/>
                    <a:pt x="42213" y="31189"/>
                    <a:pt x="41339" y="28836"/>
                  </a:cubicBezTo>
                  <a:lnTo>
                    <a:pt x="41339" y="28836"/>
                  </a:lnTo>
                  <a:cubicBezTo>
                    <a:pt x="41003" y="27929"/>
                    <a:pt x="40667" y="27055"/>
                    <a:pt x="40264" y="26148"/>
                  </a:cubicBezTo>
                  <a:lnTo>
                    <a:pt x="40264" y="26148"/>
                  </a:lnTo>
                  <a:cubicBezTo>
                    <a:pt x="40264" y="26114"/>
                    <a:pt x="40230" y="26047"/>
                    <a:pt x="40230" y="26013"/>
                  </a:cubicBezTo>
                  <a:lnTo>
                    <a:pt x="40230" y="26013"/>
                  </a:lnTo>
                  <a:cubicBezTo>
                    <a:pt x="39928" y="25375"/>
                    <a:pt x="39625" y="24703"/>
                    <a:pt x="39323" y="24064"/>
                  </a:cubicBezTo>
                  <a:cubicBezTo>
                    <a:pt x="39054" y="23526"/>
                    <a:pt x="38785" y="22988"/>
                    <a:pt x="38516" y="22451"/>
                  </a:cubicBezTo>
                  <a:cubicBezTo>
                    <a:pt x="38247" y="21947"/>
                    <a:pt x="37978" y="21409"/>
                    <a:pt x="37676" y="20905"/>
                  </a:cubicBezTo>
                  <a:lnTo>
                    <a:pt x="37676" y="20905"/>
                  </a:lnTo>
                  <a:cubicBezTo>
                    <a:pt x="37575" y="20703"/>
                    <a:pt x="37474" y="20501"/>
                    <a:pt x="37340" y="20300"/>
                  </a:cubicBezTo>
                  <a:lnTo>
                    <a:pt x="37340" y="20300"/>
                  </a:lnTo>
                  <a:cubicBezTo>
                    <a:pt x="37138" y="19930"/>
                    <a:pt x="36903" y="19560"/>
                    <a:pt x="36668" y="19191"/>
                  </a:cubicBezTo>
                  <a:cubicBezTo>
                    <a:pt x="35895" y="17947"/>
                    <a:pt x="35122" y="16704"/>
                    <a:pt x="34248" y="15527"/>
                  </a:cubicBezTo>
                  <a:cubicBezTo>
                    <a:pt x="34214" y="15460"/>
                    <a:pt x="34181" y="15393"/>
                    <a:pt x="34113" y="15326"/>
                  </a:cubicBezTo>
                  <a:lnTo>
                    <a:pt x="34113" y="15326"/>
                  </a:lnTo>
                  <a:cubicBezTo>
                    <a:pt x="34080" y="15292"/>
                    <a:pt x="34080" y="15259"/>
                    <a:pt x="34046" y="15225"/>
                  </a:cubicBezTo>
                  <a:lnTo>
                    <a:pt x="34046" y="15225"/>
                  </a:lnTo>
                  <a:cubicBezTo>
                    <a:pt x="33441" y="14385"/>
                    <a:pt x="32803" y="13578"/>
                    <a:pt x="32164" y="12805"/>
                  </a:cubicBezTo>
                  <a:lnTo>
                    <a:pt x="32164" y="12805"/>
                  </a:lnTo>
                  <a:cubicBezTo>
                    <a:pt x="32164" y="12805"/>
                    <a:pt x="32164" y="12771"/>
                    <a:pt x="32164" y="12771"/>
                  </a:cubicBezTo>
                  <a:lnTo>
                    <a:pt x="32164" y="12771"/>
                  </a:lnTo>
                  <a:cubicBezTo>
                    <a:pt x="31526" y="11998"/>
                    <a:pt x="30853" y="11259"/>
                    <a:pt x="30215" y="10553"/>
                  </a:cubicBezTo>
                  <a:cubicBezTo>
                    <a:pt x="29980" y="10284"/>
                    <a:pt x="29744" y="10049"/>
                    <a:pt x="29509" y="9814"/>
                  </a:cubicBezTo>
                  <a:cubicBezTo>
                    <a:pt x="29038" y="9343"/>
                    <a:pt x="28602" y="8873"/>
                    <a:pt x="28131" y="8436"/>
                  </a:cubicBezTo>
                  <a:lnTo>
                    <a:pt x="28131" y="8436"/>
                  </a:lnTo>
                  <a:cubicBezTo>
                    <a:pt x="28064" y="8369"/>
                    <a:pt x="27997" y="8302"/>
                    <a:pt x="27929" y="8234"/>
                  </a:cubicBezTo>
                  <a:lnTo>
                    <a:pt x="27929" y="8234"/>
                  </a:lnTo>
                  <a:cubicBezTo>
                    <a:pt x="27291" y="7629"/>
                    <a:pt x="26619" y="7058"/>
                    <a:pt x="25980" y="6520"/>
                  </a:cubicBezTo>
                  <a:lnTo>
                    <a:pt x="25980" y="6520"/>
                  </a:lnTo>
                  <a:cubicBezTo>
                    <a:pt x="25879" y="6453"/>
                    <a:pt x="25812" y="6386"/>
                    <a:pt x="25745" y="6319"/>
                  </a:cubicBezTo>
                  <a:lnTo>
                    <a:pt x="25745" y="6319"/>
                  </a:lnTo>
                  <a:cubicBezTo>
                    <a:pt x="25039" y="5747"/>
                    <a:pt x="24367" y="5243"/>
                    <a:pt x="23661" y="4739"/>
                  </a:cubicBezTo>
                  <a:lnTo>
                    <a:pt x="23527" y="4638"/>
                  </a:lnTo>
                  <a:lnTo>
                    <a:pt x="23527" y="4638"/>
                  </a:lnTo>
                  <a:cubicBezTo>
                    <a:pt x="22754" y="4100"/>
                    <a:pt x="21981" y="3596"/>
                    <a:pt x="21208" y="3159"/>
                  </a:cubicBezTo>
                  <a:cubicBezTo>
                    <a:pt x="21073" y="3059"/>
                    <a:pt x="20939" y="2991"/>
                    <a:pt x="20771" y="2924"/>
                  </a:cubicBezTo>
                  <a:cubicBezTo>
                    <a:pt x="20468" y="2756"/>
                    <a:pt x="20166" y="2554"/>
                    <a:pt x="19863" y="2420"/>
                  </a:cubicBezTo>
                  <a:cubicBezTo>
                    <a:pt x="19863" y="2420"/>
                    <a:pt x="19830" y="2420"/>
                    <a:pt x="19830" y="2420"/>
                  </a:cubicBezTo>
                  <a:cubicBezTo>
                    <a:pt x="19763" y="2353"/>
                    <a:pt x="19695" y="2319"/>
                    <a:pt x="19594" y="2286"/>
                  </a:cubicBezTo>
                  <a:cubicBezTo>
                    <a:pt x="19326" y="2151"/>
                    <a:pt x="19057" y="2017"/>
                    <a:pt x="18754" y="1882"/>
                  </a:cubicBezTo>
                  <a:cubicBezTo>
                    <a:pt x="18754" y="1882"/>
                    <a:pt x="18754" y="1882"/>
                    <a:pt x="18754" y="1882"/>
                  </a:cubicBezTo>
                  <a:cubicBezTo>
                    <a:pt x="18687" y="1849"/>
                    <a:pt x="18653" y="1815"/>
                    <a:pt x="18586" y="1815"/>
                  </a:cubicBezTo>
                  <a:cubicBezTo>
                    <a:pt x="18519" y="1781"/>
                    <a:pt x="18418" y="1748"/>
                    <a:pt x="18351" y="1714"/>
                  </a:cubicBezTo>
                  <a:cubicBezTo>
                    <a:pt x="18149" y="1613"/>
                    <a:pt x="17914" y="1513"/>
                    <a:pt x="17712" y="1412"/>
                  </a:cubicBezTo>
                  <a:cubicBezTo>
                    <a:pt x="17712" y="1412"/>
                    <a:pt x="17712" y="1412"/>
                    <a:pt x="17712" y="1412"/>
                  </a:cubicBezTo>
                  <a:cubicBezTo>
                    <a:pt x="17712" y="1412"/>
                    <a:pt x="17712" y="1412"/>
                    <a:pt x="17679" y="1412"/>
                  </a:cubicBezTo>
                  <a:cubicBezTo>
                    <a:pt x="17679" y="1412"/>
                    <a:pt x="17679" y="1412"/>
                    <a:pt x="17679" y="1412"/>
                  </a:cubicBezTo>
                  <a:cubicBezTo>
                    <a:pt x="17511" y="1345"/>
                    <a:pt x="17376" y="1311"/>
                    <a:pt x="17242" y="1244"/>
                  </a:cubicBezTo>
                  <a:cubicBezTo>
                    <a:pt x="16939" y="1143"/>
                    <a:pt x="16637" y="1042"/>
                    <a:pt x="16368" y="941"/>
                  </a:cubicBezTo>
                  <a:cubicBezTo>
                    <a:pt x="16334" y="941"/>
                    <a:pt x="16334" y="908"/>
                    <a:pt x="16334" y="908"/>
                  </a:cubicBezTo>
                  <a:cubicBezTo>
                    <a:pt x="16301" y="908"/>
                    <a:pt x="16301" y="908"/>
                    <a:pt x="16267" y="908"/>
                  </a:cubicBezTo>
                  <a:cubicBezTo>
                    <a:pt x="16200" y="874"/>
                    <a:pt x="16133" y="874"/>
                    <a:pt x="16066" y="840"/>
                  </a:cubicBezTo>
                  <a:cubicBezTo>
                    <a:pt x="15797" y="740"/>
                    <a:pt x="15528" y="672"/>
                    <a:pt x="15259" y="605"/>
                  </a:cubicBezTo>
                  <a:cubicBezTo>
                    <a:pt x="15225" y="605"/>
                    <a:pt x="15225" y="605"/>
                    <a:pt x="15225" y="605"/>
                  </a:cubicBezTo>
                  <a:cubicBezTo>
                    <a:pt x="15125" y="572"/>
                    <a:pt x="15057" y="538"/>
                    <a:pt x="14956" y="538"/>
                  </a:cubicBezTo>
                  <a:cubicBezTo>
                    <a:pt x="14721" y="471"/>
                    <a:pt x="14452" y="403"/>
                    <a:pt x="14217" y="336"/>
                  </a:cubicBezTo>
                  <a:cubicBezTo>
                    <a:pt x="14217" y="336"/>
                    <a:pt x="14183" y="336"/>
                    <a:pt x="14183" y="336"/>
                  </a:cubicBezTo>
                  <a:cubicBezTo>
                    <a:pt x="14083" y="336"/>
                    <a:pt x="13982" y="303"/>
                    <a:pt x="13881" y="269"/>
                  </a:cubicBezTo>
                  <a:cubicBezTo>
                    <a:pt x="13646" y="235"/>
                    <a:pt x="13410" y="202"/>
                    <a:pt x="13175" y="168"/>
                  </a:cubicBezTo>
                  <a:cubicBezTo>
                    <a:pt x="13142" y="168"/>
                    <a:pt x="13142" y="168"/>
                    <a:pt x="13142" y="168"/>
                  </a:cubicBezTo>
                  <a:cubicBezTo>
                    <a:pt x="13041" y="135"/>
                    <a:pt x="12940" y="135"/>
                    <a:pt x="12839" y="135"/>
                  </a:cubicBezTo>
                  <a:cubicBezTo>
                    <a:pt x="12604" y="101"/>
                    <a:pt x="12369" y="67"/>
                    <a:pt x="12133" y="34"/>
                  </a:cubicBezTo>
                  <a:cubicBezTo>
                    <a:pt x="12100" y="34"/>
                    <a:pt x="12100" y="34"/>
                    <a:pt x="12100" y="34"/>
                  </a:cubicBezTo>
                  <a:cubicBezTo>
                    <a:pt x="11999" y="34"/>
                    <a:pt x="11864" y="34"/>
                    <a:pt x="11764" y="34"/>
                  </a:cubicBezTo>
                  <a:cubicBezTo>
                    <a:pt x="11528" y="0"/>
                    <a:pt x="11293" y="0"/>
                    <a:pt x="11058" y="0"/>
                  </a:cubicBezTo>
                  <a:lnTo>
                    <a:pt x="11024" y="0"/>
                  </a:lnTo>
                  <a:cubicBezTo>
                    <a:pt x="10957" y="0"/>
                    <a:pt x="10856" y="0"/>
                    <a:pt x="10755" y="0"/>
                  </a:cubicBezTo>
                  <a:cubicBezTo>
                    <a:pt x="10453" y="0"/>
                    <a:pt x="10184" y="34"/>
                    <a:pt x="9915" y="34"/>
                  </a:cubicBezTo>
                  <a:lnTo>
                    <a:pt x="9882" y="34"/>
                  </a:lnTo>
                  <a:cubicBezTo>
                    <a:pt x="9848" y="34"/>
                    <a:pt x="9814" y="34"/>
                    <a:pt x="9781" y="67"/>
                  </a:cubicBezTo>
                  <a:cubicBezTo>
                    <a:pt x="9277" y="101"/>
                    <a:pt x="8806" y="168"/>
                    <a:pt x="8336" y="235"/>
                  </a:cubicBezTo>
                  <a:lnTo>
                    <a:pt x="8336" y="235"/>
                  </a:lnTo>
                  <a:lnTo>
                    <a:pt x="8336" y="235"/>
                  </a:lnTo>
                  <a:cubicBezTo>
                    <a:pt x="7831" y="336"/>
                    <a:pt x="7361" y="504"/>
                    <a:pt x="6890" y="639"/>
                  </a:cubicBezTo>
                  <a:lnTo>
                    <a:pt x="6890" y="639"/>
                  </a:lnTo>
                  <a:cubicBezTo>
                    <a:pt x="6790" y="672"/>
                    <a:pt x="6722" y="706"/>
                    <a:pt x="6622" y="740"/>
                  </a:cubicBezTo>
                  <a:cubicBezTo>
                    <a:pt x="6454" y="807"/>
                    <a:pt x="6285" y="874"/>
                    <a:pt x="6151" y="941"/>
                  </a:cubicBezTo>
                  <a:cubicBezTo>
                    <a:pt x="6017" y="1008"/>
                    <a:pt x="5849" y="1042"/>
                    <a:pt x="5714" y="1109"/>
                  </a:cubicBezTo>
                  <a:cubicBezTo>
                    <a:pt x="5445" y="1244"/>
                    <a:pt x="5176" y="1378"/>
                    <a:pt x="4908" y="1546"/>
                  </a:cubicBezTo>
                  <a:cubicBezTo>
                    <a:pt x="2857" y="2756"/>
                    <a:pt x="1177" y="4638"/>
                    <a:pt x="1" y="7125"/>
                  </a:cubicBezTo>
                  <a:cubicBezTo>
                    <a:pt x="1984" y="6386"/>
                    <a:pt x="3933" y="5646"/>
                    <a:pt x="5849" y="4907"/>
                  </a:cubicBezTo>
                  <a:lnTo>
                    <a:pt x="5949" y="4873"/>
                  </a:lnTo>
                  <a:cubicBezTo>
                    <a:pt x="6991" y="4470"/>
                    <a:pt x="8033" y="4100"/>
                    <a:pt x="9041" y="3697"/>
                  </a:cubicBezTo>
                  <a:cubicBezTo>
                    <a:pt x="9512" y="3529"/>
                    <a:pt x="10016" y="3327"/>
                    <a:pt x="10487" y="3126"/>
                  </a:cubicBezTo>
                  <a:cubicBezTo>
                    <a:pt x="13612" y="2756"/>
                    <a:pt x="17309" y="3630"/>
                    <a:pt x="21208" y="5915"/>
                  </a:cubicBezTo>
                  <a:cubicBezTo>
                    <a:pt x="32601" y="12536"/>
                    <a:pt x="41843" y="28736"/>
                    <a:pt x="41810" y="41944"/>
                  </a:cubicBezTo>
                  <a:cubicBezTo>
                    <a:pt x="41776" y="46615"/>
                    <a:pt x="40633" y="50312"/>
                    <a:pt x="38617" y="52833"/>
                  </a:cubicBezTo>
                  <a:lnTo>
                    <a:pt x="37878" y="53472"/>
                  </a:lnTo>
                  <a:cubicBezTo>
                    <a:pt x="37138" y="54110"/>
                    <a:pt x="36432" y="54715"/>
                    <a:pt x="35727" y="55354"/>
                  </a:cubicBezTo>
                  <a:cubicBezTo>
                    <a:pt x="35727" y="55354"/>
                    <a:pt x="35727" y="55354"/>
                    <a:pt x="35727" y="55354"/>
                  </a:cubicBezTo>
                  <a:cubicBezTo>
                    <a:pt x="34080" y="56799"/>
                    <a:pt x="32433" y="58278"/>
                    <a:pt x="30820" y="59756"/>
                  </a:cubicBezTo>
                  <a:cubicBezTo>
                    <a:pt x="33374" y="59857"/>
                    <a:pt x="35727" y="59286"/>
                    <a:pt x="37676" y="58042"/>
                  </a:cubicBezTo>
                  <a:cubicBezTo>
                    <a:pt x="38079" y="57807"/>
                    <a:pt x="38483" y="57505"/>
                    <a:pt x="38852" y="57169"/>
                  </a:cubicBezTo>
                  <a:lnTo>
                    <a:pt x="38852" y="57169"/>
                  </a:lnTo>
                  <a:cubicBezTo>
                    <a:pt x="38987" y="57068"/>
                    <a:pt x="39087" y="56967"/>
                    <a:pt x="39188" y="56866"/>
                  </a:cubicBezTo>
                  <a:lnTo>
                    <a:pt x="39188" y="56866"/>
                  </a:lnTo>
                  <a:cubicBezTo>
                    <a:pt x="39457" y="56631"/>
                    <a:pt x="39726" y="56396"/>
                    <a:pt x="39961" y="56127"/>
                  </a:cubicBezTo>
                  <a:lnTo>
                    <a:pt x="39961" y="56127"/>
                  </a:lnTo>
                  <a:cubicBezTo>
                    <a:pt x="40096" y="55992"/>
                    <a:pt x="40264" y="55824"/>
                    <a:pt x="40365" y="55656"/>
                  </a:cubicBezTo>
                  <a:cubicBezTo>
                    <a:pt x="40667" y="55320"/>
                    <a:pt x="40936" y="54950"/>
                    <a:pt x="41205" y="54547"/>
                  </a:cubicBezTo>
                  <a:cubicBezTo>
                    <a:pt x="41272" y="54480"/>
                    <a:pt x="41339" y="54413"/>
                    <a:pt x="41373" y="54312"/>
                  </a:cubicBezTo>
                  <a:lnTo>
                    <a:pt x="41373" y="54312"/>
                  </a:lnTo>
                  <a:cubicBezTo>
                    <a:pt x="41373" y="54312"/>
                    <a:pt x="41373" y="54312"/>
                    <a:pt x="41373" y="54312"/>
                  </a:cubicBezTo>
                  <a:cubicBezTo>
                    <a:pt x="41675" y="53841"/>
                    <a:pt x="41944" y="53337"/>
                    <a:pt x="42213" y="52799"/>
                  </a:cubicBezTo>
                  <a:cubicBezTo>
                    <a:pt x="42314" y="52631"/>
                    <a:pt x="42381" y="52430"/>
                    <a:pt x="42482" y="52228"/>
                  </a:cubicBezTo>
                  <a:cubicBezTo>
                    <a:pt x="42650" y="51825"/>
                    <a:pt x="42784" y="51421"/>
                    <a:pt x="42952" y="51018"/>
                  </a:cubicBezTo>
                  <a:cubicBezTo>
                    <a:pt x="43020" y="50783"/>
                    <a:pt x="43087" y="50581"/>
                    <a:pt x="43154" y="50380"/>
                  </a:cubicBezTo>
                  <a:cubicBezTo>
                    <a:pt x="43322" y="49808"/>
                    <a:pt x="43490" y="49203"/>
                    <a:pt x="43625" y="48598"/>
                  </a:cubicBezTo>
                  <a:cubicBezTo>
                    <a:pt x="43692" y="48161"/>
                    <a:pt x="43793" y="47758"/>
                    <a:pt x="43860" y="47321"/>
                  </a:cubicBezTo>
                  <a:cubicBezTo>
                    <a:pt x="43725" y="47321"/>
                    <a:pt x="43625" y="47321"/>
                    <a:pt x="43490" y="47321"/>
                  </a:cubicBezTo>
                  <a:cubicBezTo>
                    <a:pt x="43625" y="47220"/>
                    <a:pt x="43759" y="47086"/>
                    <a:pt x="43894" y="46985"/>
                  </a:cubicBezTo>
                  <a:cubicBezTo>
                    <a:pt x="44028" y="45809"/>
                    <a:pt x="44129" y="44599"/>
                    <a:pt x="44129" y="43288"/>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23" name="Google Shape;2818;p49"/>
            <p:cNvSpPr/>
            <p:nvPr/>
          </p:nvSpPr>
          <p:spPr>
            <a:xfrm>
              <a:off x="-17537800" y="10398000"/>
              <a:ext cx="189075" cy="810000"/>
            </a:xfrm>
            <a:custGeom>
              <a:avLst/>
              <a:gdLst/>
              <a:ahLst/>
              <a:cxnLst/>
              <a:rect l="l" t="t" r="r" b="b"/>
              <a:pathLst>
                <a:path w="7563" h="32400" extrusionOk="0">
                  <a:moveTo>
                    <a:pt x="3059" y="31257"/>
                  </a:moveTo>
                  <a:cubicBezTo>
                    <a:pt x="3160" y="31156"/>
                    <a:pt x="3261" y="31089"/>
                    <a:pt x="3361" y="30988"/>
                  </a:cubicBezTo>
                  <a:lnTo>
                    <a:pt x="3361" y="30988"/>
                  </a:lnTo>
                  <a:cubicBezTo>
                    <a:pt x="3597" y="30786"/>
                    <a:pt x="3798" y="30585"/>
                    <a:pt x="4000" y="30350"/>
                  </a:cubicBezTo>
                  <a:lnTo>
                    <a:pt x="4000" y="30350"/>
                  </a:lnTo>
                  <a:cubicBezTo>
                    <a:pt x="4134" y="30215"/>
                    <a:pt x="4235" y="30081"/>
                    <a:pt x="4370" y="29946"/>
                  </a:cubicBezTo>
                  <a:lnTo>
                    <a:pt x="4370" y="29946"/>
                  </a:lnTo>
                  <a:cubicBezTo>
                    <a:pt x="4605" y="29644"/>
                    <a:pt x="4840" y="29341"/>
                    <a:pt x="5075" y="29005"/>
                  </a:cubicBezTo>
                  <a:cubicBezTo>
                    <a:pt x="5109" y="28938"/>
                    <a:pt x="5176" y="28871"/>
                    <a:pt x="5210" y="28804"/>
                  </a:cubicBezTo>
                  <a:lnTo>
                    <a:pt x="5210" y="28804"/>
                  </a:lnTo>
                  <a:cubicBezTo>
                    <a:pt x="5210" y="28804"/>
                    <a:pt x="5210" y="28804"/>
                    <a:pt x="5210" y="28804"/>
                  </a:cubicBezTo>
                  <a:cubicBezTo>
                    <a:pt x="5479" y="28400"/>
                    <a:pt x="5714" y="27963"/>
                    <a:pt x="5916" y="27526"/>
                  </a:cubicBezTo>
                  <a:lnTo>
                    <a:pt x="5916" y="27526"/>
                  </a:lnTo>
                  <a:cubicBezTo>
                    <a:pt x="5983" y="27358"/>
                    <a:pt x="6084" y="27190"/>
                    <a:pt x="6151" y="27022"/>
                  </a:cubicBezTo>
                  <a:lnTo>
                    <a:pt x="6151" y="27022"/>
                  </a:lnTo>
                  <a:cubicBezTo>
                    <a:pt x="6285" y="26686"/>
                    <a:pt x="6420" y="26350"/>
                    <a:pt x="6554" y="25980"/>
                  </a:cubicBezTo>
                  <a:lnTo>
                    <a:pt x="6554" y="25980"/>
                  </a:lnTo>
                  <a:cubicBezTo>
                    <a:pt x="6621" y="25812"/>
                    <a:pt x="6689" y="25611"/>
                    <a:pt x="6722" y="25443"/>
                  </a:cubicBezTo>
                  <a:cubicBezTo>
                    <a:pt x="6890" y="24939"/>
                    <a:pt x="7025" y="24434"/>
                    <a:pt x="7126" y="23897"/>
                  </a:cubicBezTo>
                  <a:cubicBezTo>
                    <a:pt x="7428" y="22552"/>
                    <a:pt x="7563" y="21040"/>
                    <a:pt x="7563" y="19393"/>
                  </a:cubicBezTo>
                  <a:cubicBezTo>
                    <a:pt x="7563" y="17814"/>
                    <a:pt x="7462" y="16200"/>
                    <a:pt x="7193" y="14553"/>
                  </a:cubicBezTo>
                  <a:lnTo>
                    <a:pt x="7193" y="14553"/>
                  </a:lnTo>
                  <a:cubicBezTo>
                    <a:pt x="7092" y="14083"/>
                    <a:pt x="6991" y="13612"/>
                    <a:pt x="6890" y="13142"/>
                  </a:cubicBezTo>
                  <a:cubicBezTo>
                    <a:pt x="6487" y="11125"/>
                    <a:pt x="5949" y="9075"/>
                    <a:pt x="5176" y="7059"/>
                  </a:cubicBezTo>
                  <a:lnTo>
                    <a:pt x="5176" y="7059"/>
                  </a:lnTo>
                  <a:cubicBezTo>
                    <a:pt x="4907" y="6286"/>
                    <a:pt x="4605" y="5513"/>
                    <a:pt x="4269" y="4773"/>
                  </a:cubicBezTo>
                  <a:lnTo>
                    <a:pt x="4269" y="4773"/>
                  </a:lnTo>
                  <a:cubicBezTo>
                    <a:pt x="4269" y="4706"/>
                    <a:pt x="4235" y="4673"/>
                    <a:pt x="4235" y="4639"/>
                  </a:cubicBezTo>
                  <a:lnTo>
                    <a:pt x="4235" y="4639"/>
                  </a:lnTo>
                  <a:cubicBezTo>
                    <a:pt x="4000" y="4068"/>
                    <a:pt x="3731" y="3530"/>
                    <a:pt x="3462" y="2959"/>
                  </a:cubicBezTo>
                  <a:cubicBezTo>
                    <a:pt x="3227" y="2522"/>
                    <a:pt x="3025" y="2051"/>
                    <a:pt x="2790" y="1614"/>
                  </a:cubicBezTo>
                  <a:lnTo>
                    <a:pt x="1" y="1"/>
                  </a:lnTo>
                  <a:cubicBezTo>
                    <a:pt x="3429" y="5782"/>
                    <a:pt x="5580" y="12335"/>
                    <a:pt x="5580" y="18250"/>
                  </a:cubicBezTo>
                  <a:cubicBezTo>
                    <a:pt x="5580" y="22216"/>
                    <a:pt x="4571" y="25375"/>
                    <a:pt x="2857" y="27526"/>
                  </a:cubicBezTo>
                  <a:cubicBezTo>
                    <a:pt x="2622" y="27728"/>
                    <a:pt x="2420" y="27896"/>
                    <a:pt x="2219" y="28098"/>
                  </a:cubicBezTo>
                  <a:cubicBezTo>
                    <a:pt x="2084" y="28199"/>
                    <a:pt x="1983" y="28299"/>
                    <a:pt x="1883" y="28400"/>
                  </a:cubicBezTo>
                  <a:cubicBezTo>
                    <a:pt x="1849" y="28501"/>
                    <a:pt x="1849" y="28602"/>
                    <a:pt x="1849" y="28703"/>
                  </a:cubicBezTo>
                  <a:cubicBezTo>
                    <a:pt x="1849" y="28804"/>
                    <a:pt x="1815" y="28871"/>
                    <a:pt x="1815" y="28972"/>
                  </a:cubicBezTo>
                  <a:cubicBezTo>
                    <a:pt x="1815" y="29039"/>
                    <a:pt x="1815" y="29106"/>
                    <a:pt x="1782" y="29207"/>
                  </a:cubicBezTo>
                  <a:cubicBezTo>
                    <a:pt x="1782" y="29409"/>
                    <a:pt x="1748" y="29610"/>
                    <a:pt x="1748" y="29812"/>
                  </a:cubicBezTo>
                  <a:cubicBezTo>
                    <a:pt x="1715" y="30013"/>
                    <a:pt x="1681" y="30182"/>
                    <a:pt x="1647" y="30383"/>
                  </a:cubicBezTo>
                  <a:cubicBezTo>
                    <a:pt x="1614" y="30551"/>
                    <a:pt x="1614" y="30753"/>
                    <a:pt x="1580" y="30921"/>
                  </a:cubicBezTo>
                  <a:cubicBezTo>
                    <a:pt x="1547" y="31089"/>
                    <a:pt x="1513" y="31223"/>
                    <a:pt x="1479" y="31358"/>
                  </a:cubicBezTo>
                  <a:cubicBezTo>
                    <a:pt x="1479" y="31459"/>
                    <a:pt x="1446" y="31559"/>
                    <a:pt x="1446" y="31627"/>
                  </a:cubicBezTo>
                  <a:cubicBezTo>
                    <a:pt x="1412" y="31795"/>
                    <a:pt x="1379" y="31929"/>
                    <a:pt x="1345" y="32064"/>
                  </a:cubicBezTo>
                  <a:cubicBezTo>
                    <a:pt x="1311" y="32164"/>
                    <a:pt x="1278" y="32299"/>
                    <a:pt x="1244" y="32400"/>
                  </a:cubicBezTo>
                  <a:cubicBezTo>
                    <a:pt x="1513" y="32265"/>
                    <a:pt x="1782" y="32164"/>
                    <a:pt x="2051" y="31996"/>
                  </a:cubicBezTo>
                  <a:cubicBezTo>
                    <a:pt x="2387" y="31761"/>
                    <a:pt x="2723" y="31526"/>
                    <a:pt x="3059" y="31257"/>
                  </a:cubicBezTo>
                  <a:cubicBezTo>
                    <a:pt x="3059" y="31257"/>
                    <a:pt x="3059" y="31257"/>
                    <a:pt x="3059" y="31257"/>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24" name="Google Shape;2819;p49"/>
            <p:cNvSpPr/>
            <p:nvPr/>
          </p:nvSpPr>
          <p:spPr>
            <a:xfrm>
              <a:off x="-17633575" y="11225625"/>
              <a:ext cx="10100" cy="9275"/>
            </a:xfrm>
            <a:custGeom>
              <a:avLst/>
              <a:gdLst/>
              <a:ahLst/>
              <a:cxnLst/>
              <a:rect l="l" t="t" r="r" b="b"/>
              <a:pathLst>
                <a:path w="404" h="371" extrusionOk="0">
                  <a:moveTo>
                    <a:pt x="404" y="0"/>
                  </a:moveTo>
                  <a:cubicBezTo>
                    <a:pt x="269" y="135"/>
                    <a:pt x="135" y="236"/>
                    <a:pt x="0" y="370"/>
                  </a:cubicBezTo>
                  <a:cubicBezTo>
                    <a:pt x="135" y="370"/>
                    <a:pt x="235" y="337"/>
                    <a:pt x="336" y="337"/>
                  </a:cubicBezTo>
                  <a:cubicBezTo>
                    <a:pt x="370" y="236"/>
                    <a:pt x="370" y="135"/>
                    <a:pt x="404"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25" name="Google Shape;2820;p49"/>
            <p:cNvSpPr/>
            <p:nvPr/>
          </p:nvSpPr>
          <p:spPr>
            <a:xfrm>
              <a:off x="-17437800" y="11146650"/>
              <a:ext cx="9250" cy="10100"/>
            </a:xfrm>
            <a:custGeom>
              <a:avLst/>
              <a:gdLst/>
              <a:ahLst/>
              <a:cxnLst/>
              <a:rect l="l" t="t" r="r" b="b"/>
              <a:pathLst>
                <a:path w="370" h="404" extrusionOk="0">
                  <a:moveTo>
                    <a:pt x="369" y="1"/>
                  </a:moveTo>
                  <a:cubicBezTo>
                    <a:pt x="336" y="34"/>
                    <a:pt x="336" y="34"/>
                    <a:pt x="336" y="34"/>
                  </a:cubicBezTo>
                  <a:cubicBezTo>
                    <a:pt x="335" y="35"/>
                    <a:pt x="335" y="36"/>
                    <a:pt x="334" y="37"/>
                  </a:cubicBezTo>
                  <a:lnTo>
                    <a:pt x="334" y="37"/>
                  </a:lnTo>
                  <a:cubicBezTo>
                    <a:pt x="345" y="25"/>
                    <a:pt x="357" y="13"/>
                    <a:pt x="369" y="1"/>
                  </a:cubicBezTo>
                  <a:close/>
                  <a:moveTo>
                    <a:pt x="334" y="37"/>
                  </a:moveTo>
                  <a:cubicBezTo>
                    <a:pt x="217" y="159"/>
                    <a:pt x="122" y="281"/>
                    <a:pt x="0" y="404"/>
                  </a:cubicBezTo>
                  <a:lnTo>
                    <a:pt x="34" y="370"/>
                  </a:lnTo>
                  <a:cubicBezTo>
                    <a:pt x="134" y="270"/>
                    <a:pt x="234" y="170"/>
                    <a:pt x="334" y="37"/>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26" name="Google Shape;2821;p49"/>
            <p:cNvSpPr/>
            <p:nvPr/>
          </p:nvSpPr>
          <p:spPr>
            <a:xfrm>
              <a:off x="-17389925" y="11073550"/>
              <a:ext cx="5900" cy="12625"/>
            </a:xfrm>
            <a:custGeom>
              <a:avLst/>
              <a:gdLst/>
              <a:ahLst/>
              <a:cxnLst/>
              <a:rect l="l" t="t" r="r" b="b"/>
              <a:pathLst>
                <a:path w="236" h="505" extrusionOk="0">
                  <a:moveTo>
                    <a:pt x="236" y="0"/>
                  </a:moveTo>
                  <a:lnTo>
                    <a:pt x="236" y="0"/>
                  </a:lnTo>
                  <a:cubicBezTo>
                    <a:pt x="211" y="51"/>
                    <a:pt x="185" y="101"/>
                    <a:pt x="174" y="152"/>
                  </a:cubicBezTo>
                  <a:lnTo>
                    <a:pt x="174" y="152"/>
                  </a:lnTo>
                  <a:cubicBezTo>
                    <a:pt x="196" y="101"/>
                    <a:pt x="216" y="51"/>
                    <a:pt x="236" y="0"/>
                  </a:cubicBezTo>
                  <a:close/>
                  <a:moveTo>
                    <a:pt x="174" y="152"/>
                  </a:moveTo>
                  <a:lnTo>
                    <a:pt x="174" y="152"/>
                  </a:lnTo>
                  <a:cubicBezTo>
                    <a:pt x="160" y="187"/>
                    <a:pt x="144" y="223"/>
                    <a:pt x="128" y="258"/>
                  </a:cubicBezTo>
                  <a:lnTo>
                    <a:pt x="128" y="258"/>
                  </a:lnTo>
                  <a:cubicBezTo>
                    <a:pt x="140" y="237"/>
                    <a:pt x="154" y="216"/>
                    <a:pt x="169" y="202"/>
                  </a:cubicBezTo>
                  <a:cubicBezTo>
                    <a:pt x="169" y="185"/>
                    <a:pt x="171" y="168"/>
                    <a:pt x="174" y="152"/>
                  </a:cubicBezTo>
                  <a:close/>
                  <a:moveTo>
                    <a:pt x="128" y="258"/>
                  </a:moveTo>
                  <a:lnTo>
                    <a:pt x="128" y="258"/>
                  </a:lnTo>
                  <a:cubicBezTo>
                    <a:pt x="121" y="271"/>
                    <a:pt x="115" y="285"/>
                    <a:pt x="110" y="298"/>
                  </a:cubicBezTo>
                  <a:lnTo>
                    <a:pt x="110" y="298"/>
                  </a:lnTo>
                  <a:cubicBezTo>
                    <a:pt x="116" y="284"/>
                    <a:pt x="122" y="271"/>
                    <a:pt x="128" y="258"/>
                  </a:cubicBezTo>
                  <a:close/>
                  <a:moveTo>
                    <a:pt x="110" y="298"/>
                  </a:moveTo>
                  <a:cubicBezTo>
                    <a:pt x="87" y="346"/>
                    <a:pt x="63" y="395"/>
                    <a:pt x="36" y="444"/>
                  </a:cubicBezTo>
                  <a:lnTo>
                    <a:pt x="36" y="444"/>
                  </a:lnTo>
                  <a:cubicBezTo>
                    <a:pt x="58" y="410"/>
                    <a:pt x="80" y="380"/>
                    <a:pt x="102" y="336"/>
                  </a:cubicBezTo>
                  <a:cubicBezTo>
                    <a:pt x="102" y="326"/>
                    <a:pt x="105" y="312"/>
                    <a:pt x="110" y="298"/>
                  </a:cubicBezTo>
                  <a:close/>
                  <a:moveTo>
                    <a:pt x="36" y="444"/>
                  </a:moveTo>
                  <a:lnTo>
                    <a:pt x="36" y="444"/>
                  </a:lnTo>
                  <a:cubicBezTo>
                    <a:pt x="24" y="462"/>
                    <a:pt x="12" y="481"/>
                    <a:pt x="1" y="504"/>
                  </a:cubicBezTo>
                  <a:cubicBezTo>
                    <a:pt x="13" y="484"/>
                    <a:pt x="24" y="464"/>
                    <a:pt x="36" y="444"/>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27" name="Google Shape;2822;p49"/>
            <p:cNvSpPr/>
            <p:nvPr/>
          </p:nvSpPr>
          <p:spPr>
            <a:xfrm>
              <a:off x="-17410925" y="11118075"/>
              <a:ext cx="3375" cy="5075"/>
            </a:xfrm>
            <a:custGeom>
              <a:avLst/>
              <a:gdLst/>
              <a:ahLst/>
              <a:cxnLst/>
              <a:rect l="l" t="t" r="r" b="b"/>
              <a:pathLst>
                <a:path w="135" h="203" extrusionOk="0">
                  <a:moveTo>
                    <a:pt x="135" y="1"/>
                  </a:moveTo>
                  <a:lnTo>
                    <a:pt x="135" y="1"/>
                  </a:lnTo>
                  <a:cubicBezTo>
                    <a:pt x="101" y="68"/>
                    <a:pt x="34" y="135"/>
                    <a:pt x="0" y="202"/>
                  </a:cubicBezTo>
                  <a:cubicBezTo>
                    <a:pt x="68" y="135"/>
                    <a:pt x="101" y="68"/>
                    <a:pt x="135"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28" name="Google Shape;2823;p49"/>
            <p:cNvSpPr/>
            <p:nvPr/>
          </p:nvSpPr>
          <p:spPr>
            <a:xfrm>
              <a:off x="-17491575" y="10438350"/>
              <a:ext cx="252925" cy="762925"/>
            </a:xfrm>
            <a:custGeom>
              <a:avLst/>
              <a:gdLst/>
              <a:ahLst/>
              <a:cxnLst/>
              <a:rect l="l" t="t" r="r" b="b"/>
              <a:pathLst>
                <a:path w="10117" h="30517" extrusionOk="0">
                  <a:moveTo>
                    <a:pt x="10083" y="14317"/>
                  </a:moveTo>
                  <a:cubicBezTo>
                    <a:pt x="10083" y="14015"/>
                    <a:pt x="10083" y="13679"/>
                    <a:pt x="10049" y="13376"/>
                  </a:cubicBezTo>
                  <a:cubicBezTo>
                    <a:pt x="10049" y="13208"/>
                    <a:pt x="10015" y="13074"/>
                    <a:pt x="10015" y="12906"/>
                  </a:cubicBezTo>
                  <a:cubicBezTo>
                    <a:pt x="10015" y="12872"/>
                    <a:pt x="10015" y="12805"/>
                    <a:pt x="10015" y="12738"/>
                  </a:cubicBezTo>
                  <a:lnTo>
                    <a:pt x="9982" y="12402"/>
                  </a:lnTo>
                  <a:cubicBezTo>
                    <a:pt x="9948" y="12066"/>
                    <a:pt x="9915" y="11763"/>
                    <a:pt x="9881" y="11427"/>
                  </a:cubicBezTo>
                  <a:cubicBezTo>
                    <a:pt x="9814" y="11091"/>
                    <a:pt x="9780" y="10755"/>
                    <a:pt x="9747" y="10452"/>
                  </a:cubicBezTo>
                  <a:cubicBezTo>
                    <a:pt x="9747" y="10419"/>
                    <a:pt x="9713" y="10419"/>
                    <a:pt x="9713" y="10385"/>
                  </a:cubicBezTo>
                  <a:cubicBezTo>
                    <a:pt x="9713" y="10385"/>
                    <a:pt x="9713" y="10352"/>
                    <a:pt x="9713" y="10352"/>
                  </a:cubicBezTo>
                  <a:cubicBezTo>
                    <a:pt x="9679" y="10049"/>
                    <a:pt x="9612" y="9747"/>
                    <a:pt x="9545" y="9444"/>
                  </a:cubicBezTo>
                  <a:cubicBezTo>
                    <a:pt x="9511" y="9108"/>
                    <a:pt x="9410" y="8738"/>
                    <a:pt x="9343" y="8402"/>
                  </a:cubicBezTo>
                  <a:cubicBezTo>
                    <a:pt x="9343" y="8268"/>
                    <a:pt x="9310" y="8167"/>
                    <a:pt x="9276" y="8033"/>
                  </a:cubicBezTo>
                  <a:cubicBezTo>
                    <a:pt x="9242" y="7965"/>
                    <a:pt x="9242" y="7865"/>
                    <a:pt x="9209" y="7797"/>
                  </a:cubicBezTo>
                  <a:lnTo>
                    <a:pt x="9108" y="7360"/>
                  </a:lnTo>
                  <a:cubicBezTo>
                    <a:pt x="9041" y="7024"/>
                    <a:pt x="8940" y="6655"/>
                    <a:pt x="8839" y="6319"/>
                  </a:cubicBezTo>
                  <a:cubicBezTo>
                    <a:pt x="8772" y="6050"/>
                    <a:pt x="8705" y="5781"/>
                    <a:pt x="8604" y="5512"/>
                  </a:cubicBezTo>
                  <a:cubicBezTo>
                    <a:pt x="8604" y="5478"/>
                    <a:pt x="8604" y="5445"/>
                    <a:pt x="8570" y="5378"/>
                  </a:cubicBezTo>
                  <a:lnTo>
                    <a:pt x="8537" y="5277"/>
                  </a:lnTo>
                  <a:cubicBezTo>
                    <a:pt x="8436" y="4907"/>
                    <a:pt x="8335" y="4571"/>
                    <a:pt x="8201" y="4235"/>
                  </a:cubicBezTo>
                  <a:lnTo>
                    <a:pt x="8201" y="4201"/>
                  </a:lnTo>
                  <a:lnTo>
                    <a:pt x="941" y="0"/>
                  </a:lnTo>
                  <a:cubicBezTo>
                    <a:pt x="1176" y="437"/>
                    <a:pt x="1378" y="908"/>
                    <a:pt x="1613" y="1378"/>
                  </a:cubicBezTo>
                  <a:cubicBezTo>
                    <a:pt x="1882" y="1916"/>
                    <a:pt x="2151" y="2454"/>
                    <a:pt x="2386" y="3025"/>
                  </a:cubicBezTo>
                  <a:lnTo>
                    <a:pt x="2386" y="3025"/>
                  </a:lnTo>
                  <a:cubicBezTo>
                    <a:pt x="2420" y="3059"/>
                    <a:pt x="2420" y="3092"/>
                    <a:pt x="2453" y="3159"/>
                  </a:cubicBezTo>
                  <a:lnTo>
                    <a:pt x="2453" y="3159"/>
                  </a:lnTo>
                  <a:cubicBezTo>
                    <a:pt x="2756" y="3899"/>
                    <a:pt x="3058" y="4672"/>
                    <a:pt x="3361" y="5445"/>
                  </a:cubicBezTo>
                  <a:lnTo>
                    <a:pt x="3361" y="5445"/>
                  </a:lnTo>
                  <a:cubicBezTo>
                    <a:pt x="4100" y="7461"/>
                    <a:pt x="4672" y="9511"/>
                    <a:pt x="5075" y="11528"/>
                  </a:cubicBezTo>
                  <a:cubicBezTo>
                    <a:pt x="5142" y="11998"/>
                    <a:pt x="5277" y="12469"/>
                    <a:pt x="5344" y="12939"/>
                  </a:cubicBezTo>
                  <a:lnTo>
                    <a:pt x="5344" y="12939"/>
                  </a:lnTo>
                  <a:cubicBezTo>
                    <a:pt x="5613" y="14586"/>
                    <a:pt x="5747" y="16200"/>
                    <a:pt x="5747" y="17779"/>
                  </a:cubicBezTo>
                  <a:cubicBezTo>
                    <a:pt x="5714" y="19426"/>
                    <a:pt x="5579" y="20938"/>
                    <a:pt x="5277" y="22283"/>
                  </a:cubicBezTo>
                  <a:cubicBezTo>
                    <a:pt x="5176" y="22820"/>
                    <a:pt x="5041" y="23325"/>
                    <a:pt x="4873" y="23829"/>
                  </a:cubicBezTo>
                  <a:lnTo>
                    <a:pt x="4873" y="23829"/>
                  </a:lnTo>
                  <a:cubicBezTo>
                    <a:pt x="4873" y="23862"/>
                    <a:pt x="4873" y="23862"/>
                    <a:pt x="4873" y="23896"/>
                  </a:cubicBezTo>
                  <a:cubicBezTo>
                    <a:pt x="4840" y="23997"/>
                    <a:pt x="4806" y="24098"/>
                    <a:pt x="4772" y="24165"/>
                  </a:cubicBezTo>
                  <a:cubicBezTo>
                    <a:pt x="4772" y="24232"/>
                    <a:pt x="4739" y="24299"/>
                    <a:pt x="4705" y="24366"/>
                  </a:cubicBezTo>
                  <a:cubicBezTo>
                    <a:pt x="4571" y="24736"/>
                    <a:pt x="4436" y="25072"/>
                    <a:pt x="4302" y="25408"/>
                  </a:cubicBezTo>
                  <a:cubicBezTo>
                    <a:pt x="4268" y="25476"/>
                    <a:pt x="4268" y="25543"/>
                    <a:pt x="4235" y="25610"/>
                  </a:cubicBezTo>
                  <a:cubicBezTo>
                    <a:pt x="4201" y="25644"/>
                    <a:pt x="4201" y="25711"/>
                    <a:pt x="4168" y="25744"/>
                  </a:cubicBezTo>
                  <a:cubicBezTo>
                    <a:pt x="4134" y="25812"/>
                    <a:pt x="4100" y="25845"/>
                    <a:pt x="4100" y="25912"/>
                  </a:cubicBezTo>
                  <a:cubicBezTo>
                    <a:pt x="3865" y="26349"/>
                    <a:pt x="3630" y="26786"/>
                    <a:pt x="3395" y="27190"/>
                  </a:cubicBezTo>
                  <a:cubicBezTo>
                    <a:pt x="3395" y="27190"/>
                    <a:pt x="3395" y="27190"/>
                    <a:pt x="3395" y="27190"/>
                  </a:cubicBezTo>
                  <a:lnTo>
                    <a:pt x="3395" y="27190"/>
                  </a:lnTo>
                  <a:cubicBezTo>
                    <a:pt x="3327" y="27257"/>
                    <a:pt x="3294" y="27324"/>
                    <a:pt x="3260" y="27391"/>
                  </a:cubicBezTo>
                  <a:cubicBezTo>
                    <a:pt x="3226" y="27391"/>
                    <a:pt x="3226" y="27391"/>
                    <a:pt x="3226" y="27391"/>
                  </a:cubicBezTo>
                  <a:lnTo>
                    <a:pt x="3226" y="27391"/>
                  </a:lnTo>
                  <a:cubicBezTo>
                    <a:pt x="3025" y="27727"/>
                    <a:pt x="2756" y="28063"/>
                    <a:pt x="2521" y="28332"/>
                  </a:cubicBezTo>
                  <a:cubicBezTo>
                    <a:pt x="2521" y="28366"/>
                    <a:pt x="2521" y="28366"/>
                    <a:pt x="2487" y="28366"/>
                  </a:cubicBezTo>
                  <a:cubicBezTo>
                    <a:pt x="2386" y="28500"/>
                    <a:pt x="2285" y="28601"/>
                    <a:pt x="2185" y="28702"/>
                  </a:cubicBezTo>
                  <a:lnTo>
                    <a:pt x="2185" y="28736"/>
                  </a:lnTo>
                  <a:cubicBezTo>
                    <a:pt x="1983" y="28971"/>
                    <a:pt x="1748" y="29172"/>
                    <a:pt x="1512" y="29374"/>
                  </a:cubicBezTo>
                  <a:cubicBezTo>
                    <a:pt x="1512" y="29408"/>
                    <a:pt x="1479" y="29408"/>
                    <a:pt x="1445" y="29441"/>
                  </a:cubicBezTo>
                  <a:cubicBezTo>
                    <a:pt x="1378" y="29509"/>
                    <a:pt x="1311" y="29576"/>
                    <a:pt x="1244" y="29643"/>
                  </a:cubicBezTo>
                  <a:cubicBezTo>
                    <a:pt x="907" y="29912"/>
                    <a:pt x="571" y="30147"/>
                    <a:pt x="202" y="30382"/>
                  </a:cubicBezTo>
                  <a:cubicBezTo>
                    <a:pt x="134" y="30416"/>
                    <a:pt x="67" y="30483"/>
                    <a:pt x="0" y="30517"/>
                  </a:cubicBezTo>
                  <a:lnTo>
                    <a:pt x="4369" y="27929"/>
                  </a:lnTo>
                  <a:cubicBezTo>
                    <a:pt x="4772" y="27694"/>
                    <a:pt x="5142" y="27425"/>
                    <a:pt x="5512" y="27156"/>
                  </a:cubicBezTo>
                  <a:cubicBezTo>
                    <a:pt x="5613" y="27055"/>
                    <a:pt x="5747" y="26954"/>
                    <a:pt x="5848" y="26853"/>
                  </a:cubicBezTo>
                  <a:cubicBezTo>
                    <a:pt x="6083" y="26652"/>
                    <a:pt x="6352" y="26417"/>
                    <a:pt x="6587" y="26148"/>
                  </a:cubicBezTo>
                  <a:cubicBezTo>
                    <a:pt x="6688" y="26047"/>
                    <a:pt x="6789" y="25912"/>
                    <a:pt x="6890" y="25812"/>
                  </a:cubicBezTo>
                  <a:cubicBezTo>
                    <a:pt x="7159" y="25509"/>
                    <a:pt x="7394" y="25173"/>
                    <a:pt x="7629" y="24803"/>
                  </a:cubicBezTo>
                  <a:cubicBezTo>
                    <a:pt x="7663" y="24736"/>
                    <a:pt x="7730" y="24703"/>
                    <a:pt x="7764" y="24635"/>
                  </a:cubicBezTo>
                  <a:cubicBezTo>
                    <a:pt x="7764" y="24602"/>
                    <a:pt x="7797" y="24602"/>
                    <a:pt x="7797" y="24568"/>
                  </a:cubicBezTo>
                  <a:cubicBezTo>
                    <a:pt x="8066" y="24165"/>
                    <a:pt x="8301" y="23694"/>
                    <a:pt x="8537" y="23224"/>
                  </a:cubicBezTo>
                  <a:cubicBezTo>
                    <a:pt x="8537" y="23190"/>
                    <a:pt x="8537" y="23190"/>
                    <a:pt x="8537" y="23190"/>
                  </a:cubicBezTo>
                  <a:cubicBezTo>
                    <a:pt x="8570" y="23123"/>
                    <a:pt x="8604" y="23089"/>
                    <a:pt x="8604" y="23056"/>
                  </a:cubicBezTo>
                  <a:cubicBezTo>
                    <a:pt x="8738" y="22720"/>
                    <a:pt x="8906" y="22417"/>
                    <a:pt x="9007" y="22081"/>
                  </a:cubicBezTo>
                  <a:cubicBezTo>
                    <a:pt x="9074" y="21947"/>
                    <a:pt x="9108" y="21779"/>
                    <a:pt x="9175" y="21611"/>
                  </a:cubicBezTo>
                  <a:cubicBezTo>
                    <a:pt x="9209" y="21510"/>
                    <a:pt x="9242" y="21409"/>
                    <a:pt x="9276" y="21308"/>
                  </a:cubicBezTo>
                  <a:cubicBezTo>
                    <a:pt x="9276" y="21207"/>
                    <a:pt x="9310" y="21140"/>
                    <a:pt x="9343" y="21039"/>
                  </a:cubicBezTo>
                  <a:cubicBezTo>
                    <a:pt x="9444" y="20703"/>
                    <a:pt x="9545" y="20367"/>
                    <a:pt x="9612" y="20031"/>
                  </a:cubicBezTo>
                  <a:cubicBezTo>
                    <a:pt x="9646" y="19930"/>
                    <a:pt x="9646" y="19796"/>
                    <a:pt x="9679" y="19661"/>
                  </a:cubicBezTo>
                  <a:cubicBezTo>
                    <a:pt x="9713" y="19594"/>
                    <a:pt x="9713" y="19527"/>
                    <a:pt x="9713" y="19426"/>
                  </a:cubicBezTo>
                  <a:cubicBezTo>
                    <a:pt x="9747" y="19325"/>
                    <a:pt x="9780" y="19191"/>
                    <a:pt x="9814" y="19056"/>
                  </a:cubicBezTo>
                  <a:cubicBezTo>
                    <a:pt x="9814" y="18922"/>
                    <a:pt x="9847" y="18754"/>
                    <a:pt x="9881" y="18586"/>
                  </a:cubicBezTo>
                  <a:cubicBezTo>
                    <a:pt x="9881" y="18418"/>
                    <a:pt x="9915" y="18283"/>
                    <a:pt x="9948" y="18115"/>
                  </a:cubicBezTo>
                  <a:cubicBezTo>
                    <a:pt x="9948" y="17947"/>
                    <a:pt x="9982" y="17779"/>
                    <a:pt x="9982" y="17577"/>
                  </a:cubicBezTo>
                  <a:cubicBezTo>
                    <a:pt x="10015" y="17510"/>
                    <a:pt x="10015" y="17443"/>
                    <a:pt x="10015" y="17409"/>
                  </a:cubicBezTo>
                  <a:cubicBezTo>
                    <a:pt x="10015" y="17309"/>
                    <a:pt x="10015" y="17241"/>
                    <a:pt x="10049" y="17174"/>
                  </a:cubicBezTo>
                  <a:cubicBezTo>
                    <a:pt x="10049" y="16872"/>
                    <a:pt x="10083" y="16536"/>
                    <a:pt x="10083" y="16233"/>
                  </a:cubicBezTo>
                  <a:cubicBezTo>
                    <a:pt x="10116" y="15931"/>
                    <a:pt x="10116" y="15595"/>
                    <a:pt x="10116" y="15292"/>
                  </a:cubicBezTo>
                  <a:lnTo>
                    <a:pt x="10116" y="15225"/>
                  </a:lnTo>
                  <a:cubicBezTo>
                    <a:pt x="10116" y="14922"/>
                    <a:pt x="10116" y="14620"/>
                    <a:pt x="10083" y="14317"/>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29" name="Google Shape;2824;p49"/>
            <p:cNvSpPr/>
            <p:nvPr/>
          </p:nvSpPr>
          <p:spPr>
            <a:xfrm>
              <a:off x="-17373950" y="11034050"/>
              <a:ext cx="4225" cy="13475"/>
            </a:xfrm>
            <a:custGeom>
              <a:avLst/>
              <a:gdLst/>
              <a:ahLst/>
              <a:cxnLst/>
              <a:rect l="l" t="t" r="r" b="b"/>
              <a:pathLst>
                <a:path w="169" h="539" extrusionOk="0">
                  <a:moveTo>
                    <a:pt x="168" y="1"/>
                  </a:moveTo>
                  <a:cubicBezTo>
                    <a:pt x="148" y="105"/>
                    <a:pt x="114" y="209"/>
                    <a:pt x="75" y="321"/>
                  </a:cubicBezTo>
                  <a:lnTo>
                    <a:pt x="75" y="321"/>
                  </a:lnTo>
                  <a:cubicBezTo>
                    <a:pt x="106" y="254"/>
                    <a:pt x="137" y="161"/>
                    <a:pt x="168" y="68"/>
                  </a:cubicBezTo>
                  <a:cubicBezTo>
                    <a:pt x="168" y="34"/>
                    <a:pt x="168" y="34"/>
                    <a:pt x="168" y="1"/>
                  </a:cubicBezTo>
                  <a:close/>
                  <a:moveTo>
                    <a:pt x="75" y="321"/>
                  </a:moveTo>
                  <a:cubicBezTo>
                    <a:pt x="73" y="326"/>
                    <a:pt x="70" y="332"/>
                    <a:pt x="67" y="337"/>
                  </a:cubicBezTo>
                  <a:cubicBezTo>
                    <a:pt x="49" y="373"/>
                    <a:pt x="41" y="409"/>
                    <a:pt x="32" y="446"/>
                  </a:cubicBezTo>
                  <a:lnTo>
                    <a:pt x="32" y="446"/>
                  </a:lnTo>
                  <a:cubicBezTo>
                    <a:pt x="47" y="403"/>
                    <a:pt x="61" y="361"/>
                    <a:pt x="75" y="321"/>
                  </a:cubicBezTo>
                  <a:close/>
                  <a:moveTo>
                    <a:pt x="32" y="446"/>
                  </a:moveTo>
                  <a:cubicBezTo>
                    <a:pt x="21" y="476"/>
                    <a:pt x="11" y="507"/>
                    <a:pt x="0" y="538"/>
                  </a:cubicBezTo>
                  <a:cubicBezTo>
                    <a:pt x="16" y="507"/>
                    <a:pt x="24" y="477"/>
                    <a:pt x="32" y="446"/>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30" name="Google Shape;2825;p49"/>
            <p:cNvSpPr/>
            <p:nvPr/>
          </p:nvSpPr>
          <p:spPr>
            <a:xfrm>
              <a:off x="-17461350" y="11172700"/>
              <a:ext cx="7600" cy="5900"/>
            </a:xfrm>
            <a:custGeom>
              <a:avLst/>
              <a:gdLst/>
              <a:ahLst/>
              <a:cxnLst/>
              <a:rect l="l" t="t" r="r" b="b"/>
              <a:pathLst>
                <a:path w="304" h="236" extrusionOk="0">
                  <a:moveTo>
                    <a:pt x="303" y="0"/>
                  </a:moveTo>
                  <a:cubicBezTo>
                    <a:pt x="202" y="101"/>
                    <a:pt x="102" y="168"/>
                    <a:pt x="1" y="235"/>
                  </a:cubicBezTo>
                  <a:cubicBezTo>
                    <a:pt x="102" y="202"/>
                    <a:pt x="169" y="135"/>
                    <a:pt x="236" y="67"/>
                  </a:cubicBezTo>
                  <a:cubicBezTo>
                    <a:pt x="270" y="34"/>
                    <a:pt x="270" y="34"/>
                    <a:pt x="303"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31" name="Google Shape;2826;p49"/>
            <p:cNvSpPr/>
            <p:nvPr/>
          </p:nvSpPr>
          <p:spPr>
            <a:xfrm>
              <a:off x="-18599000" y="9975375"/>
              <a:ext cx="1109950" cy="1530075"/>
            </a:xfrm>
            <a:custGeom>
              <a:avLst/>
              <a:gdLst/>
              <a:ahLst/>
              <a:cxnLst/>
              <a:rect l="l" t="t" r="r" b="b"/>
              <a:pathLst>
                <a:path w="44398" h="61203" extrusionOk="0">
                  <a:moveTo>
                    <a:pt x="44364" y="42280"/>
                  </a:moveTo>
                  <a:cubicBezTo>
                    <a:pt x="44364" y="41911"/>
                    <a:pt x="44331" y="41541"/>
                    <a:pt x="44331" y="41171"/>
                  </a:cubicBezTo>
                  <a:cubicBezTo>
                    <a:pt x="44331" y="41003"/>
                    <a:pt x="44297" y="40835"/>
                    <a:pt x="44297" y="40634"/>
                  </a:cubicBezTo>
                  <a:cubicBezTo>
                    <a:pt x="44297" y="40566"/>
                    <a:pt x="44263" y="40499"/>
                    <a:pt x="44263" y="40432"/>
                  </a:cubicBezTo>
                  <a:cubicBezTo>
                    <a:pt x="44263" y="40298"/>
                    <a:pt x="44263" y="40163"/>
                    <a:pt x="44230" y="40029"/>
                  </a:cubicBezTo>
                  <a:cubicBezTo>
                    <a:pt x="44196" y="39659"/>
                    <a:pt x="44163" y="39289"/>
                    <a:pt x="44129" y="38920"/>
                  </a:cubicBezTo>
                  <a:cubicBezTo>
                    <a:pt x="44062" y="38516"/>
                    <a:pt x="43995" y="38113"/>
                    <a:pt x="43961" y="37743"/>
                  </a:cubicBezTo>
                  <a:cubicBezTo>
                    <a:pt x="43961" y="37743"/>
                    <a:pt x="43961" y="37710"/>
                    <a:pt x="43927" y="37710"/>
                  </a:cubicBezTo>
                  <a:cubicBezTo>
                    <a:pt x="43927" y="37676"/>
                    <a:pt x="43927" y="37676"/>
                    <a:pt x="43927" y="37642"/>
                  </a:cubicBezTo>
                  <a:cubicBezTo>
                    <a:pt x="43860" y="37273"/>
                    <a:pt x="43827" y="36937"/>
                    <a:pt x="43759" y="36567"/>
                  </a:cubicBezTo>
                  <a:cubicBezTo>
                    <a:pt x="43658" y="36164"/>
                    <a:pt x="43591" y="35760"/>
                    <a:pt x="43490" y="35357"/>
                  </a:cubicBezTo>
                  <a:cubicBezTo>
                    <a:pt x="43457" y="35223"/>
                    <a:pt x="43423" y="35055"/>
                    <a:pt x="43390" y="34920"/>
                  </a:cubicBezTo>
                  <a:cubicBezTo>
                    <a:pt x="43390" y="34819"/>
                    <a:pt x="43356" y="34752"/>
                    <a:pt x="43356" y="34651"/>
                  </a:cubicBezTo>
                  <a:cubicBezTo>
                    <a:pt x="43289" y="34483"/>
                    <a:pt x="43255" y="34315"/>
                    <a:pt x="43222" y="34147"/>
                  </a:cubicBezTo>
                  <a:cubicBezTo>
                    <a:pt x="43121" y="33744"/>
                    <a:pt x="43020" y="33307"/>
                    <a:pt x="42919" y="32904"/>
                  </a:cubicBezTo>
                  <a:cubicBezTo>
                    <a:pt x="42818" y="32601"/>
                    <a:pt x="42717" y="32299"/>
                    <a:pt x="42650" y="31996"/>
                  </a:cubicBezTo>
                  <a:cubicBezTo>
                    <a:pt x="42617" y="31929"/>
                    <a:pt x="42617" y="31895"/>
                    <a:pt x="42583" y="31828"/>
                  </a:cubicBezTo>
                  <a:cubicBezTo>
                    <a:pt x="42583" y="31761"/>
                    <a:pt x="42583" y="31727"/>
                    <a:pt x="42549" y="31694"/>
                  </a:cubicBezTo>
                  <a:cubicBezTo>
                    <a:pt x="42449" y="31290"/>
                    <a:pt x="42314" y="30887"/>
                    <a:pt x="42180" y="30484"/>
                  </a:cubicBezTo>
                  <a:cubicBezTo>
                    <a:pt x="42045" y="30081"/>
                    <a:pt x="41911" y="29677"/>
                    <a:pt x="41776" y="29274"/>
                  </a:cubicBezTo>
                  <a:cubicBezTo>
                    <a:pt x="41743" y="29207"/>
                    <a:pt x="41709" y="29139"/>
                    <a:pt x="41676" y="29039"/>
                  </a:cubicBezTo>
                  <a:cubicBezTo>
                    <a:pt x="41676" y="29005"/>
                    <a:pt x="41642" y="28938"/>
                    <a:pt x="41608" y="28871"/>
                  </a:cubicBezTo>
                  <a:cubicBezTo>
                    <a:pt x="41508" y="28635"/>
                    <a:pt x="41440" y="28400"/>
                    <a:pt x="41340" y="28131"/>
                  </a:cubicBezTo>
                  <a:cubicBezTo>
                    <a:pt x="41205" y="27762"/>
                    <a:pt x="41037" y="27392"/>
                    <a:pt x="40903" y="27022"/>
                  </a:cubicBezTo>
                  <a:cubicBezTo>
                    <a:pt x="40768" y="26753"/>
                    <a:pt x="40667" y="26451"/>
                    <a:pt x="40533" y="26182"/>
                  </a:cubicBezTo>
                  <a:cubicBezTo>
                    <a:pt x="40533" y="26148"/>
                    <a:pt x="40499" y="26115"/>
                    <a:pt x="40499" y="26047"/>
                  </a:cubicBezTo>
                  <a:lnTo>
                    <a:pt x="40432" y="25913"/>
                  </a:lnTo>
                  <a:cubicBezTo>
                    <a:pt x="40264" y="25510"/>
                    <a:pt x="40096" y="25140"/>
                    <a:pt x="39928" y="24770"/>
                  </a:cubicBezTo>
                  <a:cubicBezTo>
                    <a:pt x="39726" y="24367"/>
                    <a:pt x="39525" y="23964"/>
                    <a:pt x="39323" y="23560"/>
                  </a:cubicBezTo>
                  <a:cubicBezTo>
                    <a:pt x="39289" y="23493"/>
                    <a:pt x="39256" y="23426"/>
                    <a:pt x="39222" y="23359"/>
                  </a:cubicBezTo>
                  <a:cubicBezTo>
                    <a:pt x="39189" y="23292"/>
                    <a:pt x="39155" y="23191"/>
                    <a:pt x="39121" y="23124"/>
                  </a:cubicBezTo>
                  <a:cubicBezTo>
                    <a:pt x="38953" y="22787"/>
                    <a:pt x="38785" y="22451"/>
                    <a:pt x="38617" y="22149"/>
                  </a:cubicBezTo>
                  <a:cubicBezTo>
                    <a:pt x="38416" y="21746"/>
                    <a:pt x="38180" y="21342"/>
                    <a:pt x="37945" y="20973"/>
                  </a:cubicBezTo>
                  <a:cubicBezTo>
                    <a:pt x="37844" y="20737"/>
                    <a:pt x="37710" y="20536"/>
                    <a:pt x="37609" y="20334"/>
                  </a:cubicBezTo>
                  <a:cubicBezTo>
                    <a:pt x="37575" y="20267"/>
                    <a:pt x="37508" y="20166"/>
                    <a:pt x="37475" y="20099"/>
                  </a:cubicBezTo>
                  <a:cubicBezTo>
                    <a:pt x="37273" y="19763"/>
                    <a:pt x="37071" y="19427"/>
                    <a:pt x="36870" y="19124"/>
                  </a:cubicBezTo>
                  <a:cubicBezTo>
                    <a:pt x="36533" y="18586"/>
                    <a:pt x="36231" y="18082"/>
                    <a:pt x="35895" y="17578"/>
                  </a:cubicBezTo>
                  <a:cubicBezTo>
                    <a:pt x="35861" y="17511"/>
                    <a:pt x="35794" y="17410"/>
                    <a:pt x="35760" y="17343"/>
                  </a:cubicBezTo>
                  <a:cubicBezTo>
                    <a:pt x="35324" y="16671"/>
                    <a:pt x="34853" y="15999"/>
                    <a:pt x="34383" y="15360"/>
                  </a:cubicBezTo>
                  <a:cubicBezTo>
                    <a:pt x="34349" y="15326"/>
                    <a:pt x="34315" y="15293"/>
                    <a:pt x="34315" y="15259"/>
                  </a:cubicBezTo>
                  <a:cubicBezTo>
                    <a:pt x="34282" y="15259"/>
                    <a:pt x="34282" y="15226"/>
                    <a:pt x="34282" y="15226"/>
                  </a:cubicBezTo>
                  <a:cubicBezTo>
                    <a:pt x="33946" y="14789"/>
                    <a:pt x="33610" y="14318"/>
                    <a:pt x="33273" y="13881"/>
                  </a:cubicBezTo>
                  <a:cubicBezTo>
                    <a:pt x="33005" y="13545"/>
                    <a:pt x="32736" y="13175"/>
                    <a:pt x="32433" y="12839"/>
                  </a:cubicBezTo>
                  <a:cubicBezTo>
                    <a:pt x="32433" y="12839"/>
                    <a:pt x="32433" y="12806"/>
                    <a:pt x="32400" y="12806"/>
                  </a:cubicBezTo>
                  <a:cubicBezTo>
                    <a:pt x="32400" y="12806"/>
                    <a:pt x="32400" y="12772"/>
                    <a:pt x="32400" y="12772"/>
                  </a:cubicBezTo>
                  <a:cubicBezTo>
                    <a:pt x="32097" y="12402"/>
                    <a:pt x="31795" y="12066"/>
                    <a:pt x="31492" y="11730"/>
                  </a:cubicBezTo>
                  <a:cubicBezTo>
                    <a:pt x="31223" y="11394"/>
                    <a:pt x="30921" y="11058"/>
                    <a:pt x="30618" y="10722"/>
                  </a:cubicBezTo>
                  <a:cubicBezTo>
                    <a:pt x="30551" y="10655"/>
                    <a:pt x="30518" y="10621"/>
                    <a:pt x="30484" y="10588"/>
                  </a:cubicBezTo>
                  <a:cubicBezTo>
                    <a:pt x="30417" y="10520"/>
                    <a:pt x="30383" y="10453"/>
                    <a:pt x="30316" y="10419"/>
                  </a:cubicBezTo>
                  <a:cubicBezTo>
                    <a:pt x="30114" y="10184"/>
                    <a:pt x="29879" y="9949"/>
                    <a:pt x="29677" y="9714"/>
                  </a:cubicBezTo>
                  <a:cubicBezTo>
                    <a:pt x="29509" y="9546"/>
                    <a:pt x="29341" y="9411"/>
                    <a:pt x="29207" y="9243"/>
                  </a:cubicBezTo>
                  <a:lnTo>
                    <a:pt x="18452" y="3059"/>
                  </a:lnTo>
                  <a:lnTo>
                    <a:pt x="15494" y="1345"/>
                  </a:lnTo>
                  <a:lnTo>
                    <a:pt x="13512" y="202"/>
                  </a:lnTo>
                  <a:cubicBezTo>
                    <a:pt x="13478" y="202"/>
                    <a:pt x="13444" y="169"/>
                    <a:pt x="13377" y="169"/>
                  </a:cubicBezTo>
                  <a:cubicBezTo>
                    <a:pt x="13344" y="169"/>
                    <a:pt x="13276" y="169"/>
                    <a:pt x="13243" y="135"/>
                  </a:cubicBezTo>
                  <a:cubicBezTo>
                    <a:pt x="13108" y="135"/>
                    <a:pt x="12974" y="135"/>
                    <a:pt x="12839" y="102"/>
                  </a:cubicBezTo>
                  <a:cubicBezTo>
                    <a:pt x="12671" y="102"/>
                    <a:pt x="12503" y="68"/>
                    <a:pt x="12335" y="68"/>
                  </a:cubicBezTo>
                  <a:cubicBezTo>
                    <a:pt x="12302" y="68"/>
                    <a:pt x="12268" y="34"/>
                    <a:pt x="12201" y="34"/>
                  </a:cubicBezTo>
                  <a:cubicBezTo>
                    <a:pt x="12100" y="34"/>
                    <a:pt x="11999" y="34"/>
                    <a:pt x="11865" y="34"/>
                  </a:cubicBezTo>
                  <a:cubicBezTo>
                    <a:pt x="11663" y="34"/>
                    <a:pt x="11461" y="34"/>
                    <a:pt x="11293" y="1"/>
                  </a:cubicBezTo>
                  <a:cubicBezTo>
                    <a:pt x="11226" y="1"/>
                    <a:pt x="11159" y="1"/>
                    <a:pt x="11125" y="1"/>
                  </a:cubicBezTo>
                  <a:cubicBezTo>
                    <a:pt x="11025" y="1"/>
                    <a:pt x="10957" y="34"/>
                    <a:pt x="10856" y="34"/>
                  </a:cubicBezTo>
                  <a:cubicBezTo>
                    <a:pt x="10621" y="34"/>
                    <a:pt x="10386" y="34"/>
                    <a:pt x="10151" y="68"/>
                  </a:cubicBezTo>
                  <a:cubicBezTo>
                    <a:pt x="10083" y="68"/>
                    <a:pt x="10016" y="68"/>
                    <a:pt x="9915" y="68"/>
                  </a:cubicBezTo>
                  <a:cubicBezTo>
                    <a:pt x="9882" y="68"/>
                    <a:pt x="9815" y="68"/>
                    <a:pt x="9781" y="102"/>
                  </a:cubicBezTo>
                  <a:cubicBezTo>
                    <a:pt x="9411" y="135"/>
                    <a:pt x="9042" y="169"/>
                    <a:pt x="8706" y="236"/>
                  </a:cubicBezTo>
                  <a:cubicBezTo>
                    <a:pt x="8672" y="270"/>
                    <a:pt x="8638" y="270"/>
                    <a:pt x="8605" y="270"/>
                  </a:cubicBezTo>
                  <a:cubicBezTo>
                    <a:pt x="8605" y="270"/>
                    <a:pt x="8605" y="270"/>
                    <a:pt x="8571" y="270"/>
                  </a:cubicBezTo>
                  <a:cubicBezTo>
                    <a:pt x="8067" y="370"/>
                    <a:pt x="7596" y="505"/>
                    <a:pt x="7126" y="673"/>
                  </a:cubicBezTo>
                  <a:cubicBezTo>
                    <a:pt x="7092" y="673"/>
                    <a:pt x="7025" y="707"/>
                    <a:pt x="6991" y="707"/>
                  </a:cubicBezTo>
                  <a:cubicBezTo>
                    <a:pt x="6958" y="740"/>
                    <a:pt x="6924" y="740"/>
                    <a:pt x="6891" y="740"/>
                  </a:cubicBezTo>
                  <a:cubicBezTo>
                    <a:pt x="6689" y="841"/>
                    <a:pt x="6487" y="908"/>
                    <a:pt x="6286" y="1009"/>
                  </a:cubicBezTo>
                  <a:cubicBezTo>
                    <a:pt x="6185" y="1043"/>
                    <a:pt x="6084" y="1076"/>
                    <a:pt x="5983" y="1143"/>
                  </a:cubicBezTo>
                  <a:cubicBezTo>
                    <a:pt x="5681" y="1278"/>
                    <a:pt x="5412" y="1412"/>
                    <a:pt x="5109" y="1580"/>
                  </a:cubicBezTo>
                  <a:lnTo>
                    <a:pt x="1" y="4605"/>
                  </a:lnTo>
                  <a:cubicBezTo>
                    <a:pt x="1" y="4605"/>
                    <a:pt x="35" y="4572"/>
                    <a:pt x="35" y="4572"/>
                  </a:cubicBezTo>
                  <a:cubicBezTo>
                    <a:pt x="1076" y="3967"/>
                    <a:pt x="2219" y="3530"/>
                    <a:pt x="3463" y="3294"/>
                  </a:cubicBezTo>
                  <a:lnTo>
                    <a:pt x="3463" y="3294"/>
                  </a:lnTo>
                  <a:lnTo>
                    <a:pt x="3463" y="3294"/>
                  </a:lnTo>
                  <a:cubicBezTo>
                    <a:pt x="3933" y="3194"/>
                    <a:pt x="4404" y="3126"/>
                    <a:pt x="4908" y="3093"/>
                  </a:cubicBezTo>
                  <a:cubicBezTo>
                    <a:pt x="4941" y="3093"/>
                    <a:pt x="4975" y="3093"/>
                    <a:pt x="5009" y="3059"/>
                  </a:cubicBezTo>
                  <a:lnTo>
                    <a:pt x="5042" y="3059"/>
                  </a:lnTo>
                  <a:cubicBezTo>
                    <a:pt x="5311" y="3059"/>
                    <a:pt x="5614" y="3026"/>
                    <a:pt x="5882" y="3026"/>
                  </a:cubicBezTo>
                  <a:cubicBezTo>
                    <a:pt x="5983" y="3026"/>
                    <a:pt x="6084" y="3026"/>
                    <a:pt x="6151" y="3026"/>
                  </a:cubicBezTo>
                  <a:lnTo>
                    <a:pt x="6185" y="3026"/>
                  </a:lnTo>
                  <a:cubicBezTo>
                    <a:pt x="6420" y="3026"/>
                    <a:pt x="6655" y="3059"/>
                    <a:pt x="6891" y="3059"/>
                  </a:cubicBezTo>
                  <a:cubicBezTo>
                    <a:pt x="6991" y="3059"/>
                    <a:pt x="7126" y="3059"/>
                    <a:pt x="7227" y="3059"/>
                  </a:cubicBezTo>
                  <a:cubicBezTo>
                    <a:pt x="7227" y="3059"/>
                    <a:pt x="7227" y="3059"/>
                    <a:pt x="7260" y="3093"/>
                  </a:cubicBezTo>
                  <a:cubicBezTo>
                    <a:pt x="7496" y="3093"/>
                    <a:pt x="7731" y="3126"/>
                    <a:pt x="7966" y="3160"/>
                  </a:cubicBezTo>
                  <a:cubicBezTo>
                    <a:pt x="8067" y="3160"/>
                    <a:pt x="8168" y="3160"/>
                    <a:pt x="8269" y="3194"/>
                  </a:cubicBezTo>
                  <a:cubicBezTo>
                    <a:pt x="8269" y="3194"/>
                    <a:pt x="8269" y="3194"/>
                    <a:pt x="8302" y="3194"/>
                  </a:cubicBezTo>
                  <a:cubicBezTo>
                    <a:pt x="8537" y="3227"/>
                    <a:pt x="8773" y="3261"/>
                    <a:pt x="9008" y="3328"/>
                  </a:cubicBezTo>
                  <a:cubicBezTo>
                    <a:pt x="9109" y="3328"/>
                    <a:pt x="9210" y="3362"/>
                    <a:pt x="9310" y="3362"/>
                  </a:cubicBezTo>
                  <a:cubicBezTo>
                    <a:pt x="9310" y="3362"/>
                    <a:pt x="9344" y="3395"/>
                    <a:pt x="9344" y="3395"/>
                  </a:cubicBezTo>
                  <a:cubicBezTo>
                    <a:pt x="9579" y="3429"/>
                    <a:pt x="9848" y="3496"/>
                    <a:pt x="10083" y="3563"/>
                  </a:cubicBezTo>
                  <a:cubicBezTo>
                    <a:pt x="10184" y="3597"/>
                    <a:pt x="10285" y="3597"/>
                    <a:pt x="10352" y="3631"/>
                  </a:cubicBezTo>
                  <a:cubicBezTo>
                    <a:pt x="10352" y="3631"/>
                    <a:pt x="10386" y="3631"/>
                    <a:pt x="10386" y="3631"/>
                  </a:cubicBezTo>
                  <a:cubicBezTo>
                    <a:pt x="10655" y="3698"/>
                    <a:pt x="10924" y="3799"/>
                    <a:pt x="11193" y="3866"/>
                  </a:cubicBezTo>
                  <a:cubicBezTo>
                    <a:pt x="11260" y="3899"/>
                    <a:pt x="11327" y="3933"/>
                    <a:pt x="11394" y="3933"/>
                  </a:cubicBezTo>
                  <a:cubicBezTo>
                    <a:pt x="11428" y="3933"/>
                    <a:pt x="11428" y="3967"/>
                    <a:pt x="11461" y="3967"/>
                  </a:cubicBezTo>
                  <a:cubicBezTo>
                    <a:pt x="11461" y="3967"/>
                    <a:pt x="11495" y="3967"/>
                    <a:pt x="11495" y="3967"/>
                  </a:cubicBezTo>
                  <a:cubicBezTo>
                    <a:pt x="11798" y="4067"/>
                    <a:pt x="12066" y="4168"/>
                    <a:pt x="12369" y="4269"/>
                  </a:cubicBezTo>
                  <a:cubicBezTo>
                    <a:pt x="12503" y="4336"/>
                    <a:pt x="12671" y="4370"/>
                    <a:pt x="12806" y="4437"/>
                  </a:cubicBezTo>
                  <a:cubicBezTo>
                    <a:pt x="12806" y="4437"/>
                    <a:pt x="12806" y="4437"/>
                    <a:pt x="12839" y="4437"/>
                  </a:cubicBezTo>
                  <a:cubicBezTo>
                    <a:pt x="12839" y="4437"/>
                    <a:pt x="12839" y="4471"/>
                    <a:pt x="12839" y="4471"/>
                  </a:cubicBezTo>
                  <a:cubicBezTo>
                    <a:pt x="12839" y="4471"/>
                    <a:pt x="12839" y="4471"/>
                    <a:pt x="12839" y="4471"/>
                  </a:cubicBezTo>
                  <a:cubicBezTo>
                    <a:pt x="13041" y="4538"/>
                    <a:pt x="13276" y="4639"/>
                    <a:pt x="13478" y="4740"/>
                  </a:cubicBezTo>
                  <a:cubicBezTo>
                    <a:pt x="13579" y="4773"/>
                    <a:pt x="13646" y="4807"/>
                    <a:pt x="13713" y="4840"/>
                  </a:cubicBezTo>
                  <a:cubicBezTo>
                    <a:pt x="13780" y="4874"/>
                    <a:pt x="13814" y="4874"/>
                    <a:pt x="13881" y="4908"/>
                  </a:cubicBezTo>
                  <a:cubicBezTo>
                    <a:pt x="13881" y="4908"/>
                    <a:pt x="13881" y="4908"/>
                    <a:pt x="13881" y="4908"/>
                  </a:cubicBezTo>
                  <a:cubicBezTo>
                    <a:pt x="14184" y="5042"/>
                    <a:pt x="14453" y="5177"/>
                    <a:pt x="14721" y="5311"/>
                  </a:cubicBezTo>
                  <a:cubicBezTo>
                    <a:pt x="14822" y="5378"/>
                    <a:pt x="14890" y="5412"/>
                    <a:pt x="14957" y="5445"/>
                  </a:cubicBezTo>
                  <a:cubicBezTo>
                    <a:pt x="14957" y="5445"/>
                    <a:pt x="14990" y="5445"/>
                    <a:pt x="14990" y="5445"/>
                  </a:cubicBezTo>
                  <a:cubicBezTo>
                    <a:pt x="15293" y="5613"/>
                    <a:pt x="15595" y="5781"/>
                    <a:pt x="15898" y="5950"/>
                  </a:cubicBezTo>
                  <a:cubicBezTo>
                    <a:pt x="16066" y="6017"/>
                    <a:pt x="16200" y="6118"/>
                    <a:pt x="16335" y="6185"/>
                  </a:cubicBezTo>
                  <a:cubicBezTo>
                    <a:pt x="17108" y="6655"/>
                    <a:pt x="17881" y="7126"/>
                    <a:pt x="18654" y="7664"/>
                  </a:cubicBezTo>
                  <a:lnTo>
                    <a:pt x="18654" y="7664"/>
                  </a:lnTo>
                  <a:lnTo>
                    <a:pt x="18788" y="7764"/>
                  </a:lnTo>
                  <a:cubicBezTo>
                    <a:pt x="19494" y="8269"/>
                    <a:pt x="20166" y="8806"/>
                    <a:pt x="20872" y="9344"/>
                  </a:cubicBezTo>
                  <a:lnTo>
                    <a:pt x="20872" y="9344"/>
                  </a:lnTo>
                  <a:cubicBezTo>
                    <a:pt x="20939" y="9411"/>
                    <a:pt x="21006" y="9478"/>
                    <a:pt x="21107" y="9546"/>
                  </a:cubicBezTo>
                  <a:lnTo>
                    <a:pt x="21107" y="9546"/>
                  </a:lnTo>
                  <a:cubicBezTo>
                    <a:pt x="21746" y="10083"/>
                    <a:pt x="22418" y="10655"/>
                    <a:pt x="23056" y="11260"/>
                  </a:cubicBezTo>
                  <a:lnTo>
                    <a:pt x="23056" y="11260"/>
                  </a:lnTo>
                  <a:cubicBezTo>
                    <a:pt x="23124" y="11327"/>
                    <a:pt x="23191" y="11394"/>
                    <a:pt x="23258" y="11495"/>
                  </a:cubicBezTo>
                  <a:lnTo>
                    <a:pt x="23258" y="11495"/>
                  </a:lnTo>
                  <a:cubicBezTo>
                    <a:pt x="23729" y="11932"/>
                    <a:pt x="24165" y="12402"/>
                    <a:pt x="24636" y="12839"/>
                  </a:cubicBezTo>
                  <a:cubicBezTo>
                    <a:pt x="24871" y="13108"/>
                    <a:pt x="25107" y="13310"/>
                    <a:pt x="25342" y="13579"/>
                  </a:cubicBezTo>
                  <a:cubicBezTo>
                    <a:pt x="25980" y="14284"/>
                    <a:pt x="26653" y="15024"/>
                    <a:pt x="27291" y="15797"/>
                  </a:cubicBezTo>
                  <a:lnTo>
                    <a:pt x="27291" y="15797"/>
                  </a:lnTo>
                  <a:cubicBezTo>
                    <a:pt x="27291" y="15797"/>
                    <a:pt x="27291" y="15830"/>
                    <a:pt x="27325" y="15830"/>
                  </a:cubicBezTo>
                  <a:lnTo>
                    <a:pt x="27325" y="15830"/>
                  </a:lnTo>
                  <a:cubicBezTo>
                    <a:pt x="27963" y="16603"/>
                    <a:pt x="28568" y="17410"/>
                    <a:pt x="29173" y="18250"/>
                  </a:cubicBezTo>
                  <a:lnTo>
                    <a:pt x="29173" y="18250"/>
                  </a:lnTo>
                  <a:cubicBezTo>
                    <a:pt x="29207" y="18284"/>
                    <a:pt x="29207" y="18318"/>
                    <a:pt x="29240" y="18351"/>
                  </a:cubicBezTo>
                  <a:lnTo>
                    <a:pt x="29240" y="18351"/>
                  </a:lnTo>
                  <a:cubicBezTo>
                    <a:pt x="29308" y="18418"/>
                    <a:pt x="29341" y="18486"/>
                    <a:pt x="29408" y="18553"/>
                  </a:cubicBezTo>
                  <a:cubicBezTo>
                    <a:pt x="30249" y="19763"/>
                    <a:pt x="31055" y="20973"/>
                    <a:pt x="31795" y="22216"/>
                  </a:cubicBezTo>
                  <a:cubicBezTo>
                    <a:pt x="32030" y="22586"/>
                    <a:pt x="32265" y="22956"/>
                    <a:pt x="32467" y="23325"/>
                  </a:cubicBezTo>
                  <a:lnTo>
                    <a:pt x="32467" y="23325"/>
                  </a:lnTo>
                  <a:cubicBezTo>
                    <a:pt x="32601" y="23527"/>
                    <a:pt x="32702" y="23728"/>
                    <a:pt x="32803" y="23930"/>
                  </a:cubicBezTo>
                  <a:lnTo>
                    <a:pt x="32803" y="23964"/>
                  </a:lnTo>
                  <a:cubicBezTo>
                    <a:pt x="33105" y="24468"/>
                    <a:pt x="33374" y="24972"/>
                    <a:pt x="33643" y="25476"/>
                  </a:cubicBezTo>
                  <a:cubicBezTo>
                    <a:pt x="33912" y="26014"/>
                    <a:pt x="34181" y="26552"/>
                    <a:pt x="34450" y="27089"/>
                  </a:cubicBezTo>
                  <a:cubicBezTo>
                    <a:pt x="34752" y="27728"/>
                    <a:pt x="35055" y="28400"/>
                    <a:pt x="35357" y="29039"/>
                  </a:cubicBezTo>
                  <a:lnTo>
                    <a:pt x="35357" y="29039"/>
                  </a:lnTo>
                  <a:cubicBezTo>
                    <a:pt x="35357" y="29106"/>
                    <a:pt x="35391" y="29139"/>
                    <a:pt x="35391" y="29173"/>
                  </a:cubicBezTo>
                  <a:lnTo>
                    <a:pt x="35391" y="29173"/>
                  </a:lnTo>
                  <a:cubicBezTo>
                    <a:pt x="35794" y="30081"/>
                    <a:pt x="36130" y="30954"/>
                    <a:pt x="36466" y="31862"/>
                  </a:cubicBezTo>
                  <a:lnTo>
                    <a:pt x="36466" y="31862"/>
                  </a:lnTo>
                  <a:cubicBezTo>
                    <a:pt x="37340" y="34248"/>
                    <a:pt x="38012" y="36634"/>
                    <a:pt x="38483" y="38987"/>
                  </a:cubicBezTo>
                  <a:cubicBezTo>
                    <a:pt x="38584" y="39525"/>
                    <a:pt x="38718" y="40096"/>
                    <a:pt x="38819" y="40634"/>
                  </a:cubicBezTo>
                  <a:lnTo>
                    <a:pt x="38819" y="40634"/>
                  </a:lnTo>
                  <a:cubicBezTo>
                    <a:pt x="39121" y="42549"/>
                    <a:pt x="39256" y="44465"/>
                    <a:pt x="39256" y="46314"/>
                  </a:cubicBezTo>
                  <a:cubicBezTo>
                    <a:pt x="39256" y="47624"/>
                    <a:pt x="39155" y="48834"/>
                    <a:pt x="39021" y="49977"/>
                  </a:cubicBezTo>
                  <a:cubicBezTo>
                    <a:pt x="38987" y="50111"/>
                    <a:pt x="38987" y="50212"/>
                    <a:pt x="38987" y="50313"/>
                  </a:cubicBezTo>
                  <a:cubicBezTo>
                    <a:pt x="38920" y="50750"/>
                    <a:pt x="38819" y="51187"/>
                    <a:pt x="38752" y="51590"/>
                  </a:cubicBezTo>
                  <a:cubicBezTo>
                    <a:pt x="38281" y="53808"/>
                    <a:pt x="37508" y="55724"/>
                    <a:pt x="36500" y="57304"/>
                  </a:cubicBezTo>
                  <a:cubicBezTo>
                    <a:pt x="36500" y="57304"/>
                    <a:pt x="36500" y="57304"/>
                    <a:pt x="36500" y="57304"/>
                  </a:cubicBezTo>
                  <a:lnTo>
                    <a:pt x="36500" y="57304"/>
                  </a:lnTo>
                  <a:cubicBezTo>
                    <a:pt x="35492" y="58883"/>
                    <a:pt x="34248" y="60160"/>
                    <a:pt x="32803" y="61068"/>
                  </a:cubicBezTo>
                  <a:cubicBezTo>
                    <a:pt x="32702" y="61101"/>
                    <a:pt x="32635" y="61169"/>
                    <a:pt x="32568" y="61202"/>
                  </a:cubicBezTo>
                  <a:lnTo>
                    <a:pt x="37676" y="58211"/>
                  </a:lnTo>
                  <a:cubicBezTo>
                    <a:pt x="38147" y="57909"/>
                    <a:pt x="38584" y="57606"/>
                    <a:pt x="39021" y="57270"/>
                  </a:cubicBezTo>
                  <a:cubicBezTo>
                    <a:pt x="39121" y="57169"/>
                    <a:pt x="39256" y="57035"/>
                    <a:pt x="39390" y="56934"/>
                  </a:cubicBezTo>
                  <a:cubicBezTo>
                    <a:pt x="39693" y="56665"/>
                    <a:pt x="39962" y="56396"/>
                    <a:pt x="40230" y="56094"/>
                  </a:cubicBezTo>
                  <a:cubicBezTo>
                    <a:pt x="40365" y="55959"/>
                    <a:pt x="40466" y="55825"/>
                    <a:pt x="40600" y="55690"/>
                  </a:cubicBezTo>
                  <a:cubicBezTo>
                    <a:pt x="40903" y="55321"/>
                    <a:pt x="41205" y="54951"/>
                    <a:pt x="41474" y="54514"/>
                  </a:cubicBezTo>
                  <a:cubicBezTo>
                    <a:pt x="41541" y="54447"/>
                    <a:pt x="41575" y="54380"/>
                    <a:pt x="41642" y="54312"/>
                  </a:cubicBezTo>
                  <a:lnTo>
                    <a:pt x="41676" y="54245"/>
                  </a:lnTo>
                  <a:cubicBezTo>
                    <a:pt x="41978" y="53741"/>
                    <a:pt x="42281" y="53237"/>
                    <a:pt x="42549" y="52666"/>
                  </a:cubicBezTo>
                  <a:cubicBezTo>
                    <a:pt x="42549" y="52632"/>
                    <a:pt x="42549" y="52632"/>
                    <a:pt x="42549" y="52598"/>
                  </a:cubicBezTo>
                  <a:cubicBezTo>
                    <a:pt x="42583" y="52565"/>
                    <a:pt x="42617" y="52498"/>
                    <a:pt x="42617" y="52464"/>
                  </a:cubicBezTo>
                  <a:cubicBezTo>
                    <a:pt x="42785" y="52094"/>
                    <a:pt x="42953" y="51725"/>
                    <a:pt x="43087" y="51355"/>
                  </a:cubicBezTo>
                  <a:cubicBezTo>
                    <a:pt x="43154" y="51153"/>
                    <a:pt x="43222" y="50952"/>
                    <a:pt x="43289" y="50783"/>
                  </a:cubicBezTo>
                  <a:cubicBezTo>
                    <a:pt x="43322" y="50683"/>
                    <a:pt x="43356" y="50548"/>
                    <a:pt x="43390" y="50447"/>
                  </a:cubicBezTo>
                  <a:cubicBezTo>
                    <a:pt x="43423" y="50313"/>
                    <a:pt x="43457" y="50246"/>
                    <a:pt x="43490" y="50111"/>
                  </a:cubicBezTo>
                  <a:cubicBezTo>
                    <a:pt x="43591" y="49842"/>
                    <a:pt x="43658" y="49574"/>
                    <a:pt x="43726" y="49271"/>
                  </a:cubicBezTo>
                  <a:cubicBezTo>
                    <a:pt x="43759" y="49170"/>
                    <a:pt x="43793" y="49069"/>
                    <a:pt x="43793" y="48935"/>
                  </a:cubicBezTo>
                  <a:cubicBezTo>
                    <a:pt x="43827" y="48801"/>
                    <a:pt x="43860" y="48666"/>
                    <a:pt x="43894" y="48498"/>
                  </a:cubicBezTo>
                  <a:cubicBezTo>
                    <a:pt x="43894" y="48431"/>
                    <a:pt x="43927" y="48330"/>
                    <a:pt x="43927" y="48229"/>
                  </a:cubicBezTo>
                  <a:cubicBezTo>
                    <a:pt x="43961" y="48095"/>
                    <a:pt x="43995" y="47960"/>
                    <a:pt x="44028" y="47792"/>
                  </a:cubicBezTo>
                  <a:cubicBezTo>
                    <a:pt x="44062" y="47624"/>
                    <a:pt x="44095" y="47423"/>
                    <a:pt x="44095" y="47255"/>
                  </a:cubicBezTo>
                  <a:cubicBezTo>
                    <a:pt x="44129" y="47053"/>
                    <a:pt x="44163" y="46885"/>
                    <a:pt x="44196" y="46683"/>
                  </a:cubicBezTo>
                  <a:cubicBezTo>
                    <a:pt x="44230" y="46482"/>
                    <a:pt x="44230" y="46280"/>
                    <a:pt x="44263" y="46078"/>
                  </a:cubicBezTo>
                  <a:cubicBezTo>
                    <a:pt x="44263" y="46011"/>
                    <a:pt x="44263" y="45910"/>
                    <a:pt x="44263" y="45843"/>
                  </a:cubicBezTo>
                  <a:cubicBezTo>
                    <a:pt x="44297" y="45742"/>
                    <a:pt x="44297" y="45675"/>
                    <a:pt x="44297" y="45574"/>
                  </a:cubicBezTo>
                  <a:cubicBezTo>
                    <a:pt x="44297" y="45473"/>
                    <a:pt x="44331" y="45372"/>
                    <a:pt x="44331" y="45272"/>
                  </a:cubicBezTo>
                  <a:cubicBezTo>
                    <a:pt x="44331" y="45003"/>
                    <a:pt x="44364" y="44768"/>
                    <a:pt x="44364" y="44499"/>
                  </a:cubicBezTo>
                  <a:cubicBezTo>
                    <a:pt x="44398" y="44129"/>
                    <a:pt x="44398" y="43759"/>
                    <a:pt x="44398" y="43390"/>
                  </a:cubicBezTo>
                  <a:lnTo>
                    <a:pt x="44398" y="43322"/>
                  </a:lnTo>
                  <a:cubicBezTo>
                    <a:pt x="44398" y="42986"/>
                    <a:pt x="44398" y="42650"/>
                    <a:pt x="44364" y="42280"/>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32" name="Google Shape;2827;p49"/>
            <p:cNvSpPr/>
            <p:nvPr/>
          </p:nvSpPr>
          <p:spPr>
            <a:xfrm>
              <a:off x="-22754700" y="10185425"/>
              <a:ext cx="54650" cy="528525"/>
            </a:xfrm>
            <a:custGeom>
              <a:avLst/>
              <a:gdLst/>
              <a:ahLst/>
              <a:cxnLst/>
              <a:rect l="l" t="t" r="r" b="b"/>
              <a:pathLst>
                <a:path w="2186" h="21141" extrusionOk="0">
                  <a:moveTo>
                    <a:pt x="1" y="1"/>
                  </a:moveTo>
                  <a:lnTo>
                    <a:pt x="1916" y="19124"/>
                  </a:lnTo>
                  <a:lnTo>
                    <a:pt x="2185" y="21141"/>
                  </a:lnTo>
                  <a:lnTo>
                    <a:pt x="270" y="2017"/>
                  </a:lnTo>
                  <a:lnTo>
                    <a:pt x="1" y="1"/>
                  </a:lnTo>
                  <a:close/>
                </a:path>
              </a:pathLst>
            </a:custGeom>
            <a:solidFill>
              <a:srgbClr val="240D4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33" name="Google Shape;2828;p49"/>
            <p:cNvSpPr/>
            <p:nvPr/>
          </p:nvSpPr>
          <p:spPr>
            <a:xfrm>
              <a:off x="-23453750" y="10663525"/>
              <a:ext cx="753700" cy="116800"/>
            </a:xfrm>
            <a:custGeom>
              <a:avLst/>
              <a:gdLst/>
              <a:ahLst/>
              <a:cxnLst/>
              <a:rect l="l" t="t" r="r" b="b"/>
              <a:pathLst>
                <a:path w="30148" h="4672" extrusionOk="0">
                  <a:moveTo>
                    <a:pt x="29878" y="0"/>
                  </a:moveTo>
                  <a:lnTo>
                    <a:pt x="0" y="2655"/>
                  </a:lnTo>
                  <a:lnTo>
                    <a:pt x="269" y="4672"/>
                  </a:lnTo>
                  <a:lnTo>
                    <a:pt x="30147" y="2017"/>
                  </a:lnTo>
                  <a:lnTo>
                    <a:pt x="29878" y="0"/>
                  </a:lnTo>
                  <a:close/>
                </a:path>
              </a:pathLst>
            </a:custGeom>
            <a:solidFill>
              <a:srgbClr val="26104D"/>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34" name="Google Shape;2829;p49"/>
            <p:cNvSpPr/>
            <p:nvPr/>
          </p:nvSpPr>
          <p:spPr>
            <a:xfrm>
              <a:off x="-22706800" y="10663525"/>
              <a:ext cx="28600" cy="271400"/>
            </a:xfrm>
            <a:custGeom>
              <a:avLst/>
              <a:gdLst/>
              <a:ahLst/>
              <a:cxnLst/>
              <a:rect l="l" t="t" r="r" b="b"/>
              <a:pathLst>
                <a:path w="1144" h="10856" extrusionOk="0">
                  <a:moveTo>
                    <a:pt x="0" y="0"/>
                  </a:moveTo>
                  <a:lnTo>
                    <a:pt x="874" y="8839"/>
                  </a:lnTo>
                  <a:lnTo>
                    <a:pt x="1143" y="10856"/>
                  </a:lnTo>
                  <a:lnTo>
                    <a:pt x="269" y="2017"/>
                  </a:lnTo>
                  <a:lnTo>
                    <a:pt x="0" y="0"/>
                  </a:lnTo>
                  <a:close/>
                </a:path>
              </a:pathLst>
            </a:custGeom>
            <a:solidFill>
              <a:srgbClr val="2F1A5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35" name="Google Shape;2830;p49"/>
            <p:cNvSpPr/>
            <p:nvPr/>
          </p:nvSpPr>
          <p:spPr>
            <a:xfrm>
              <a:off x="-22300975" y="10710575"/>
              <a:ext cx="836875" cy="169750"/>
            </a:xfrm>
            <a:custGeom>
              <a:avLst/>
              <a:gdLst/>
              <a:ahLst/>
              <a:cxnLst/>
              <a:rect l="l" t="t" r="r" b="b"/>
              <a:pathLst>
                <a:path w="33475" h="6790" extrusionOk="0">
                  <a:moveTo>
                    <a:pt x="33206" y="0"/>
                  </a:moveTo>
                  <a:lnTo>
                    <a:pt x="0" y="4739"/>
                  </a:lnTo>
                  <a:lnTo>
                    <a:pt x="269" y="6789"/>
                  </a:lnTo>
                  <a:lnTo>
                    <a:pt x="33475" y="2017"/>
                  </a:lnTo>
                  <a:lnTo>
                    <a:pt x="33206" y="0"/>
                  </a:lnTo>
                  <a:close/>
                </a:path>
              </a:pathLst>
            </a:custGeom>
            <a:solidFill>
              <a:srgbClr val="954DE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36" name="Google Shape;2831;p49"/>
            <p:cNvSpPr/>
            <p:nvPr/>
          </p:nvSpPr>
          <p:spPr>
            <a:xfrm>
              <a:off x="-22169900" y="10710575"/>
              <a:ext cx="705800" cy="594900"/>
            </a:xfrm>
            <a:custGeom>
              <a:avLst/>
              <a:gdLst/>
              <a:ahLst/>
              <a:cxnLst/>
              <a:rect l="l" t="t" r="r" b="b"/>
              <a:pathLst>
                <a:path w="28232" h="23796" extrusionOk="0">
                  <a:moveTo>
                    <a:pt x="27963" y="0"/>
                  </a:moveTo>
                  <a:lnTo>
                    <a:pt x="0" y="21779"/>
                  </a:lnTo>
                  <a:lnTo>
                    <a:pt x="269" y="23795"/>
                  </a:lnTo>
                  <a:lnTo>
                    <a:pt x="28232" y="2017"/>
                  </a:lnTo>
                  <a:lnTo>
                    <a:pt x="27963" y="0"/>
                  </a:lnTo>
                  <a:close/>
                </a:path>
              </a:pathLst>
            </a:custGeom>
            <a:solidFill>
              <a:srgbClr val="26104D"/>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37" name="Google Shape;2832;p49"/>
            <p:cNvSpPr/>
            <p:nvPr/>
          </p:nvSpPr>
          <p:spPr>
            <a:xfrm>
              <a:off x="-22300975" y="10829050"/>
              <a:ext cx="137825" cy="476425"/>
            </a:xfrm>
            <a:custGeom>
              <a:avLst/>
              <a:gdLst/>
              <a:ahLst/>
              <a:cxnLst/>
              <a:rect l="l" t="t" r="r" b="b"/>
              <a:pathLst>
                <a:path w="5513" h="19057" extrusionOk="0">
                  <a:moveTo>
                    <a:pt x="0" y="0"/>
                  </a:moveTo>
                  <a:lnTo>
                    <a:pt x="269" y="2050"/>
                  </a:lnTo>
                  <a:lnTo>
                    <a:pt x="5512" y="19056"/>
                  </a:lnTo>
                  <a:lnTo>
                    <a:pt x="5243" y="17040"/>
                  </a:lnTo>
                  <a:lnTo>
                    <a:pt x="0" y="0"/>
                  </a:lnTo>
                  <a:close/>
                </a:path>
              </a:pathLst>
            </a:custGeom>
            <a:solidFill>
              <a:srgbClr val="220B49"/>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38" name="Google Shape;2833;p49"/>
            <p:cNvSpPr/>
            <p:nvPr/>
          </p:nvSpPr>
          <p:spPr>
            <a:xfrm>
              <a:off x="-22300975" y="10710575"/>
              <a:ext cx="830150" cy="544475"/>
            </a:xfrm>
            <a:custGeom>
              <a:avLst/>
              <a:gdLst/>
              <a:ahLst/>
              <a:cxnLst/>
              <a:rect l="l" t="t" r="r" b="b"/>
              <a:pathLst>
                <a:path w="33206" h="21779" extrusionOk="0">
                  <a:moveTo>
                    <a:pt x="33206" y="0"/>
                  </a:moveTo>
                  <a:lnTo>
                    <a:pt x="0" y="4739"/>
                  </a:lnTo>
                  <a:lnTo>
                    <a:pt x="5243" y="21779"/>
                  </a:lnTo>
                  <a:lnTo>
                    <a:pt x="33206" y="0"/>
                  </a:lnTo>
                  <a:close/>
                </a:path>
              </a:pathLst>
            </a:custGeom>
            <a:solidFill>
              <a:srgbClr val="2B155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39" name="Google Shape;2834;p49"/>
            <p:cNvSpPr/>
            <p:nvPr/>
          </p:nvSpPr>
          <p:spPr>
            <a:xfrm>
              <a:off x="-22754700" y="10185425"/>
              <a:ext cx="1283875" cy="699100"/>
            </a:xfrm>
            <a:custGeom>
              <a:avLst/>
              <a:gdLst/>
              <a:ahLst/>
              <a:cxnLst/>
              <a:rect l="l" t="t" r="r" b="b"/>
              <a:pathLst>
                <a:path w="51355" h="27964" extrusionOk="0">
                  <a:moveTo>
                    <a:pt x="1" y="1"/>
                  </a:moveTo>
                  <a:lnTo>
                    <a:pt x="1916" y="19124"/>
                  </a:lnTo>
                  <a:lnTo>
                    <a:pt x="2790" y="27963"/>
                  </a:lnTo>
                  <a:lnTo>
                    <a:pt x="18149" y="25745"/>
                  </a:lnTo>
                  <a:lnTo>
                    <a:pt x="51355" y="21006"/>
                  </a:lnTo>
                  <a:lnTo>
                    <a:pt x="1" y="1"/>
                  </a:lnTo>
                  <a:close/>
                </a:path>
              </a:pathLst>
            </a:custGeom>
            <a:solidFill>
              <a:srgbClr val="A96EEC"/>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40" name="Google Shape;2835;p49"/>
            <p:cNvSpPr/>
            <p:nvPr/>
          </p:nvSpPr>
          <p:spPr>
            <a:xfrm>
              <a:off x="-23453750" y="10185425"/>
              <a:ext cx="746975" cy="544500"/>
            </a:xfrm>
            <a:custGeom>
              <a:avLst/>
              <a:gdLst/>
              <a:ahLst/>
              <a:cxnLst/>
              <a:rect l="l" t="t" r="r" b="b"/>
              <a:pathLst>
                <a:path w="29879" h="21780" extrusionOk="0">
                  <a:moveTo>
                    <a:pt x="27963" y="1"/>
                  </a:moveTo>
                  <a:lnTo>
                    <a:pt x="0" y="21779"/>
                  </a:lnTo>
                  <a:lnTo>
                    <a:pt x="29878" y="19124"/>
                  </a:lnTo>
                  <a:lnTo>
                    <a:pt x="27963" y="1"/>
                  </a:lnTo>
                  <a:close/>
                </a:path>
              </a:pathLst>
            </a:custGeom>
            <a:solidFill>
              <a:srgbClr val="2B155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41" name="Google Shape;2836;p49"/>
            <p:cNvSpPr/>
            <p:nvPr/>
          </p:nvSpPr>
          <p:spPr>
            <a:xfrm>
              <a:off x="-22684950" y="10829050"/>
              <a:ext cx="390725" cy="105875"/>
            </a:xfrm>
            <a:custGeom>
              <a:avLst/>
              <a:gdLst/>
              <a:ahLst/>
              <a:cxnLst/>
              <a:rect l="l" t="t" r="r" b="b"/>
              <a:pathLst>
                <a:path w="15629" h="4235" extrusionOk="0">
                  <a:moveTo>
                    <a:pt x="15359" y="0"/>
                  </a:moveTo>
                  <a:lnTo>
                    <a:pt x="0" y="2218"/>
                  </a:lnTo>
                  <a:lnTo>
                    <a:pt x="269" y="4235"/>
                  </a:lnTo>
                  <a:lnTo>
                    <a:pt x="15628" y="2050"/>
                  </a:lnTo>
                  <a:lnTo>
                    <a:pt x="15359" y="0"/>
                  </a:lnTo>
                  <a:close/>
                </a:path>
              </a:pathLst>
            </a:custGeom>
            <a:solidFill>
              <a:srgbClr val="954DE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42" name="Google Shape;2837;p49"/>
            <p:cNvSpPr/>
            <p:nvPr/>
          </p:nvSpPr>
          <p:spPr>
            <a:xfrm>
              <a:off x="-23453750" y="10663525"/>
              <a:ext cx="1283875" cy="591525"/>
            </a:xfrm>
            <a:custGeom>
              <a:avLst/>
              <a:gdLst/>
              <a:ahLst/>
              <a:cxnLst/>
              <a:rect l="l" t="t" r="r" b="b"/>
              <a:pathLst>
                <a:path w="51355" h="23661" extrusionOk="0">
                  <a:moveTo>
                    <a:pt x="29878" y="0"/>
                  </a:moveTo>
                  <a:lnTo>
                    <a:pt x="0" y="2655"/>
                  </a:lnTo>
                  <a:lnTo>
                    <a:pt x="51354" y="23661"/>
                  </a:lnTo>
                  <a:lnTo>
                    <a:pt x="46111" y="6621"/>
                  </a:lnTo>
                  <a:lnTo>
                    <a:pt x="30752" y="8839"/>
                  </a:lnTo>
                  <a:lnTo>
                    <a:pt x="29878" y="0"/>
                  </a:lnTo>
                  <a:close/>
                </a:path>
              </a:pathLst>
            </a:custGeom>
            <a:solidFill>
              <a:srgbClr val="A467E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43" name="Google Shape;2838;p49"/>
            <p:cNvSpPr/>
            <p:nvPr/>
          </p:nvSpPr>
          <p:spPr>
            <a:xfrm>
              <a:off x="-23453750" y="10729900"/>
              <a:ext cx="1290600" cy="575575"/>
            </a:xfrm>
            <a:custGeom>
              <a:avLst/>
              <a:gdLst/>
              <a:ahLst/>
              <a:cxnLst/>
              <a:rect l="l" t="t" r="r" b="b"/>
              <a:pathLst>
                <a:path w="51624" h="23023" extrusionOk="0">
                  <a:moveTo>
                    <a:pt x="0" y="0"/>
                  </a:moveTo>
                  <a:lnTo>
                    <a:pt x="269" y="2017"/>
                  </a:lnTo>
                  <a:lnTo>
                    <a:pt x="51623" y="23022"/>
                  </a:lnTo>
                  <a:lnTo>
                    <a:pt x="51623" y="23022"/>
                  </a:lnTo>
                  <a:lnTo>
                    <a:pt x="51354" y="21006"/>
                  </a:lnTo>
                  <a:lnTo>
                    <a:pt x="0" y="0"/>
                  </a:lnTo>
                  <a:close/>
                </a:path>
              </a:pathLst>
            </a:custGeom>
            <a:solidFill>
              <a:srgbClr val="26104D"/>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44" name="Google Shape;2839;p49"/>
            <p:cNvSpPr/>
            <p:nvPr/>
          </p:nvSpPr>
          <p:spPr>
            <a:xfrm>
              <a:off x="-23617600" y="10949200"/>
              <a:ext cx="163875" cy="505825"/>
            </a:xfrm>
            <a:custGeom>
              <a:avLst/>
              <a:gdLst/>
              <a:ahLst/>
              <a:cxnLst/>
              <a:rect l="l" t="t" r="r" b="b"/>
              <a:pathLst>
                <a:path w="6555" h="20233" extrusionOk="0">
                  <a:moveTo>
                    <a:pt x="1" y="0"/>
                  </a:moveTo>
                  <a:lnTo>
                    <a:pt x="5849" y="18317"/>
                  </a:lnTo>
                  <a:lnTo>
                    <a:pt x="6554" y="20233"/>
                  </a:lnTo>
                  <a:lnTo>
                    <a:pt x="673" y="1950"/>
                  </a:lnTo>
                  <a:lnTo>
                    <a:pt x="1" y="0"/>
                  </a:lnTo>
                  <a:close/>
                </a:path>
              </a:pathLst>
            </a:custGeom>
            <a:solidFill>
              <a:srgbClr val="240D4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45" name="Google Shape;2840;p49"/>
            <p:cNvSpPr/>
            <p:nvPr/>
          </p:nvSpPr>
          <p:spPr>
            <a:xfrm>
              <a:off x="-24187275" y="11407100"/>
              <a:ext cx="733550" cy="268900"/>
            </a:xfrm>
            <a:custGeom>
              <a:avLst/>
              <a:gdLst/>
              <a:ahLst/>
              <a:cxnLst/>
              <a:rect l="l" t="t" r="r" b="b"/>
              <a:pathLst>
                <a:path w="29342" h="10756" extrusionOk="0">
                  <a:moveTo>
                    <a:pt x="28636" y="1"/>
                  </a:moveTo>
                  <a:lnTo>
                    <a:pt x="1" y="8840"/>
                  </a:lnTo>
                  <a:lnTo>
                    <a:pt x="673" y="10756"/>
                  </a:lnTo>
                  <a:lnTo>
                    <a:pt x="29341" y="1917"/>
                  </a:lnTo>
                  <a:lnTo>
                    <a:pt x="28636" y="1"/>
                  </a:lnTo>
                  <a:close/>
                </a:path>
              </a:pathLst>
            </a:custGeom>
            <a:solidFill>
              <a:srgbClr val="26104D"/>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46" name="Google Shape;2841;p49"/>
            <p:cNvSpPr/>
            <p:nvPr/>
          </p:nvSpPr>
          <p:spPr>
            <a:xfrm>
              <a:off x="-23471400" y="11407100"/>
              <a:ext cx="84875" cy="259650"/>
            </a:xfrm>
            <a:custGeom>
              <a:avLst/>
              <a:gdLst/>
              <a:ahLst/>
              <a:cxnLst/>
              <a:rect l="l" t="t" r="r" b="b"/>
              <a:pathLst>
                <a:path w="3395" h="10386" extrusionOk="0">
                  <a:moveTo>
                    <a:pt x="1" y="1"/>
                  </a:moveTo>
                  <a:lnTo>
                    <a:pt x="2723" y="8470"/>
                  </a:lnTo>
                  <a:lnTo>
                    <a:pt x="3395" y="10386"/>
                  </a:lnTo>
                  <a:lnTo>
                    <a:pt x="706" y="1917"/>
                  </a:lnTo>
                  <a:lnTo>
                    <a:pt x="1" y="1"/>
                  </a:lnTo>
                  <a:close/>
                </a:path>
              </a:pathLst>
            </a:custGeom>
            <a:solidFill>
              <a:srgbClr val="2F1A5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47" name="Google Shape;2842;p49"/>
            <p:cNvSpPr/>
            <p:nvPr/>
          </p:nvSpPr>
          <p:spPr>
            <a:xfrm>
              <a:off x="-23039525" y="11193700"/>
              <a:ext cx="804100" cy="338625"/>
            </a:xfrm>
            <a:custGeom>
              <a:avLst/>
              <a:gdLst/>
              <a:ahLst/>
              <a:cxnLst/>
              <a:rect l="l" t="t" r="r" b="b"/>
              <a:pathLst>
                <a:path w="32164" h="13545" extrusionOk="0">
                  <a:moveTo>
                    <a:pt x="31492" y="0"/>
                  </a:moveTo>
                  <a:lnTo>
                    <a:pt x="0" y="11629"/>
                  </a:lnTo>
                  <a:lnTo>
                    <a:pt x="673" y="13545"/>
                  </a:lnTo>
                  <a:lnTo>
                    <a:pt x="32164" y="1950"/>
                  </a:lnTo>
                  <a:lnTo>
                    <a:pt x="31492" y="0"/>
                  </a:lnTo>
                  <a:close/>
                </a:path>
              </a:pathLst>
            </a:custGeom>
            <a:solidFill>
              <a:srgbClr val="954DE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48" name="Google Shape;2843;p49"/>
            <p:cNvSpPr/>
            <p:nvPr/>
          </p:nvSpPr>
          <p:spPr>
            <a:xfrm>
              <a:off x="-22821925" y="11193700"/>
              <a:ext cx="586500" cy="727650"/>
            </a:xfrm>
            <a:custGeom>
              <a:avLst/>
              <a:gdLst/>
              <a:ahLst/>
              <a:cxnLst/>
              <a:rect l="l" t="t" r="r" b="b"/>
              <a:pathLst>
                <a:path w="23460" h="29106" extrusionOk="0">
                  <a:moveTo>
                    <a:pt x="22788" y="0"/>
                  </a:moveTo>
                  <a:lnTo>
                    <a:pt x="1" y="27156"/>
                  </a:lnTo>
                  <a:lnTo>
                    <a:pt x="673" y="29105"/>
                  </a:lnTo>
                  <a:lnTo>
                    <a:pt x="23460" y="1950"/>
                  </a:lnTo>
                  <a:lnTo>
                    <a:pt x="22788" y="0"/>
                  </a:lnTo>
                  <a:close/>
                </a:path>
              </a:pathLst>
            </a:custGeom>
            <a:solidFill>
              <a:srgbClr val="26104D"/>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49" name="Google Shape;2844;p49"/>
            <p:cNvSpPr/>
            <p:nvPr/>
          </p:nvSpPr>
          <p:spPr>
            <a:xfrm>
              <a:off x="-23039525" y="11484400"/>
              <a:ext cx="234450" cy="436950"/>
            </a:xfrm>
            <a:custGeom>
              <a:avLst/>
              <a:gdLst/>
              <a:ahLst/>
              <a:cxnLst/>
              <a:rect l="l" t="t" r="r" b="b"/>
              <a:pathLst>
                <a:path w="9378" h="17478" extrusionOk="0">
                  <a:moveTo>
                    <a:pt x="0" y="1"/>
                  </a:moveTo>
                  <a:lnTo>
                    <a:pt x="673" y="1917"/>
                  </a:lnTo>
                  <a:lnTo>
                    <a:pt x="9377" y="17477"/>
                  </a:lnTo>
                  <a:lnTo>
                    <a:pt x="9377" y="17477"/>
                  </a:lnTo>
                  <a:lnTo>
                    <a:pt x="8705" y="15528"/>
                  </a:lnTo>
                  <a:lnTo>
                    <a:pt x="0" y="1"/>
                  </a:lnTo>
                  <a:close/>
                </a:path>
              </a:pathLst>
            </a:custGeom>
            <a:solidFill>
              <a:srgbClr val="220B49"/>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50" name="Google Shape;2845;p49"/>
            <p:cNvSpPr/>
            <p:nvPr/>
          </p:nvSpPr>
          <p:spPr>
            <a:xfrm>
              <a:off x="-23039525" y="11193700"/>
              <a:ext cx="787300" cy="678925"/>
            </a:xfrm>
            <a:custGeom>
              <a:avLst/>
              <a:gdLst/>
              <a:ahLst/>
              <a:cxnLst/>
              <a:rect l="l" t="t" r="r" b="b"/>
              <a:pathLst>
                <a:path w="31492" h="27157" extrusionOk="0">
                  <a:moveTo>
                    <a:pt x="31492" y="0"/>
                  </a:moveTo>
                  <a:lnTo>
                    <a:pt x="0" y="11629"/>
                  </a:lnTo>
                  <a:lnTo>
                    <a:pt x="8705" y="27156"/>
                  </a:lnTo>
                  <a:lnTo>
                    <a:pt x="31492" y="0"/>
                  </a:lnTo>
                  <a:close/>
                </a:path>
              </a:pathLst>
            </a:custGeom>
            <a:solidFill>
              <a:srgbClr val="2B155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51" name="Google Shape;2846;p49"/>
            <p:cNvSpPr/>
            <p:nvPr/>
          </p:nvSpPr>
          <p:spPr>
            <a:xfrm>
              <a:off x="-23617600" y="10949200"/>
              <a:ext cx="1365375" cy="669675"/>
            </a:xfrm>
            <a:custGeom>
              <a:avLst/>
              <a:gdLst/>
              <a:ahLst/>
              <a:cxnLst/>
              <a:rect l="l" t="t" r="r" b="b"/>
              <a:pathLst>
                <a:path w="54615" h="26787" extrusionOk="0">
                  <a:moveTo>
                    <a:pt x="1" y="0"/>
                  </a:moveTo>
                  <a:lnTo>
                    <a:pt x="5849" y="18317"/>
                  </a:lnTo>
                  <a:lnTo>
                    <a:pt x="8571" y="26786"/>
                  </a:lnTo>
                  <a:lnTo>
                    <a:pt x="23123" y="21409"/>
                  </a:lnTo>
                  <a:lnTo>
                    <a:pt x="54615" y="9780"/>
                  </a:lnTo>
                  <a:lnTo>
                    <a:pt x="1" y="0"/>
                  </a:lnTo>
                  <a:close/>
                </a:path>
              </a:pathLst>
            </a:custGeom>
            <a:solidFill>
              <a:srgbClr val="A96EEC"/>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52" name="Google Shape;2847;p49"/>
            <p:cNvSpPr/>
            <p:nvPr/>
          </p:nvSpPr>
          <p:spPr>
            <a:xfrm>
              <a:off x="-24187275" y="10949200"/>
              <a:ext cx="715900" cy="678900"/>
            </a:xfrm>
            <a:custGeom>
              <a:avLst/>
              <a:gdLst/>
              <a:ahLst/>
              <a:cxnLst/>
              <a:rect l="l" t="t" r="r" b="b"/>
              <a:pathLst>
                <a:path w="28636" h="27156" extrusionOk="0">
                  <a:moveTo>
                    <a:pt x="22788" y="0"/>
                  </a:moveTo>
                  <a:lnTo>
                    <a:pt x="1" y="27156"/>
                  </a:lnTo>
                  <a:lnTo>
                    <a:pt x="28636" y="18317"/>
                  </a:lnTo>
                  <a:lnTo>
                    <a:pt x="22788" y="0"/>
                  </a:lnTo>
                  <a:close/>
                </a:path>
              </a:pathLst>
            </a:custGeom>
            <a:solidFill>
              <a:srgbClr val="2B155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53" name="Google Shape;2848;p49"/>
            <p:cNvSpPr/>
            <p:nvPr/>
          </p:nvSpPr>
          <p:spPr>
            <a:xfrm>
              <a:off x="-23403350" y="11484400"/>
              <a:ext cx="380650" cy="182350"/>
            </a:xfrm>
            <a:custGeom>
              <a:avLst/>
              <a:gdLst/>
              <a:ahLst/>
              <a:cxnLst/>
              <a:rect l="l" t="t" r="r" b="b"/>
              <a:pathLst>
                <a:path w="15226" h="7294" extrusionOk="0">
                  <a:moveTo>
                    <a:pt x="14553" y="1"/>
                  </a:moveTo>
                  <a:lnTo>
                    <a:pt x="1" y="5378"/>
                  </a:lnTo>
                  <a:lnTo>
                    <a:pt x="673" y="7294"/>
                  </a:lnTo>
                  <a:lnTo>
                    <a:pt x="15226" y="1917"/>
                  </a:lnTo>
                  <a:lnTo>
                    <a:pt x="14553" y="1"/>
                  </a:lnTo>
                  <a:close/>
                </a:path>
              </a:pathLst>
            </a:custGeom>
            <a:solidFill>
              <a:srgbClr val="954DE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54" name="Google Shape;2849;p49"/>
            <p:cNvSpPr/>
            <p:nvPr/>
          </p:nvSpPr>
          <p:spPr>
            <a:xfrm>
              <a:off x="-24187275" y="11407100"/>
              <a:ext cx="1365375" cy="465525"/>
            </a:xfrm>
            <a:custGeom>
              <a:avLst/>
              <a:gdLst/>
              <a:ahLst/>
              <a:cxnLst/>
              <a:rect l="l" t="t" r="r" b="b"/>
              <a:pathLst>
                <a:path w="54615" h="18621" extrusionOk="0">
                  <a:moveTo>
                    <a:pt x="28636" y="1"/>
                  </a:moveTo>
                  <a:lnTo>
                    <a:pt x="1" y="8840"/>
                  </a:lnTo>
                  <a:lnTo>
                    <a:pt x="54615" y="18620"/>
                  </a:lnTo>
                  <a:lnTo>
                    <a:pt x="54615" y="18620"/>
                  </a:lnTo>
                  <a:lnTo>
                    <a:pt x="45910" y="3093"/>
                  </a:lnTo>
                  <a:lnTo>
                    <a:pt x="31358" y="8470"/>
                  </a:lnTo>
                  <a:lnTo>
                    <a:pt x="28636" y="1"/>
                  </a:lnTo>
                  <a:close/>
                </a:path>
              </a:pathLst>
            </a:custGeom>
            <a:solidFill>
              <a:srgbClr val="A467E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55" name="Google Shape;2850;p49"/>
            <p:cNvSpPr/>
            <p:nvPr/>
          </p:nvSpPr>
          <p:spPr>
            <a:xfrm>
              <a:off x="-24187275" y="11628100"/>
              <a:ext cx="1382200" cy="293250"/>
            </a:xfrm>
            <a:custGeom>
              <a:avLst/>
              <a:gdLst/>
              <a:ahLst/>
              <a:cxnLst/>
              <a:rect l="l" t="t" r="r" b="b"/>
              <a:pathLst>
                <a:path w="55288" h="11730" extrusionOk="0">
                  <a:moveTo>
                    <a:pt x="1" y="0"/>
                  </a:moveTo>
                  <a:lnTo>
                    <a:pt x="673" y="1916"/>
                  </a:lnTo>
                  <a:lnTo>
                    <a:pt x="55287" y="11729"/>
                  </a:lnTo>
                  <a:lnTo>
                    <a:pt x="54615" y="9780"/>
                  </a:lnTo>
                  <a:lnTo>
                    <a:pt x="1" y="0"/>
                  </a:lnTo>
                  <a:close/>
                </a:path>
              </a:pathLst>
            </a:custGeom>
            <a:solidFill>
              <a:srgbClr val="26104D"/>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56" name="Google Shape;2851;p49"/>
            <p:cNvSpPr/>
            <p:nvPr/>
          </p:nvSpPr>
          <p:spPr>
            <a:xfrm>
              <a:off x="-22575725" y="10561850"/>
              <a:ext cx="103375" cy="521800"/>
            </a:xfrm>
            <a:custGeom>
              <a:avLst/>
              <a:gdLst/>
              <a:ahLst/>
              <a:cxnLst/>
              <a:rect l="l" t="t" r="r" b="b"/>
              <a:pathLst>
                <a:path w="4135" h="20872" extrusionOk="0">
                  <a:moveTo>
                    <a:pt x="4134" y="1"/>
                  </a:moveTo>
                  <a:lnTo>
                    <a:pt x="336" y="18855"/>
                  </a:lnTo>
                  <a:lnTo>
                    <a:pt x="0" y="20872"/>
                  </a:lnTo>
                  <a:lnTo>
                    <a:pt x="3798" y="2017"/>
                  </a:lnTo>
                  <a:lnTo>
                    <a:pt x="4134" y="1"/>
                  </a:lnTo>
                  <a:close/>
                </a:path>
              </a:pathLst>
            </a:custGeom>
            <a:solidFill>
              <a:srgbClr val="A096B1"/>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57" name="Google Shape;2852;p49"/>
            <p:cNvSpPr/>
            <p:nvPr/>
          </p:nvSpPr>
          <p:spPr>
            <a:xfrm>
              <a:off x="-23300000" y="10561850"/>
              <a:ext cx="827650" cy="471400"/>
            </a:xfrm>
            <a:custGeom>
              <a:avLst/>
              <a:gdLst/>
              <a:ahLst/>
              <a:cxnLst/>
              <a:rect l="l" t="t" r="r" b="b"/>
              <a:pathLst>
                <a:path w="33106" h="18856" extrusionOk="0">
                  <a:moveTo>
                    <a:pt x="33105" y="1"/>
                  </a:moveTo>
                  <a:lnTo>
                    <a:pt x="29307" y="18855"/>
                  </a:lnTo>
                  <a:lnTo>
                    <a:pt x="1" y="12604"/>
                  </a:lnTo>
                  <a:close/>
                </a:path>
              </a:pathLst>
            </a:custGeom>
            <a:solidFill>
              <a:srgbClr val="B52F9C"/>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58" name="Google Shape;2853;p49"/>
            <p:cNvSpPr/>
            <p:nvPr/>
          </p:nvSpPr>
          <p:spPr>
            <a:xfrm>
              <a:off x="-23308400" y="10876925"/>
              <a:ext cx="741100" cy="206725"/>
            </a:xfrm>
            <a:custGeom>
              <a:avLst/>
              <a:gdLst/>
              <a:ahLst/>
              <a:cxnLst/>
              <a:rect l="l" t="t" r="r" b="b"/>
              <a:pathLst>
                <a:path w="29644" h="8269" extrusionOk="0">
                  <a:moveTo>
                    <a:pt x="337" y="1"/>
                  </a:moveTo>
                  <a:lnTo>
                    <a:pt x="1" y="2017"/>
                  </a:lnTo>
                  <a:lnTo>
                    <a:pt x="29307" y="8269"/>
                  </a:lnTo>
                  <a:lnTo>
                    <a:pt x="29643" y="6252"/>
                  </a:lnTo>
                  <a:lnTo>
                    <a:pt x="337" y="1"/>
                  </a:lnTo>
                  <a:close/>
                </a:path>
              </a:pathLst>
            </a:custGeom>
            <a:solidFill>
              <a:srgbClr val="B6AEC3"/>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59" name="Google Shape;2854;p49"/>
            <p:cNvSpPr/>
            <p:nvPr/>
          </p:nvSpPr>
          <p:spPr>
            <a:xfrm>
              <a:off x="-22236275" y="11310475"/>
              <a:ext cx="836875" cy="181525"/>
            </a:xfrm>
            <a:custGeom>
              <a:avLst/>
              <a:gdLst/>
              <a:ahLst/>
              <a:cxnLst/>
              <a:rect l="l" t="t" r="r" b="b"/>
              <a:pathLst>
                <a:path w="33475" h="7261" extrusionOk="0">
                  <a:moveTo>
                    <a:pt x="336" y="1"/>
                  </a:moveTo>
                  <a:lnTo>
                    <a:pt x="0" y="2017"/>
                  </a:lnTo>
                  <a:lnTo>
                    <a:pt x="33138" y="7260"/>
                  </a:lnTo>
                  <a:lnTo>
                    <a:pt x="33474" y="5244"/>
                  </a:lnTo>
                  <a:lnTo>
                    <a:pt x="336" y="1"/>
                  </a:lnTo>
                  <a:close/>
                </a:path>
              </a:pathLst>
            </a:custGeom>
            <a:solidFill>
              <a:srgbClr val="BAB3C7"/>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60" name="Google Shape;2855;p49"/>
            <p:cNvSpPr/>
            <p:nvPr/>
          </p:nvSpPr>
          <p:spPr>
            <a:xfrm>
              <a:off x="-22619425" y="11033225"/>
              <a:ext cx="52125" cy="268050"/>
            </a:xfrm>
            <a:custGeom>
              <a:avLst/>
              <a:gdLst/>
              <a:ahLst/>
              <a:cxnLst/>
              <a:rect l="l" t="t" r="r" b="b"/>
              <a:pathLst>
                <a:path w="2085" h="10722" extrusionOk="0">
                  <a:moveTo>
                    <a:pt x="2084" y="0"/>
                  </a:moveTo>
                  <a:lnTo>
                    <a:pt x="337" y="8705"/>
                  </a:lnTo>
                  <a:lnTo>
                    <a:pt x="1" y="10721"/>
                  </a:lnTo>
                  <a:lnTo>
                    <a:pt x="1748" y="2017"/>
                  </a:lnTo>
                  <a:lnTo>
                    <a:pt x="2084" y="0"/>
                  </a:lnTo>
                  <a:close/>
                </a:path>
              </a:pathLst>
            </a:custGeom>
            <a:solidFill>
              <a:srgbClr val="A096B1"/>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61" name="Google Shape;2856;p49"/>
            <p:cNvSpPr/>
            <p:nvPr/>
          </p:nvSpPr>
          <p:spPr>
            <a:xfrm>
              <a:off x="-22619425" y="11250825"/>
              <a:ext cx="391575" cy="110100"/>
            </a:xfrm>
            <a:custGeom>
              <a:avLst/>
              <a:gdLst/>
              <a:ahLst/>
              <a:cxnLst/>
              <a:rect l="l" t="t" r="r" b="b"/>
              <a:pathLst>
                <a:path w="15663" h="4404" extrusionOk="0">
                  <a:moveTo>
                    <a:pt x="337" y="1"/>
                  </a:moveTo>
                  <a:lnTo>
                    <a:pt x="1" y="2017"/>
                  </a:lnTo>
                  <a:lnTo>
                    <a:pt x="15326" y="4403"/>
                  </a:lnTo>
                  <a:lnTo>
                    <a:pt x="15662" y="2387"/>
                  </a:lnTo>
                  <a:lnTo>
                    <a:pt x="337" y="1"/>
                  </a:lnTo>
                  <a:close/>
                </a:path>
              </a:pathLst>
            </a:custGeom>
            <a:solidFill>
              <a:srgbClr val="BAB3C7"/>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62" name="Google Shape;2857;p49"/>
            <p:cNvSpPr/>
            <p:nvPr/>
          </p:nvSpPr>
          <p:spPr>
            <a:xfrm>
              <a:off x="-22611025" y="10561850"/>
              <a:ext cx="1211625" cy="879725"/>
            </a:xfrm>
            <a:custGeom>
              <a:avLst/>
              <a:gdLst/>
              <a:ahLst/>
              <a:cxnLst/>
              <a:rect l="l" t="t" r="r" b="b"/>
              <a:pathLst>
                <a:path w="48465" h="35189" extrusionOk="0">
                  <a:moveTo>
                    <a:pt x="48464" y="35189"/>
                  </a:moveTo>
                  <a:lnTo>
                    <a:pt x="15326" y="29946"/>
                  </a:lnTo>
                  <a:lnTo>
                    <a:pt x="1" y="27560"/>
                  </a:lnTo>
                  <a:lnTo>
                    <a:pt x="1748" y="18855"/>
                  </a:lnTo>
                  <a:lnTo>
                    <a:pt x="5546" y="1"/>
                  </a:lnTo>
                  <a:close/>
                </a:path>
              </a:pathLst>
            </a:custGeom>
            <a:solidFill>
              <a:srgbClr val="BF4CA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63" name="Google Shape;2858;p49"/>
            <p:cNvSpPr/>
            <p:nvPr/>
          </p:nvSpPr>
          <p:spPr>
            <a:xfrm>
              <a:off x="-22236275" y="11441550"/>
              <a:ext cx="836875" cy="365525"/>
            </a:xfrm>
            <a:custGeom>
              <a:avLst/>
              <a:gdLst/>
              <a:ahLst/>
              <a:cxnLst/>
              <a:rect l="l" t="t" r="r" b="b"/>
              <a:pathLst>
                <a:path w="33475" h="14621" extrusionOk="0">
                  <a:moveTo>
                    <a:pt x="33474" y="1"/>
                  </a:moveTo>
                  <a:lnTo>
                    <a:pt x="33138" y="2017"/>
                  </a:lnTo>
                  <a:lnTo>
                    <a:pt x="0" y="14621"/>
                  </a:lnTo>
                  <a:lnTo>
                    <a:pt x="370" y="12604"/>
                  </a:lnTo>
                  <a:close/>
                </a:path>
              </a:pathLst>
            </a:custGeom>
            <a:solidFill>
              <a:srgbClr val="B42C9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64" name="Google Shape;2859;p49"/>
            <p:cNvSpPr/>
            <p:nvPr/>
          </p:nvSpPr>
          <p:spPr>
            <a:xfrm>
              <a:off x="-22236275" y="11310475"/>
              <a:ext cx="9250" cy="496600"/>
            </a:xfrm>
            <a:custGeom>
              <a:avLst/>
              <a:gdLst/>
              <a:ahLst/>
              <a:cxnLst/>
              <a:rect l="l" t="t" r="r" b="b"/>
              <a:pathLst>
                <a:path w="370" h="19864" extrusionOk="0">
                  <a:moveTo>
                    <a:pt x="336" y="1"/>
                  </a:moveTo>
                  <a:lnTo>
                    <a:pt x="0" y="2017"/>
                  </a:lnTo>
                  <a:lnTo>
                    <a:pt x="0" y="19864"/>
                  </a:lnTo>
                  <a:lnTo>
                    <a:pt x="370" y="17847"/>
                  </a:lnTo>
                  <a:lnTo>
                    <a:pt x="336" y="1"/>
                  </a:lnTo>
                  <a:close/>
                </a:path>
              </a:pathLst>
            </a:custGeom>
            <a:solidFill>
              <a:srgbClr val="8C80A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65" name="Google Shape;2860;p49"/>
            <p:cNvSpPr/>
            <p:nvPr/>
          </p:nvSpPr>
          <p:spPr>
            <a:xfrm>
              <a:off x="-22227875" y="11310475"/>
              <a:ext cx="828475" cy="446200"/>
            </a:xfrm>
            <a:custGeom>
              <a:avLst/>
              <a:gdLst/>
              <a:ahLst/>
              <a:cxnLst/>
              <a:rect l="l" t="t" r="r" b="b"/>
              <a:pathLst>
                <a:path w="33139" h="17848" extrusionOk="0">
                  <a:moveTo>
                    <a:pt x="0" y="1"/>
                  </a:moveTo>
                  <a:lnTo>
                    <a:pt x="33138" y="5244"/>
                  </a:lnTo>
                  <a:lnTo>
                    <a:pt x="34" y="17847"/>
                  </a:lnTo>
                  <a:close/>
                </a:path>
              </a:pathLst>
            </a:custGeom>
            <a:solidFill>
              <a:srgbClr val="B52F9C"/>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66" name="Google Shape;2861;p49"/>
            <p:cNvSpPr/>
            <p:nvPr/>
          </p:nvSpPr>
          <p:spPr>
            <a:xfrm>
              <a:off x="-23300000" y="10876925"/>
              <a:ext cx="1072975" cy="879750"/>
            </a:xfrm>
            <a:custGeom>
              <a:avLst/>
              <a:gdLst/>
              <a:ahLst/>
              <a:cxnLst/>
              <a:rect l="l" t="t" r="r" b="b"/>
              <a:pathLst>
                <a:path w="42919" h="35190" extrusionOk="0">
                  <a:moveTo>
                    <a:pt x="42885" y="17343"/>
                  </a:moveTo>
                  <a:lnTo>
                    <a:pt x="42919" y="35189"/>
                  </a:lnTo>
                  <a:lnTo>
                    <a:pt x="1" y="1"/>
                  </a:lnTo>
                  <a:lnTo>
                    <a:pt x="29307" y="6252"/>
                  </a:lnTo>
                  <a:lnTo>
                    <a:pt x="27560" y="14957"/>
                  </a:lnTo>
                  <a:close/>
                </a:path>
              </a:pathLst>
            </a:custGeom>
            <a:solidFill>
              <a:srgbClr val="BC43A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67" name="Google Shape;2862;p49"/>
            <p:cNvSpPr/>
            <p:nvPr/>
          </p:nvSpPr>
          <p:spPr>
            <a:xfrm>
              <a:off x="-23308400" y="10876925"/>
              <a:ext cx="1081375" cy="930150"/>
            </a:xfrm>
            <a:custGeom>
              <a:avLst/>
              <a:gdLst/>
              <a:ahLst/>
              <a:cxnLst/>
              <a:rect l="l" t="t" r="r" b="b"/>
              <a:pathLst>
                <a:path w="43255" h="37206" extrusionOk="0">
                  <a:moveTo>
                    <a:pt x="43255" y="35189"/>
                  </a:moveTo>
                  <a:lnTo>
                    <a:pt x="42885" y="37206"/>
                  </a:lnTo>
                  <a:lnTo>
                    <a:pt x="1" y="2017"/>
                  </a:lnTo>
                  <a:lnTo>
                    <a:pt x="337" y="1"/>
                  </a:lnTo>
                  <a:close/>
                </a:path>
              </a:pathLst>
            </a:custGeom>
            <a:solidFill>
              <a:srgbClr val="B42C9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68" name="Google Shape;2863;p49"/>
            <p:cNvSpPr/>
            <p:nvPr/>
          </p:nvSpPr>
          <p:spPr>
            <a:xfrm>
              <a:off x="-26659175" y="12909425"/>
              <a:ext cx="862925" cy="339475"/>
            </a:xfrm>
            <a:custGeom>
              <a:avLst/>
              <a:gdLst/>
              <a:ahLst/>
              <a:cxnLst/>
              <a:rect l="l" t="t" r="r" b="b"/>
              <a:pathLst>
                <a:path w="34517" h="13579" extrusionOk="0">
                  <a:moveTo>
                    <a:pt x="34516" y="269"/>
                  </a:moveTo>
                  <a:cubicBezTo>
                    <a:pt x="34516" y="572"/>
                    <a:pt x="34483" y="908"/>
                    <a:pt x="34416" y="1244"/>
                  </a:cubicBezTo>
                  <a:cubicBezTo>
                    <a:pt x="34348" y="1580"/>
                    <a:pt x="34248" y="1882"/>
                    <a:pt x="34147" y="2218"/>
                  </a:cubicBezTo>
                  <a:cubicBezTo>
                    <a:pt x="34012" y="2554"/>
                    <a:pt x="33844" y="2891"/>
                    <a:pt x="33676" y="3193"/>
                  </a:cubicBezTo>
                  <a:cubicBezTo>
                    <a:pt x="33475" y="3563"/>
                    <a:pt x="33239" y="3899"/>
                    <a:pt x="32970" y="4235"/>
                  </a:cubicBezTo>
                  <a:cubicBezTo>
                    <a:pt x="32668" y="4638"/>
                    <a:pt x="32298" y="5008"/>
                    <a:pt x="31895" y="5378"/>
                  </a:cubicBezTo>
                  <a:cubicBezTo>
                    <a:pt x="31290" y="5949"/>
                    <a:pt x="30551" y="6487"/>
                    <a:pt x="29710" y="6991"/>
                  </a:cubicBezTo>
                  <a:cubicBezTo>
                    <a:pt x="29643" y="7058"/>
                    <a:pt x="29576" y="7092"/>
                    <a:pt x="29509" y="7125"/>
                  </a:cubicBezTo>
                  <a:cubicBezTo>
                    <a:pt x="28366" y="7797"/>
                    <a:pt x="27089" y="8369"/>
                    <a:pt x="25711" y="8806"/>
                  </a:cubicBezTo>
                  <a:cubicBezTo>
                    <a:pt x="24669" y="9142"/>
                    <a:pt x="23594" y="9411"/>
                    <a:pt x="22451" y="9612"/>
                  </a:cubicBezTo>
                  <a:cubicBezTo>
                    <a:pt x="21745" y="9747"/>
                    <a:pt x="21006" y="9848"/>
                    <a:pt x="20266" y="9915"/>
                  </a:cubicBezTo>
                  <a:cubicBezTo>
                    <a:pt x="19628" y="9982"/>
                    <a:pt x="18989" y="10016"/>
                    <a:pt x="18351" y="10049"/>
                  </a:cubicBezTo>
                  <a:cubicBezTo>
                    <a:pt x="17746" y="10049"/>
                    <a:pt x="17174" y="10049"/>
                    <a:pt x="16570" y="10049"/>
                  </a:cubicBezTo>
                  <a:cubicBezTo>
                    <a:pt x="15998" y="10049"/>
                    <a:pt x="15427" y="10016"/>
                    <a:pt x="14855" y="9948"/>
                  </a:cubicBezTo>
                  <a:cubicBezTo>
                    <a:pt x="14318" y="9915"/>
                    <a:pt x="13746" y="9848"/>
                    <a:pt x="13209" y="9780"/>
                  </a:cubicBezTo>
                  <a:cubicBezTo>
                    <a:pt x="12604" y="9680"/>
                    <a:pt x="12032" y="9579"/>
                    <a:pt x="11495" y="9478"/>
                  </a:cubicBezTo>
                  <a:cubicBezTo>
                    <a:pt x="10890" y="9343"/>
                    <a:pt x="10285" y="9209"/>
                    <a:pt x="9680" y="9041"/>
                  </a:cubicBezTo>
                  <a:cubicBezTo>
                    <a:pt x="8974" y="8839"/>
                    <a:pt x="8268" y="8604"/>
                    <a:pt x="7596" y="8335"/>
                  </a:cubicBezTo>
                  <a:cubicBezTo>
                    <a:pt x="6722" y="7965"/>
                    <a:pt x="5882" y="7596"/>
                    <a:pt x="5109" y="7125"/>
                  </a:cubicBezTo>
                  <a:cubicBezTo>
                    <a:pt x="1681" y="5176"/>
                    <a:pt x="0" y="2588"/>
                    <a:pt x="0" y="0"/>
                  </a:cubicBezTo>
                  <a:lnTo>
                    <a:pt x="0" y="3529"/>
                  </a:lnTo>
                  <a:cubicBezTo>
                    <a:pt x="0" y="6117"/>
                    <a:pt x="1681" y="8671"/>
                    <a:pt x="5075" y="10654"/>
                  </a:cubicBezTo>
                  <a:cubicBezTo>
                    <a:pt x="5882" y="11091"/>
                    <a:pt x="6689" y="11494"/>
                    <a:pt x="7596" y="11830"/>
                  </a:cubicBezTo>
                  <a:cubicBezTo>
                    <a:pt x="8268" y="12099"/>
                    <a:pt x="8974" y="12335"/>
                    <a:pt x="9680" y="12536"/>
                  </a:cubicBezTo>
                  <a:cubicBezTo>
                    <a:pt x="10251" y="12704"/>
                    <a:pt x="10856" y="12872"/>
                    <a:pt x="11461" y="12973"/>
                  </a:cubicBezTo>
                  <a:cubicBezTo>
                    <a:pt x="12032" y="13108"/>
                    <a:pt x="12604" y="13208"/>
                    <a:pt x="13175" y="13276"/>
                  </a:cubicBezTo>
                  <a:cubicBezTo>
                    <a:pt x="13746" y="13376"/>
                    <a:pt x="14284" y="13444"/>
                    <a:pt x="14855" y="13477"/>
                  </a:cubicBezTo>
                  <a:cubicBezTo>
                    <a:pt x="15427" y="13511"/>
                    <a:pt x="15998" y="13545"/>
                    <a:pt x="16570" y="13578"/>
                  </a:cubicBezTo>
                  <a:cubicBezTo>
                    <a:pt x="17141" y="13578"/>
                    <a:pt x="17746" y="13578"/>
                    <a:pt x="18317" y="13545"/>
                  </a:cubicBezTo>
                  <a:cubicBezTo>
                    <a:pt x="18989" y="13545"/>
                    <a:pt x="19628" y="13511"/>
                    <a:pt x="20233" y="13444"/>
                  </a:cubicBezTo>
                  <a:cubicBezTo>
                    <a:pt x="21006" y="13343"/>
                    <a:pt x="21712" y="13242"/>
                    <a:pt x="22451" y="13141"/>
                  </a:cubicBezTo>
                  <a:cubicBezTo>
                    <a:pt x="23560" y="12940"/>
                    <a:pt x="24669" y="12637"/>
                    <a:pt x="25711" y="12301"/>
                  </a:cubicBezTo>
                  <a:cubicBezTo>
                    <a:pt x="27089" y="11864"/>
                    <a:pt x="28366" y="11326"/>
                    <a:pt x="29509" y="10654"/>
                  </a:cubicBezTo>
                  <a:cubicBezTo>
                    <a:pt x="29576" y="10621"/>
                    <a:pt x="29643" y="10553"/>
                    <a:pt x="29710" y="10520"/>
                  </a:cubicBezTo>
                  <a:cubicBezTo>
                    <a:pt x="30551" y="10016"/>
                    <a:pt x="31290" y="9478"/>
                    <a:pt x="31895" y="8907"/>
                  </a:cubicBezTo>
                  <a:cubicBezTo>
                    <a:pt x="32298" y="8537"/>
                    <a:pt x="32668" y="8134"/>
                    <a:pt x="32970" y="7764"/>
                  </a:cubicBezTo>
                  <a:cubicBezTo>
                    <a:pt x="33239" y="7428"/>
                    <a:pt x="33475" y="7058"/>
                    <a:pt x="33676" y="6722"/>
                  </a:cubicBezTo>
                  <a:cubicBezTo>
                    <a:pt x="33844" y="6386"/>
                    <a:pt x="34012" y="6050"/>
                    <a:pt x="34113" y="5747"/>
                  </a:cubicBezTo>
                  <a:cubicBezTo>
                    <a:pt x="34248" y="5411"/>
                    <a:pt x="34348" y="5075"/>
                    <a:pt x="34416" y="4773"/>
                  </a:cubicBezTo>
                  <a:cubicBezTo>
                    <a:pt x="34483" y="4437"/>
                    <a:pt x="34516" y="4100"/>
                    <a:pt x="34516" y="3764"/>
                  </a:cubicBezTo>
                  <a:cubicBezTo>
                    <a:pt x="34516" y="3731"/>
                    <a:pt x="34516" y="3664"/>
                    <a:pt x="34516" y="3630"/>
                  </a:cubicBezTo>
                  <a:lnTo>
                    <a:pt x="34516" y="101"/>
                  </a:lnTo>
                  <a:cubicBezTo>
                    <a:pt x="34516" y="168"/>
                    <a:pt x="34516" y="202"/>
                    <a:pt x="34516" y="26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69" name="Google Shape;2864;p49"/>
            <p:cNvSpPr/>
            <p:nvPr/>
          </p:nvSpPr>
          <p:spPr>
            <a:xfrm>
              <a:off x="-26702025" y="12636350"/>
              <a:ext cx="948625" cy="548675"/>
            </a:xfrm>
            <a:custGeom>
              <a:avLst/>
              <a:gdLst/>
              <a:ahLst/>
              <a:cxnLst/>
              <a:rect l="l" t="t" r="r" b="b"/>
              <a:pathLst>
                <a:path w="37945" h="21947" extrusionOk="0">
                  <a:moveTo>
                    <a:pt x="31156" y="3899"/>
                  </a:moveTo>
                  <a:cubicBezTo>
                    <a:pt x="37911" y="7831"/>
                    <a:pt x="37945" y="14150"/>
                    <a:pt x="31223" y="18048"/>
                  </a:cubicBezTo>
                  <a:cubicBezTo>
                    <a:pt x="24501" y="21947"/>
                    <a:pt x="13578" y="21947"/>
                    <a:pt x="6823" y="18048"/>
                  </a:cubicBezTo>
                  <a:cubicBezTo>
                    <a:pt x="34" y="14150"/>
                    <a:pt x="0" y="7831"/>
                    <a:pt x="6722" y="3899"/>
                  </a:cubicBezTo>
                  <a:cubicBezTo>
                    <a:pt x="13444" y="0"/>
                    <a:pt x="24400" y="0"/>
                    <a:pt x="31156" y="389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70" name="Google Shape;2865;p49"/>
            <p:cNvSpPr/>
            <p:nvPr/>
          </p:nvSpPr>
          <p:spPr>
            <a:xfrm>
              <a:off x="-26642375" y="12670800"/>
              <a:ext cx="829325" cy="479775"/>
            </a:xfrm>
            <a:custGeom>
              <a:avLst/>
              <a:gdLst/>
              <a:ahLst/>
              <a:cxnLst/>
              <a:rect l="l" t="t" r="r" b="b"/>
              <a:pathLst>
                <a:path w="33173" h="19191" extrusionOk="0">
                  <a:moveTo>
                    <a:pt x="27224" y="3428"/>
                  </a:moveTo>
                  <a:cubicBezTo>
                    <a:pt x="33139" y="6823"/>
                    <a:pt x="33172" y="12368"/>
                    <a:pt x="27291" y="15796"/>
                  </a:cubicBezTo>
                  <a:cubicBezTo>
                    <a:pt x="21409" y="19191"/>
                    <a:pt x="11864" y="19191"/>
                    <a:pt x="5949" y="15796"/>
                  </a:cubicBezTo>
                  <a:cubicBezTo>
                    <a:pt x="34" y="12368"/>
                    <a:pt x="1" y="6823"/>
                    <a:pt x="5882" y="3428"/>
                  </a:cubicBezTo>
                  <a:cubicBezTo>
                    <a:pt x="11764" y="0"/>
                    <a:pt x="21308" y="0"/>
                    <a:pt x="27224" y="3428"/>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71" name="Google Shape;2866;p49"/>
            <p:cNvSpPr/>
            <p:nvPr/>
          </p:nvSpPr>
          <p:spPr>
            <a:xfrm>
              <a:off x="-26413000" y="12782550"/>
              <a:ext cx="364675" cy="227725"/>
            </a:xfrm>
            <a:custGeom>
              <a:avLst/>
              <a:gdLst/>
              <a:ahLst/>
              <a:cxnLst/>
              <a:rect l="l" t="t" r="r" b="b"/>
              <a:pathLst>
                <a:path w="14587" h="9109" extrusionOk="0">
                  <a:moveTo>
                    <a:pt x="12806" y="7226"/>
                  </a:moveTo>
                  <a:lnTo>
                    <a:pt x="14385" y="8134"/>
                  </a:lnTo>
                  <a:lnTo>
                    <a:pt x="13511" y="8638"/>
                  </a:lnTo>
                  <a:lnTo>
                    <a:pt x="11898" y="7730"/>
                  </a:lnTo>
                  <a:cubicBezTo>
                    <a:pt x="11192" y="8066"/>
                    <a:pt x="10386" y="8369"/>
                    <a:pt x="9512" y="8604"/>
                  </a:cubicBezTo>
                  <a:cubicBezTo>
                    <a:pt x="8672" y="8873"/>
                    <a:pt x="7798" y="9041"/>
                    <a:pt x="6891" y="9108"/>
                  </a:cubicBezTo>
                  <a:lnTo>
                    <a:pt x="6050" y="7596"/>
                  </a:lnTo>
                  <a:cubicBezTo>
                    <a:pt x="6218" y="7596"/>
                    <a:pt x="6454" y="7596"/>
                    <a:pt x="6756" y="7562"/>
                  </a:cubicBezTo>
                  <a:cubicBezTo>
                    <a:pt x="7059" y="7529"/>
                    <a:pt x="7428" y="7461"/>
                    <a:pt x="7798" y="7361"/>
                  </a:cubicBezTo>
                  <a:cubicBezTo>
                    <a:pt x="8168" y="7293"/>
                    <a:pt x="8605" y="7193"/>
                    <a:pt x="9008" y="7058"/>
                  </a:cubicBezTo>
                  <a:cubicBezTo>
                    <a:pt x="9445" y="6924"/>
                    <a:pt x="9848" y="6789"/>
                    <a:pt x="10251" y="6588"/>
                  </a:cubicBezTo>
                  <a:lnTo>
                    <a:pt x="7731" y="5176"/>
                  </a:lnTo>
                  <a:cubicBezTo>
                    <a:pt x="7630" y="5210"/>
                    <a:pt x="7529" y="5243"/>
                    <a:pt x="7428" y="5277"/>
                  </a:cubicBezTo>
                  <a:cubicBezTo>
                    <a:pt x="7294" y="5310"/>
                    <a:pt x="7193" y="5344"/>
                    <a:pt x="7092" y="5378"/>
                  </a:cubicBezTo>
                  <a:cubicBezTo>
                    <a:pt x="6454" y="5579"/>
                    <a:pt x="5882" y="5747"/>
                    <a:pt x="5345" y="5882"/>
                  </a:cubicBezTo>
                  <a:cubicBezTo>
                    <a:pt x="4840" y="5983"/>
                    <a:pt x="4370" y="6050"/>
                    <a:pt x="3899" y="6050"/>
                  </a:cubicBezTo>
                  <a:cubicBezTo>
                    <a:pt x="3429" y="6083"/>
                    <a:pt x="2992" y="6050"/>
                    <a:pt x="2589" y="5949"/>
                  </a:cubicBezTo>
                  <a:cubicBezTo>
                    <a:pt x="2185" y="5848"/>
                    <a:pt x="1782" y="5680"/>
                    <a:pt x="1412" y="5445"/>
                  </a:cubicBezTo>
                  <a:cubicBezTo>
                    <a:pt x="908" y="5176"/>
                    <a:pt x="572" y="4874"/>
                    <a:pt x="337" y="4571"/>
                  </a:cubicBezTo>
                  <a:cubicBezTo>
                    <a:pt x="135" y="4235"/>
                    <a:pt x="34" y="3933"/>
                    <a:pt x="68" y="3596"/>
                  </a:cubicBezTo>
                  <a:cubicBezTo>
                    <a:pt x="68" y="3260"/>
                    <a:pt x="202" y="2924"/>
                    <a:pt x="471" y="2622"/>
                  </a:cubicBezTo>
                  <a:cubicBezTo>
                    <a:pt x="707" y="2286"/>
                    <a:pt x="1043" y="1983"/>
                    <a:pt x="1480" y="1681"/>
                  </a:cubicBezTo>
                  <a:lnTo>
                    <a:pt x="1" y="841"/>
                  </a:lnTo>
                  <a:lnTo>
                    <a:pt x="875" y="336"/>
                  </a:lnTo>
                  <a:lnTo>
                    <a:pt x="2320" y="1177"/>
                  </a:lnTo>
                  <a:cubicBezTo>
                    <a:pt x="3026" y="841"/>
                    <a:pt x="3731" y="572"/>
                    <a:pt x="4471" y="404"/>
                  </a:cubicBezTo>
                  <a:cubicBezTo>
                    <a:pt x="5210" y="202"/>
                    <a:pt x="5916" y="68"/>
                    <a:pt x="6622" y="0"/>
                  </a:cubicBezTo>
                  <a:lnTo>
                    <a:pt x="7361" y="1445"/>
                  </a:lnTo>
                  <a:cubicBezTo>
                    <a:pt x="7227" y="1445"/>
                    <a:pt x="7059" y="1445"/>
                    <a:pt x="6790" y="1479"/>
                  </a:cubicBezTo>
                  <a:cubicBezTo>
                    <a:pt x="6521" y="1546"/>
                    <a:pt x="6252" y="1580"/>
                    <a:pt x="5916" y="1647"/>
                  </a:cubicBezTo>
                  <a:cubicBezTo>
                    <a:pt x="5613" y="1714"/>
                    <a:pt x="5277" y="1815"/>
                    <a:pt x="4941" y="1916"/>
                  </a:cubicBezTo>
                  <a:cubicBezTo>
                    <a:pt x="4605" y="2017"/>
                    <a:pt x="4269" y="2118"/>
                    <a:pt x="3967" y="2286"/>
                  </a:cubicBezTo>
                  <a:lnTo>
                    <a:pt x="6487" y="3731"/>
                  </a:lnTo>
                  <a:lnTo>
                    <a:pt x="6924" y="3563"/>
                  </a:lnTo>
                  <a:cubicBezTo>
                    <a:pt x="7563" y="3361"/>
                    <a:pt x="8168" y="3193"/>
                    <a:pt x="8739" y="3025"/>
                  </a:cubicBezTo>
                  <a:cubicBezTo>
                    <a:pt x="9277" y="2891"/>
                    <a:pt x="9814" y="2790"/>
                    <a:pt x="10352" y="2756"/>
                  </a:cubicBezTo>
                  <a:cubicBezTo>
                    <a:pt x="10856" y="2723"/>
                    <a:pt x="11360" y="2756"/>
                    <a:pt x="11831" y="2857"/>
                  </a:cubicBezTo>
                  <a:cubicBezTo>
                    <a:pt x="12302" y="2958"/>
                    <a:pt x="12772" y="3126"/>
                    <a:pt x="13276" y="3428"/>
                  </a:cubicBezTo>
                  <a:cubicBezTo>
                    <a:pt x="13780" y="3731"/>
                    <a:pt x="14150" y="4033"/>
                    <a:pt x="14352" y="4369"/>
                  </a:cubicBezTo>
                  <a:cubicBezTo>
                    <a:pt x="14520" y="4706"/>
                    <a:pt x="14587" y="5008"/>
                    <a:pt x="14520" y="5344"/>
                  </a:cubicBezTo>
                  <a:cubicBezTo>
                    <a:pt x="14419" y="5680"/>
                    <a:pt x="14217" y="6016"/>
                    <a:pt x="13915" y="6319"/>
                  </a:cubicBezTo>
                  <a:cubicBezTo>
                    <a:pt x="13612" y="6621"/>
                    <a:pt x="13243" y="6924"/>
                    <a:pt x="12806" y="7226"/>
                  </a:cubicBezTo>
                  <a:close/>
                  <a:moveTo>
                    <a:pt x="8537" y="4907"/>
                  </a:moveTo>
                  <a:lnTo>
                    <a:pt x="10856" y="6285"/>
                  </a:lnTo>
                  <a:cubicBezTo>
                    <a:pt x="11865" y="5647"/>
                    <a:pt x="11999" y="5142"/>
                    <a:pt x="11327" y="4773"/>
                  </a:cubicBezTo>
                  <a:cubicBezTo>
                    <a:pt x="10991" y="4571"/>
                    <a:pt x="10621" y="4504"/>
                    <a:pt x="10151" y="4571"/>
                  </a:cubicBezTo>
                  <a:cubicBezTo>
                    <a:pt x="9714" y="4605"/>
                    <a:pt x="9176" y="4739"/>
                    <a:pt x="8537" y="4907"/>
                  </a:cubicBezTo>
                  <a:close/>
                  <a:moveTo>
                    <a:pt x="4202" y="4302"/>
                  </a:moveTo>
                  <a:cubicBezTo>
                    <a:pt x="4605" y="4269"/>
                    <a:pt x="5109" y="4168"/>
                    <a:pt x="5714" y="3966"/>
                  </a:cubicBezTo>
                  <a:lnTo>
                    <a:pt x="3362" y="2622"/>
                  </a:lnTo>
                  <a:cubicBezTo>
                    <a:pt x="2488" y="3193"/>
                    <a:pt x="2421" y="3664"/>
                    <a:pt x="3126" y="4067"/>
                  </a:cubicBezTo>
                  <a:cubicBezTo>
                    <a:pt x="3462" y="4269"/>
                    <a:pt x="3799" y="4336"/>
                    <a:pt x="4202" y="4302"/>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72" name="Google Shape;2867;p49"/>
            <p:cNvSpPr/>
            <p:nvPr/>
          </p:nvSpPr>
          <p:spPr>
            <a:xfrm>
              <a:off x="-26641525" y="129186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73" name="Google Shape;2868;p49"/>
            <p:cNvSpPr/>
            <p:nvPr/>
          </p:nvSpPr>
          <p:spPr>
            <a:xfrm>
              <a:off x="-26617175" y="129615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74" name="Google Shape;2869;p49"/>
            <p:cNvSpPr/>
            <p:nvPr/>
          </p:nvSpPr>
          <p:spPr>
            <a:xfrm>
              <a:off x="-26592800" y="130035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75" name="Google Shape;2870;p49"/>
            <p:cNvSpPr/>
            <p:nvPr/>
          </p:nvSpPr>
          <p:spPr>
            <a:xfrm>
              <a:off x="-26569275" y="130463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76" name="Google Shape;2871;p49"/>
            <p:cNvSpPr/>
            <p:nvPr/>
          </p:nvSpPr>
          <p:spPr>
            <a:xfrm>
              <a:off x="-26544900" y="130413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77" name="Google Shape;2872;p49"/>
            <p:cNvSpPr/>
            <p:nvPr/>
          </p:nvSpPr>
          <p:spPr>
            <a:xfrm>
              <a:off x="-26511300" y="130531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78" name="Google Shape;2873;p49"/>
            <p:cNvSpPr/>
            <p:nvPr/>
          </p:nvSpPr>
          <p:spPr>
            <a:xfrm>
              <a:off x="-26478525" y="130640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79" name="Google Shape;2874;p49"/>
            <p:cNvSpPr/>
            <p:nvPr/>
          </p:nvSpPr>
          <p:spPr>
            <a:xfrm>
              <a:off x="-26444925" y="1307577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80" name="Google Shape;2875;p49"/>
            <p:cNvSpPr/>
            <p:nvPr/>
          </p:nvSpPr>
          <p:spPr>
            <a:xfrm>
              <a:off x="-26411300" y="13087550"/>
              <a:ext cx="0" cy="215950"/>
            </a:xfrm>
            <a:custGeom>
              <a:avLst/>
              <a:gdLst/>
              <a:ahLst/>
              <a:cxnLst/>
              <a:rect l="l" t="t" r="r" b="b"/>
              <a:pathLst>
                <a:path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81" name="Google Shape;2876;p49"/>
            <p:cNvSpPr/>
            <p:nvPr/>
          </p:nvSpPr>
          <p:spPr>
            <a:xfrm>
              <a:off x="-26378550" y="13099300"/>
              <a:ext cx="25" cy="215125"/>
            </a:xfrm>
            <a:custGeom>
              <a:avLst/>
              <a:gdLst/>
              <a:ahLst/>
              <a:cxnLst/>
              <a:rect l="l" t="t" r="r" b="b"/>
              <a:pathLst>
                <a:path w="1" h="8605" fill="none" extrusionOk="0">
                  <a:moveTo>
                    <a:pt x="1" y="1"/>
                  </a:moveTo>
                  <a:lnTo>
                    <a:pt x="1"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82" name="Google Shape;2877;p49"/>
            <p:cNvSpPr/>
            <p:nvPr/>
          </p:nvSpPr>
          <p:spPr>
            <a:xfrm>
              <a:off x="-26344925" y="13110225"/>
              <a:ext cx="0" cy="215975"/>
            </a:xfrm>
            <a:custGeom>
              <a:avLst/>
              <a:gdLst/>
              <a:ahLst/>
              <a:cxnLst/>
              <a:rect l="l" t="t" r="r" b="b"/>
              <a:pathLst>
                <a:path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83" name="Google Shape;2878;p49"/>
            <p:cNvSpPr/>
            <p:nvPr/>
          </p:nvSpPr>
          <p:spPr>
            <a:xfrm>
              <a:off x="-26312175" y="131220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84" name="Google Shape;2879;p49"/>
            <p:cNvSpPr/>
            <p:nvPr/>
          </p:nvSpPr>
          <p:spPr>
            <a:xfrm>
              <a:off x="-26278550" y="13133750"/>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85" name="Google Shape;2880;p49"/>
            <p:cNvSpPr/>
            <p:nvPr/>
          </p:nvSpPr>
          <p:spPr>
            <a:xfrm>
              <a:off x="-26244950" y="1314467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86" name="Google Shape;2881;p49"/>
            <p:cNvSpPr/>
            <p:nvPr/>
          </p:nvSpPr>
          <p:spPr>
            <a:xfrm>
              <a:off x="-26212175" y="131253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87" name="Google Shape;2882;p49"/>
            <p:cNvSpPr/>
            <p:nvPr/>
          </p:nvSpPr>
          <p:spPr>
            <a:xfrm>
              <a:off x="-26180250" y="131220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88" name="Google Shape;2883;p49"/>
            <p:cNvSpPr/>
            <p:nvPr/>
          </p:nvSpPr>
          <p:spPr>
            <a:xfrm>
              <a:off x="-26147475" y="131186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89" name="Google Shape;2884;p49"/>
            <p:cNvSpPr/>
            <p:nvPr/>
          </p:nvSpPr>
          <p:spPr>
            <a:xfrm>
              <a:off x="-26115550" y="131152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90" name="Google Shape;2885;p49"/>
            <p:cNvSpPr/>
            <p:nvPr/>
          </p:nvSpPr>
          <p:spPr>
            <a:xfrm>
              <a:off x="-26082800" y="13112750"/>
              <a:ext cx="25" cy="215125"/>
            </a:xfrm>
            <a:custGeom>
              <a:avLst/>
              <a:gdLst/>
              <a:ahLst/>
              <a:cxnLst/>
              <a:rect l="l" t="t" r="r" b="b"/>
              <a:pathLst>
                <a:path w="1" h="8605" fill="none" extrusionOk="0">
                  <a:moveTo>
                    <a:pt x="1" y="1"/>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91" name="Google Shape;2886;p49"/>
            <p:cNvSpPr/>
            <p:nvPr/>
          </p:nvSpPr>
          <p:spPr>
            <a:xfrm>
              <a:off x="-26050850" y="131094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92" name="Google Shape;2887;p49"/>
            <p:cNvSpPr/>
            <p:nvPr/>
          </p:nvSpPr>
          <p:spPr>
            <a:xfrm>
              <a:off x="-26018100" y="131060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93" name="Google Shape;2888;p49"/>
            <p:cNvSpPr/>
            <p:nvPr/>
          </p:nvSpPr>
          <p:spPr>
            <a:xfrm>
              <a:off x="-25986175" y="131026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94" name="Google Shape;2889;p49"/>
            <p:cNvSpPr/>
            <p:nvPr/>
          </p:nvSpPr>
          <p:spPr>
            <a:xfrm>
              <a:off x="-25954225" y="13048050"/>
              <a:ext cx="25" cy="215125"/>
            </a:xfrm>
            <a:custGeom>
              <a:avLst/>
              <a:gdLst/>
              <a:ahLst/>
              <a:cxnLst/>
              <a:rect l="l" t="t" r="r" b="b"/>
              <a:pathLst>
                <a:path w="1" h="8605" fill="none" extrusionOk="0">
                  <a:moveTo>
                    <a:pt x="0" y="1"/>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95" name="Google Shape;2890;p49"/>
            <p:cNvSpPr/>
            <p:nvPr/>
          </p:nvSpPr>
          <p:spPr>
            <a:xfrm>
              <a:off x="-25923150" y="129926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96" name="Google Shape;2891;p49"/>
            <p:cNvSpPr/>
            <p:nvPr/>
          </p:nvSpPr>
          <p:spPr>
            <a:xfrm>
              <a:off x="-25891225" y="12964025"/>
              <a:ext cx="25" cy="215125"/>
            </a:xfrm>
            <a:custGeom>
              <a:avLst/>
              <a:gdLst/>
              <a:ahLst/>
              <a:cxnLst/>
              <a:rect l="l" t="t" r="r" b="b"/>
              <a:pathLst>
                <a:path w="1" h="8605" fill="none" extrusionOk="0">
                  <a:moveTo>
                    <a:pt x="1" y="1"/>
                  </a:moveTo>
                  <a:lnTo>
                    <a:pt x="1"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97" name="Google Shape;2892;p49"/>
            <p:cNvSpPr/>
            <p:nvPr/>
          </p:nvSpPr>
          <p:spPr>
            <a:xfrm>
              <a:off x="-25858450" y="129716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98" name="Google Shape;2893;p49"/>
            <p:cNvSpPr/>
            <p:nvPr/>
          </p:nvSpPr>
          <p:spPr>
            <a:xfrm>
              <a:off x="-25826525" y="129791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399" name="Google Shape;2894;p49"/>
            <p:cNvSpPr/>
            <p:nvPr/>
          </p:nvSpPr>
          <p:spPr>
            <a:xfrm>
              <a:off x="-25801325" y="129220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00" name="Google Shape;2895;p49"/>
            <p:cNvSpPr/>
            <p:nvPr/>
          </p:nvSpPr>
          <p:spPr>
            <a:xfrm>
              <a:off x="-26659175" y="12705250"/>
              <a:ext cx="862925" cy="339475"/>
            </a:xfrm>
            <a:custGeom>
              <a:avLst/>
              <a:gdLst/>
              <a:ahLst/>
              <a:cxnLst/>
              <a:rect l="l" t="t" r="r" b="b"/>
              <a:pathLst>
                <a:path w="34517" h="13579" extrusionOk="0">
                  <a:moveTo>
                    <a:pt x="34516" y="269"/>
                  </a:moveTo>
                  <a:cubicBezTo>
                    <a:pt x="34516" y="605"/>
                    <a:pt x="34483" y="908"/>
                    <a:pt x="34416" y="1244"/>
                  </a:cubicBezTo>
                  <a:cubicBezTo>
                    <a:pt x="34348" y="1580"/>
                    <a:pt x="34248" y="1916"/>
                    <a:pt x="34147" y="2218"/>
                  </a:cubicBezTo>
                  <a:cubicBezTo>
                    <a:pt x="34012" y="2555"/>
                    <a:pt x="33844" y="2891"/>
                    <a:pt x="33676" y="3193"/>
                  </a:cubicBezTo>
                  <a:cubicBezTo>
                    <a:pt x="33475" y="3563"/>
                    <a:pt x="33239" y="3899"/>
                    <a:pt x="32970" y="4235"/>
                  </a:cubicBezTo>
                  <a:cubicBezTo>
                    <a:pt x="32668" y="4638"/>
                    <a:pt x="32298" y="5008"/>
                    <a:pt x="31895" y="5378"/>
                  </a:cubicBezTo>
                  <a:cubicBezTo>
                    <a:pt x="31290" y="5949"/>
                    <a:pt x="30551" y="6520"/>
                    <a:pt x="29710" y="6991"/>
                  </a:cubicBezTo>
                  <a:cubicBezTo>
                    <a:pt x="29643" y="7058"/>
                    <a:pt x="29576" y="7092"/>
                    <a:pt x="29509" y="7125"/>
                  </a:cubicBezTo>
                  <a:cubicBezTo>
                    <a:pt x="28366" y="7798"/>
                    <a:pt x="27089" y="8369"/>
                    <a:pt x="25711" y="8806"/>
                  </a:cubicBezTo>
                  <a:cubicBezTo>
                    <a:pt x="24669" y="9142"/>
                    <a:pt x="23594" y="9411"/>
                    <a:pt x="22451" y="9612"/>
                  </a:cubicBezTo>
                  <a:cubicBezTo>
                    <a:pt x="21745" y="9747"/>
                    <a:pt x="21006" y="9848"/>
                    <a:pt x="20266" y="9915"/>
                  </a:cubicBezTo>
                  <a:cubicBezTo>
                    <a:pt x="19628" y="9982"/>
                    <a:pt x="18989" y="10016"/>
                    <a:pt x="18351" y="10049"/>
                  </a:cubicBezTo>
                  <a:cubicBezTo>
                    <a:pt x="17746" y="10049"/>
                    <a:pt x="17174" y="10049"/>
                    <a:pt x="16570" y="10049"/>
                  </a:cubicBezTo>
                  <a:cubicBezTo>
                    <a:pt x="15998" y="10049"/>
                    <a:pt x="15427" y="10016"/>
                    <a:pt x="14855" y="9948"/>
                  </a:cubicBezTo>
                  <a:cubicBezTo>
                    <a:pt x="14318" y="9915"/>
                    <a:pt x="13746" y="9848"/>
                    <a:pt x="13209" y="9780"/>
                  </a:cubicBezTo>
                  <a:cubicBezTo>
                    <a:pt x="12604" y="9680"/>
                    <a:pt x="12032" y="9579"/>
                    <a:pt x="11495" y="9478"/>
                  </a:cubicBezTo>
                  <a:cubicBezTo>
                    <a:pt x="10890" y="9344"/>
                    <a:pt x="10285" y="9209"/>
                    <a:pt x="9680" y="9041"/>
                  </a:cubicBezTo>
                  <a:cubicBezTo>
                    <a:pt x="8974" y="8839"/>
                    <a:pt x="8268" y="8604"/>
                    <a:pt x="7596" y="8335"/>
                  </a:cubicBezTo>
                  <a:cubicBezTo>
                    <a:pt x="6722" y="7966"/>
                    <a:pt x="5882" y="7596"/>
                    <a:pt x="5109" y="7125"/>
                  </a:cubicBezTo>
                  <a:cubicBezTo>
                    <a:pt x="1681" y="5176"/>
                    <a:pt x="0" y="2588"/>
                    <a:pt x="0" y="0"/>
                  </a:cubicBezTo>
                  <a:lnTo>
                    <a:pt x="0" y="3529"/>
                  </a:lnTo>
                  <a:cubicBezTo>
                    <a:pt x="0" y="6117"/>
                    <a:pt x="1681" y="8671"/>
                    <a:pt x="5075" y="10654"/>
                  </a:cubicBezTo>
                  <a:cubicBezTo>
                    <a:pt x="5882" y="11091"/>
                    <a:pt x="6689" y="11494"/>
                    <a:pt x="7596" y="11831"/>
                  </a:cubicBezTo>
                  <a:cubicBezTo>
                    <a:pt x="8268" y="12099"/>
                    <a:pt x="8974" y="12335"/>
                    <a:pt x="9680" y="12536"/>
                  </a:cubicBezTo>
                  <a:cubicBezTo>
                    <a:pt x="10251" y="12704"/>
                    <a:pt x="10856" y="12872"/>
                    <a:pt x="11461" y="12973"/>
                  </a:cubicBezTo>
                  <a:cubicBezTo>
                    <a:pt x="12032" y="13108"/>
                    <a:pt x="12604" y="13209"/>
                    <a:pt x="13175" y="13276"/>
                  </a:cubicBezTo>
                  <a:cubicBezTo>
                    <a:pt x="13746" y="13377"/>
                    <a:pt x="14284" y="13444"/>
                    <a:pt x="14855" y="13477"/>
                  </a:cubicBezTo>
                  <a:cubicBezTo>
                    <a:pt x="15427" y="13511"/>
                    <a:pt x="15998" y="13545"/>
                    <a:pt x="16570" y="13578"/>
                  </a:cubicBezTo>
                  <a:cubicBezTo>
                    <a:pt x="17141" y="13578"/>
                    <a:pt x="17746" y="13578"/>
                    <a:pt x="18317" y="13545"/>
                  </a:cubicBezTo>
                  <a:cubicBezTo>
                    <a:pt x="18989" y="13545"/>
                    <a:pt x="19628" y="13511"/>
                    <a:pt x="20233" y="13444"/>
                  </a:cubicBezTo>
                  <a:cubicBezTo>
                    <a:pt x="21006" y="13343"/>
                    <a:pt x="21712" y="13242"/>
                    <a:pt x="22451" y="13141"/>
                  </a:cubicBezTo>
                  <a:cubicBezTo>
                    <a:pt x="23560" y="12940"/>
                    <a:pt x="24669" y="12637"/>
                    <a:pt x="25711" y="12301"/>
                  </a:cubicBezTo>
                  <a:cubicBezTo>
                    <a:pt x="27089" y="11864"/>
                    <a:pt x="28366" y="11326"/>
                    <a:pt x="29509" y="10654"/>
                  </a:cubicBezTo>
                  <a:cubicBezTo>
                    <a:pt x="29576" y="10621"/>
                    <a:pt x="29643" y="10553"/>
                    <a:pt x="29710" y="10520"/>
                  </a:cubicBezTo>
                  <a:cubicBezTo>
                    <a:pt x="30551" y="10016"/>
                    <a:pt x="31290" y="9478"/>
                    <a:pt x="31895" y="8907"/>
                  </a:cubicBezTo>
                  <a:cubicBezTo>
                    <a:pt x="32298" y="8537"/>
                    <a:pt x="32668" y="8134"/>
                    <a:pt x="32970" y="7764"/>
                  </a:cubicBezTo>
                  <a:cubicBezTo>
                    <a:pt x="33239" y="7428"/>
                    <a:pt x="33475" y="7058"/>
                    <a:pt x="33676" y="6722"/>
                  </a:cubicBezTo>
                  <a:cubicBezTo>
                    <a:pt x="33844" y="6386"/>
                    <a:pt x="34012" y="6050"/>
                    <a:pt x="34113" y="5747"/>
                  </a:cubicBezTo>
                  <a:cubicBezTo>
                    <a:pt x="34248" y="5411"/>
                    <a:pt x="34348" y="5075"/>
                    <a:pt x="34416" y="4773"/>
                  </a:cubicBezTo>
                  <a:cubicBezTo>
                    <a:pt x="34483" y="4437"/>
                    <a:pt x="34516" y="4101"/>
                    <a:pt x="34516" y="3764"/>
                  </a:cubicBezTo>
                  <a:cubicBezTo>
                    <a:pt x="34516" y="3731"/>
                    <a:pt x="34516" y="3664"/>
                    <a:pt x="34516" y="3630"/>
                  </a:cubicBezTo>
                  <a:lnTo>
                    <a:pt x="34516" y="101"/>
                  </a:lnTo>
                  <a:cubicBezTo>
                    <a:pt x="34516" y="168"/>
                    <a:pt x="34516" y="202"/>
                    <a:pt x="34516" y="26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01" name="Google Shape;2896;p49"/>
            <p:cNvSpPr/>
            <p:nvPr/>
          </p:nvSpPr>
          <p:spPr>
            <a:xfrm>
              <a:off x="-26702025" y="12432175"/>
              <a:ext cx="948625" cy="548675"/>
            </a:xfrm>
            <a:custGeom>
              <a:avLst/>
              <a:gdLst/>
              <a:ahLst/>
              <a:cxnLst/>
              <a:rect l="l" t="t" r="r" b="b"/>
              <a:pathLst>
                <a:path w="37945" h="21947" extrusionOk="0">
                  <a:moveTo>
                    <a:pt x="31156" y="3899"/>
                  </a:moveTo>
                  <a:cubicBezTo>
                    <a:pt x="37911" y="7831"/>
                    <a:pt x="37945" y="14150"/>
                    <a:pt x="31223" y="18048"/>
                  </a:cubicBezTo>
                  <a:cubicBezTo>
                    <a:pt x="24501" y="21947"/>
                    <a:pt x="13578" y="21947"/>
                    <a:pt x="6823" y="18048"/>
                  </a:cubicBezTo>
                  <a:cubicBezTo>
                    <a:pt x="34" y="14150"/>
                    <a:pt x="0" y="7831"/>
                    <a:pt x="6722" y="3899"/>
                  </a:cubicBezTo>
                  <a:cubicBezTo>
                    <a:pt x="13444" y="1"/>
                    <a:pt x="24400" y="1"/>
                    <a:pt x="31156" y="389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02" name="Google Shape;2897;p49"/>
            <p:cNvSpPr/>
            <p:nvPr/>
          </p:nvSpPr>
          <p:spPr>
            <a:xfrm>
              <a:off x="-26642375" y="12466625"/>
              <a:ext cx="829325" cy="480625"/>
            </a:xfrm>
            <a:custGeom>
              <a:avLst/>
              <a:gdLst/>
              <a:ahLst/>
              <a:cxnLst/>
              <a:rect l="l" t="t" r="r" b="b"/>
              <a:pathLst>
                <a:path w="33173" h="19225" extrusionOk="0">
                  <a:moveTo>
                    <a:pt x="27224" y="3429"/>
                  </a:moveTo>
                  <a:cubicBezTo>
                    <a:pt x="33139" y="6823"/>
                    <a:pt x="33172" y="12368"/>
                    <a:pt x="27291" y="15797"/>
                  </a:cubicBezTo>
                  <a:cubicBezTo>
                    <a:pt x="21409" y="19191"/>
                    <a:pt x="11864" y="19225"/>
                    <a:pt x="5949" y="15797"/>
                  </a:cubicBezTo>
                  <a:cubicBezTo>
                    <a:pt x="34" y="12368"/>
                    <a:pt x="1" y="6823"/>
                    <a:pt x="5882" y="3429"/>
                  </a:cubicBezTo>
                  <a:cubicBezTo>
                    <a:pt x="11764" y="0"/>
                    <a:pt x="21308" y="0"/>
                    <a:pt x="27224" y="342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03" name="Google Shape;2898;p49"/>
            <p:cNvSpPr/>
            <p:nvPr/>
          </p:nvSpPr>
          <p:spPr>
            <a:xfrm>
              <a:off x="-26413000" y="12578375"/>
              <a:ext cx="364675" cy="227725"/>
            </a:xfrm>
            <a:custGeom>
              <a:avLst/>
              <a:gdLst/>
              <a:ahLst/>
              <a:cxnLst/>
              <a:rect l="l" t="t" r="r" b="b"/>
              <a:pathLst>
                <a:path w="14587" h="9109" extrusionOk="0">
                  <a:moveTo>
                    <a:pt x="12806" y="7226"/>
                  </a:moveTo>
                  <a:lnTo>
                    <a:pt x="14385" y="8134"/>
                  </a:lnTo>
                  <a:lnTo>
                    <a:pt x="13511" y="8638"/>
                  </a:lnTo>
                  <a:lnTo>
                    <a:pt x="11898" y="7730"/>
                  </a:lnTo>
                  <a:cubicBezTo>
                    <a:pt x="11192" y="8066"/>
                    <a:pt x="10386" y="8369"/>
                    <a:pt x="9512" y="8638"/>
                  </a:cubicBezTo>
                  <a:cubicBezTo>
                    <a:pt x="8672" y="8873"/>
                    <a:pt x="7798" y="9041"/>
                    <a:pt x="6891" y="9108"/>
                  </a:cubicBezTo>
                  <a:lnTo>
                    <a:pt x="6050" y="7596"/>
                  </a:lnTo>
                  <a:cubicBezTo>
                    <a:pt x="6218" y="7596"/>
                    <a:pt x="6454" y="7596"/>
                    <a:pt x="6756" y="7562"/>
                  </a:cubicBezTo>
                  <a:cubicBezTo>
                    <a:pt x="7059" y="7529"/>
                    <a:pt x="7428" y="7462"/>
                    <a:pt x="7798" y="7394"/>
                  </a:cubicBezTo>
                  <a:cubicBezTo>
                    <a:pt x="8168" y="7293"/>
                    <a:pt x="8605" y="7193"/>
                    <a:pt x="9008" y="7058"/>
                  </a:cubicBezTo>
                  <a:cubicBezTo>
                    <a:pt x="9445" y="6924"/>
                    <a:pt x="9848" y="6789"/>
                    <a:pt x="10251" y="6621"/>
                  </a:cubicBezTo>
                  <a:lnTo>
                    <a:pt x="7731" y="5176"/>
                  </a:lnTo>
                  <a:cubicBezTo>
                    <a:pt x="7630" y="5210"/>
                    <a:pt x="7529" y="5243"/>
                    <a:pt x="7428" y="5277"/>
                  </a:cubicBezTo>
                  <a:cubicBezTo>
                    <a:pt x="7294" y="5311"/>
                    <a:pt x="7193" y="5344"/>
                    <a:pt x="7092" y="5378"/>
                  </a:cubicBezTo>
                  <a:cubicBezTo>
                    <a:pt x="6454" y="5579"/>
                    <a:pt x="5882" y="5747"/>
                    <a:pt x="5345" y="5882"/>
                  </a:cubicBezTo>
                  <a:cubicBezTo>
                    <a:pt x="4840" y="5983"/>
                    <a:pt x="4370" y="6050"/>
                    <a:pt x="3899" y="6084"/>
                  </a:cubicBezTo>
                  <a:cubicBezTo>
                    <a:pt x="3429" y="6084"/>
                    <a:pt x="2992" y="6050"/>
                    <a:pt x="2589" y="5949"/>
                  </a:cubicBezTo>
                  <a:cubicBezTo>
                    <a:pt x="2185" y="5848"/>
                    <a:pt x="1782" y="5680"/>
                    <a:pt x="1412" y="5445"/>
                  </a:cubicBezTo>
                  <a:cubicBezTo>
                    <a:pt x="908" y="5176"/>
                    <a:pt x="572" y="4874"/>
                    <a:pt x="337" y="4571"/>
                  </a:cubicBezTo>
                  <a:cubicBezTo>
                    <a:pt x="135" y="4235"/>
                    <a:pt x="34" y="3933"/>
                    <a:pt x="68" y="3597"/>
                  </a:cubicBezTo>
                  <a:cubicBezTo>
                    <a:pt x="68" y="3260"/>
                    <a:pt x="202" y="2958"/>
                    <a:pt x="471" y="2622"/>
                  </a:cubicBezTo>
                  <a:cubicBezTo>
                    <a:pt x="707" y="2286"/>
                    <a:pt x="1043" y="1983"/>
                    <a:pt x="1480" y="1714"/>
                  </a:cubicBezTo>
                  <a:lnTo>
                    <a:pt x="1" y="841"/>
                  </a:lnTo>
                  <a:lnTo>
                    <a:pt x="875" y="337"/>
                  </a:lnTo>
                  <a:lnTo>
                    <a:pt x="2320" y="1177"/>
                  </a:lnTo>
                  <a:cubicBezTo>
                    <a:pt x="3026" y="841"/>
                    <a:pt x="3731" y="572"/>
                    <a:pt x="4471" y="404"/>
                  </a:cubicBezTo>
                  <a:cubicBezTo>
                    <a:pt x="5210" y="202"/>
                    <a:pt x="5916" y="68"/>
                    <a:pt x="6622" y="0"/>
                  </a:cubicBezTo>
                  <a:lnTo>
                    <a:pt x="7361" y="1446"/>
                  </a:lnTo>
                  <a:cubicBezTo>
                    <a:pt x="7227" y="1446"/>
                    <a:pt x="7059" y="1479"/>
                    <a:pt x="6790" y="1513"/>
                  </a:cubicBezTo>
                  <a:cubicBezTo>
                    <a:pt x="6521" y="1546"/>
                    <a:pt x="6252" y="1580"/>
                    <a:pt x="5916" y="1647"/>
                  </a:cubicBezTo>
                  <a:cubicBezTo>
                    <a:pt x="5613" y="1714"/>
                    <a:pt x="5277" y="1815"/>
                    <a:pt x="4941" y="1916"/>
                  </a:cubicBezTo>
                  <a:cubicBezTo>
                    <a:pt x="4605" y="2017"/>
                    <a:pt x="4269" y="2151"/>
                    <a:pt x="3967" y="2286"/>
                  </a:cubicBezTo>
                  <a:lnTo>
                    <a:pt x="6487" y="3731"/>
                  </a:lnTo>
                  <a:lnTo>
                    <a:pt x="6924" y="3563"/>
                  </a:lnTo>
                  <a:cubicBezTo>
                    <a:pt x="7563" y="3361"/>
                    <a:pt x="8168" y="3193"/>
                    <a:pt x="8739" y="3025"/>
                  </a:cubicBezTo>
                  <a:cubicBezTo>
                    <a:pt x="9277" y="2891"/>
                    <a:pt x="9814" y="2790"/>
                    <a:pt x="10352" y="2756"/>
                  </a:cubicBezTo>
                  <a:cubicBezTo>
                    <a:pt x="10856" y="2723"/>
                    <a:pt x="11360" y="2756"/>
                    <a:pt x="11831" y="2857"/>
                  </a:cubicBezTo>
                  <a:cubicBezTo>
                    <a:pt x="12302" y="2958"/>
                    <a:pt x="12772" y="3160"/>
                    <a:pt x="13276" y="3428"/>
                  </a:cubicBezTo>
                  <a:cubicBezTo>
                    <a:pt x="13780" y="3731"/>
                    <a:pt x="14150" y="4033"/>
                    <a:pt x="14352" y="4370"/>
                  </a:cubicBezTo>
                  <a:cubicBezTo>
                    <a:pt x="14520" y="4706"/>
                    <a:pt x="14587" y="5042"/>
                    <a:pt x="14520" y="5344"/>
                  </a:cubicBezTo>
                  <a:cubicBezTo>
                    <a:pt x="14419" y="5680"/>
                    <a:pt x="14217" y="6016"/>
                    <a:pt x="13915" y="6319"/>
                  </a:cubicBezTo>
                  <a:cubicBezTo>
                    <a:pt x="13612" y="6655"/>
                    <a:pt x="13243" y="6957"/>
                    <a:pt x="12806" y="7226"/>
                  </a:cubicBezTo>
                  <a:close/>
                  <a:moveTo>
                    <a:pt x="8537" y="4907"/>
                  </a:moveTo>
                  <a:lnTo>
                    <a:pt x="10856" y="6285"/>
                  </a:lnTo>
                  <a:cubicBezTo>
                    <a:pt x="11865" y="5647"/>
                    <a:pt x="11999" y="5176"/>
                    <a:pt x="11327" y="4773"/>
                  </a:cubicBezTo>
                  <a:cubicBezTo>
                    <a:pt x="10991" y="4571"/>
                    <a:pt x="10621" y="4504"/>
                    <a:pt x="10151" y="4571"/>
                  </a:cubicBezTo>
                  <a:cubicBezTo>
                    <a:pt x="9714" y="4605"/>
                    <a:pt x="9176" y="4739"/>
                    <a:pt x="8537" y="4907"/>
                  </a:cubicBezTo>
                  <a:close/>
                  <a:moveTo>
                    <a:pt x="4202" y="4302"/>
                  </a:moveTo>
                  <a:cubicBezTo>
                    <a:pt x="4605" y="4269"/>
                    <a:pt x="5109" y="4168"/>
                    <a:pt x="5714" y="3966"/>
                  </a:cubicBezTo>
                  <a:lnTo>
                    <a:pt x="3362" y="2622"/>
                  </a:lnTo>
                  <a:cubicBezTo>
                    <a:pt x="2488" y="3193"/>
                    <a:pt x="2421" y="3664"/>
                    <a:pt x="3126" y="4067"/>
                  </a:cubicBezTo>
                  <a:cubicBezTo>
                    <a:pt x="3462" y="4269"/>
                    <a:pt x="3799" y="4370"/>
                    <a:pt x="4202" y="4302"/>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04" name="Google Shape;2899;p49"/>
            <p:cNvSpPr/>
            <p:nvPr/>
          </p:nvSpPr>
          <p:spPr>
            <a:xfrm>
              <a:off x="-26641525" y="12714500"/>
              <a:ext cx="25" cy="215950"/>
            </a:xfrm>
            <a:custGeom>
              <a:avLst/>
              <a:gdLst/>
              <a:ahLst/>
              <a:cxnLst/>
              <a:rect l="l" t="t" r="r" b="b"/>
              <a:pathLst>
                <a:path w="1" h="8638" fill="none" extrusionOk="0">
                  <a:moveTo>
                    <a:pt x="0" y="0"/>
                  </a:moveTo>
                  <a:lnTo>
                    <a:pt x="0"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05" name="Google Shape;2900;p49"/>
            <p:cNvSpPr/>
            <p:nvPr/>
          </p:nvSpPr>
          <p:spPr>
            <a:xfrm>
              <a:off x="-26617175" y="12757350"/>
              <a:ext cx="25" cy="215950"/>
            </a:xfrm>
            <a:custGeom>
              <a:avLst/>
              <a:gdLst/>
              <a:ahLst/>
              <a:cxnLst/>
              <a:rect l="l" t="t" r="r" b="b"/>
              <a:pathLst>
                <a:path w="1" h="8638" fill="none" extrusionOk="0">
                  <a:moveTo>
                    <a:pt x="1" y="0"/>
                  </a:moveTo>
                  <a:lnTo>
                    <a:pt x="1"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06" name="Google Shape;2901;p49"/>
            <p:cNvSpPr/>
            <p:nvPr/>
          </p:nvSpPr>
          <p:spPr>
            <a:xfrm>
              <a:off x="-26592800" y="12800200"/>
              <a:ext cx="25" cy="215100"/>
            </a:xfrm>
            <a:custGeom>
              <a:avLst/>
              <a:gdLst/>
              <a:ahLst/>
              <a:cxnLst/>
              <a:rect l="l" t="t" r="r" b="b"/>
              <a:pathLst>
                <a:path w="1" h="8604"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07" name="Google Shape;2902;p49"/>
            <p:cNvSpPr/>
            <p:nvPr/>
          </p:nvSpPr>
          <p:spPr>
            <a:xfrm>
              <a:off x="-26569275" y="12842200"/>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08" name="Google Shape;2903;p49"/>
            <p:cNvSpPr/>
            <p:nvPr/>
          </p:nvSpPr>
          <p:spPr>
            <a:xfrm>
              <a:off x="-26544900" y="128371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09" name="Google Shape;2904;p49"/>
            <p:cNvSpPr/>
            <p:nvPr/>
          </p:nvSpPr>
          <p:spPr>
            <a:xfrm>
              <a:off x="-26511300" y="128489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10" name="Google Shape;2905;p49"/>
            <p:cNvSpPr/>
            <p:nvPr/>
          </p:nvSpPr>
          <p:spPr>
            <a:xfrm>
              <a:off x="-26478525" y="12860675"/>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11" name="Google Shape;2906;p49"/>
            <p:cNvSpPr/>
            <p:nvPr/>
          </p:nvSpPr>
          <p:spPr>
            <a:xfrm>
              <a:off x="-26444925" y="128716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12" name="Google Shape;2907;p49"/>
            <p:cNvSpPr/>
            <p:nvPr/>
          </p:nvSpPr>
          <p:spPr>
            <a:xfrm>
              <a:off x="-26411300" y="12883375"/>
              <a:ext cx="0" cy="215950"/>
            </a:xfrm>
            <a:custGeom>
              <a:avLst/>
              <a:gdLst/>
              <a:ahLst/>
              <a:cxnLst/>
              <a:rect l="l" t="t" r="r" b="b"/>
              <a:pathLst>
                <a:path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13" name="Google Shape;2908;p49"/>
            <p:cNvSpPr/>
            <p:nvPr/>
          </p:nvSpPr>
          <p:spPr>
            <a:xfrm>
              <a:off x="-26378550" y="128951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14" name="Google Shape;2909;p49"/>
            <p:cNvSpPr/>
            <p:nvPr/>
          </p:nvSpPr>
          <p:spPr>
            <a:xfrm>
              <a:off x="-26344925" y="12906050"/>
              <a:ext cx="0" cy="215975"/>
            </a:xfrm>
            <a:custGeom>
              <a:avLst/>
              <a:gdLst/>
              <a:ahLst/>
              <a:cxnLst/>
              <a:rect l="l" t="t" r="r" b="b"/>
              <a:pathLst>
                <a:path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15" name="Google Shape;2910;p49"/>
            <p:cNvSpPr/>
            <p:nvPr/>
          </p:nvSpPr>
          <p:spPr>
            <a:xfrm>
              <a:off x="-26312175" y="129178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16" name="Google Shape;2911;p49"/>
            <p:cNvSpPr/>
            <p:nvPr/>
          </p:nvSpPr>
          <p:spPr>
            <a:xfrm>
              <a:off x="-26278550" y="129295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17" name="Google Shape;2912;p49"/>
            <p:cNvSpPr/>
            <p:nvPr/>
          </p:nvSpPr>
          <p:spPr>
            <a:xfrm>
              <a:off x="-26244950" y="129405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18" name="Google Shape;2913;p49"/>
            <p:cNvSpPr/>
            <p:nvPr/>
          </p:nvSpPr>
          <p:spPr>
            <a:xfrm>
              <a:off x="-26212175" y="129211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19" name="Google Shape;2914;p49"/>
            <p:cNvSpPr/>
            <p:nvPr/>
          </p:nvSpPr>
          <p:spPr>
            <a:xfrm>
              <a:off x="-26180250" y="129178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20" name="Google Shape;2915;p49"/>
            <p:cNvSpPr/>
            <p:nvPr/>
          </p:nvSpPr>
          <p:spPr>
            <a:xfrm>
              <a:off x="-26147475" y="129144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21" name="Google Shape;2916;p49"/>
            <p:cNvSpPr/>
            <p:nvPr/>
          </p:nvSpPr>
          <p:spPr>
            <a:xfrm>
              <a:off x="-26115550" y="129111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22" name="Google Shape;2917;p49"/>
            <p:cNvSpPr/>
            <p:nvPr/>
          </p:nvSpPr>
          <p:spPr>
            <a:xfrm>
              <a:off x="-26082800" y="12908575"/>
              <a:ext cx="25" cy="215125"/>
            </a:xfrm>
            <a:custGeom>
              <a:avLst/>
              <a:gdLst/>
              <a:ahLst/>
              <a:cxnLst/>
              <a:rect l="l" t="t" r="r" b="b"/>
              <a:pathLst>
                <a:path w="1" h="8605" fill="none" extrusionOk="0">
                  <a:moveTo>
                    <a:pt x="1" y="1"/>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23" name="Google Shape;2918;p49"/>
            <p:cNvSpPr/>
            <p:nvPr/>
          </p:nvSpPr>
          <p:spPr>
            <a:xfrm>
              <a:off x="-26050850" y="129052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24" name="Google Shape;2919;p49"/>
            <p:cNvSpPr/>
            <p:nvPr/>
          </p:nvSpPr>
          <p:spPr>
            <a:xfrm>
              <a:off x="-26018100" y="129018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25" name="Google Shape;2920;p49"/>
            <p:cNvSpPr/>
            <p:nvPr/>
          </p:nvSpPr>
          <p:spPr>
            <a:xfrm>
              <a:off x="-25986175" y="128985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26" name="Google Shape;2921;p49"/>
            <p:cNvSpPr/>
            <p:nvPr/>
          </p:nvSpPr>
          <p:spPr>
            <a:xfrm>
              <a:off x="-25954225" y="12843875"/>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27" name="Google Shape;2922;p49"/>
            <p:cNvSpPr/>
            <p:nvPr/>
          </p:nvSpPr>
          <p:spPr>
            <a:xfrm>
              <a:off x="-25923150" y="12788425"/>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28" name="Google Shape;2923;p49"/>
            <p:cNvSpPr/>
            <p:nvPr/>
          </p:nvSpPr>
          <p:spPr>
            <a:xfrm>
              <a:off x="-25891225" y="127598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29" name="Google Shape;2924;p49"/>
            <p:cNvSpPr/>
            <p:nvPr/>
          </p:nvSpPr>
          <p:spPr>
            <a:xfrm>
              <a:off x="-25858450" y="127674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30" name="Google Shape;2925;p49"/>
            <p:cNvSpPr/>
            <p:nvPr/>
          </p:nvSpPr>
          <p:spPr>
            <a:xfrm>
              <a:off x="-25826525" y="1277497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31" name="Google Shape;2926;p49"/>
            <p:cNvSpPr/>
            <p:nvPr/>
          </p:nvSpPr>
          <p:spPr>
            <a:xfrm>
              <a:off x="-25801325" y="127178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32" name="Google Shape;2927;p49"/>
            <p:cNvSpPr/>
            <p:nvPr/>
          </p:nvSpPr>
          <p:spPr>
            <a:xfrm>
              <a:off x="-26659175" y="12491000"/>
              <a:ext cx="862925" cy="339450"/>
            </a:xfrm>
            <a:custGeom>
              <a:avLst/>
              <a:gdLst/>
              <a:ahLst/>
              <a:cxnLst/>
              <a:rect l="l" t="t" r="r" b="b"/>
              <a:pathLst>
                <a:path w="34517" h="13578" extrusionOk="0">
                  <a:moveTo>
                    <a:pt x="34516" y="235"/>
                  </a:moveTo>
                  <a:cubicBezTo>
                    <a:pt x="34516" y="571"/>
                    <a:pt x="34483" y="908"/>
                    <a:pt x="34416" y="1244"/>
                  </a:cubicBezTo>
                  <a:cubicBezTo>
                    <a:pt x="34348" y="1546"/>
                    <a:pt x="34248" y="1882"/>
                    <a:pt x="34147" y="2218"/>
                  </a:cubicBezTo>
                  <a:cubicBezTo>
                    <a:pt x="34012" y="2521"/>
                    <a:pt x="33844" y="2857"/>
                    <a:pt x="33676" y="3193"/>
                  </a:cubicBezTo>
                  <a:cubicBezTo>
                    <a:pt x="33475" y="3529"/>
                    <a:pt x="33239" y="3865"/>
                    <a:pt x="32970" y="4235"/>
                  </a:cubicBezTo>
                  <a:cubicBezTo>
                    <a:pt x="32668" y="4605"/>
                    <a:pt x="32298" y="5008"/>
                    <a:pt x="31895" y="5378"/>
                  </a:cubicBezTo>
                  <a:cubicBezTo>
                    <a:pt x="31290" y="5949"/>
                    <a:pt x="30551" y="6487"/>
                    <a:pt x="29710" y="6991"/>
                  </a:cubicBezTo>
                  <a:cubicBezTo>
                    <a:pt x="29643" y="7024"/>
                    <a:pt x="29576" y="7092"/>
                    <a:pt x="29509" y="7125"/>
                  </a:cubicBezTo>
                  <a:cubicBezTo>
                    <a:pt x="28366" y="7797"/>
                    <a:pt x="27089" y="8335"/>
                    <a:pt x="25711" y="8772"/>
                  </a:cubicBezTo>
                  <a:cubicBezTo>
                    <a:pt x="24669" y="9108"/>
                    <a:pt x="23594" y="9377"/>
                    <a:pt x="22451" y="9612"/>
                  </a:cubicBezTo>
                  <a:cubicBezTo>
                    <a:pt x="21745" y="9713"/>
                    <a:pt x="21006" y="9814"/>
                    <a:pt x="20266" y="9915"/>
                  </a:cubicBezTo>
                  <a:cubicBezTo>
                    <a:pt x="19628" y="9982"/>
                    <a:pt x="18989" y="10015"/>
                    <a:pt x="18351" y="10015"/>
                  </a:cubicBezTo>
                  <a:cubicBezTo>
                    <a:pt x="17746" y="10049"/>
                    <a:pt x="17174" y="10049"/>
                    <a:pt x="16570" y="10049"/>
                  </a:cubicBezTo>
                  <a:cubicBezTo>
                    <a:pt x="15998" y="10015"/>
                    <a:pt x="15427" y="9982"/>
                    <a:pt x="14855" y="9948"/>
                  </a:cubicBezTo>
                  <a:cubicBezTo>
                    <a:pt x="14318" y="9915"/>
                    <a:pt x="13746" y="9847"/>
                    <a:pt x="13209" y="9747"/>
                  </a:cubicBezTo>
                  <a:cubicBezTo>
                    <a:pt x="12604" y="9679"/>
                    <a:pt x="12032" y="9579"/>
                    <a:pt x="11495" y="9444"/>
                  </a:cubicBezTo>
                  <a:cubicBezTo>
                    <a:pt x="10890" y="9343"/>
                    <a:pt x="10285" y="9175"/>
                    <a:pt x="9680" y="9007"/>
                  </a:cubicBezTo>
                  <a:cubicBezTo>
                    <a:pt x="8974" y="8806"/>
                    <a:pt x="8268" y="8570"/>
                    <a:pt x="7596" y="8301"/>
                  </a:cubicBezTo>
                  <a:cubicBezTo>
                    <a:pt x="6722" y="7965"/>
                    <a:pt x="5882" y="7562"/>
                    <a:pt x="5109" y="7125"/>
                  </a:cubicBezTo>
                  <a:cubicBezTo>
                    <a:pt x="1681" y="5142"/>
                    <a:pt x="0" y="2588"/>
                    <a:pt x="0" y="0"/>
                  </a:cubicBezTo>
                  <a:lnTo>
                    <a:pt x="0" y="3529"/>
                  </a:lnTo>
                  <a:cubicBezTo>
                    <a:pt x="0" y="6083"/>
                    <a:pt x="1681" y="8671"/>
                    <a:pt x="5075" y="10620"/>
                  </a:cubicBezTo>
                  <a:cubicBezTo>
                    <a:pt x="5882" y="11091"/>
                    <a:pt x="6689" y="11494"/>
                    <a:pt x="7596" y="11830"/>
                  </a:cubicBezTo>
                  <a:cubicBezTo>
                    <a:pt x="8268" y="12099"/>
                    <a:pt x="8974" y="12334"/>
                    <a:pt x="9680" y="12536"/>
                  </a:cubicBezTo>
                  <a:cubicBezTo>
                    <a:pt x="10251" y="12704"/>
                    <a:pt x="10856" y="12839"/>
                    <a:pt x="11461" y="12973"/>
                  </a:cubicBezTo>
                  <a:cubicBezTo>
                    <a:pt x="12032" y="13107"/>
                    <a:pt x="12604" y="13175"/>
                    <a:pt x="13175" y="13276"/>
                  </a:cubicBezTo>
                  <a:cubicBezTo>
                    <a:pt x="13746" y="13343"/>
                    <a:pt x="14284" y="13410"/>
                    <a:pt x="14855" y="13477"/>
                  </a:cubicBezTo>
                  <a:cubicBezTo>
                    <a:pt x="15427" y="13511"/>
                    <a:pt x="15998" y="13544"/>
                    <a:pt x="16570" y="13544"/>
                  </a:cubicBezTo>
                  <a:cubicBezTo>
                    <a:pt x="17141" y="13578"/>
                    <a:pt x="17746" y="13578"/>
                    <a:pt x="18317" y="13544"/>
                  </a:cubicBezTo>
                  <a:cubicBezTo>
                    <a:pt x="18989" y="13511"/>
                    <a:pt x="19628" y="13477"/>
                    <a:pt x="20233" y="13410"/>
                  </a:cubicBezTo>
                  <a:cubicBezTo>
                    <a:pt x="21006" y="13343"/>
                    <a:pt x="21712" y="13242"/>
                    <a:pt x="22451" y="13107"/>
                  </a:cubicBezTo>
                  <a:cubicBezTo>
                    <a:pt x="23560" y="12906"/>
                    <a:pt x="24669" y="12637"/>
                    <a:pt x="25711" y="12301"/>
                  </a:cubicBezTo>
                  <a:cubicBezTo>
                    <a:pt x="27089" y="11864"/>
                    <a:pt x="28366" y="11293"/>
                    <a:pt x="29509" y="10620"/>
                  </a:cubicBezTo>
                  <a:cubicBezTo>
                    <a:pt x="29576" y="10587"/>
                    <a:pt x="29643" y="10553"/>
                    <a:pt x="29710" y="10520"/>
                  </a:cubicBezTo>
                  <a:cubicBezTo>
                    <a:pt x="30551" y="10015"/>
                    <a:pt x="31290" y="9444"/>
                    <a:pt x="31895" y="8873"/>
                  </a:cubicBezTo>
                  <a:cubicBezTo>
                    <a:pt x="32298" y="8503"/>
                    <a:pt x="32668" y="8133"/>
                    <a:pt x="32970" y="7730"/>
                  </a:cubicBezTo>
                  <a:cubicBezTo>
                    <a:pt x="33239" y="7394"/>
                    <a:pt x="33475" y="7058"/>
                    <a:pt x="33676" y="6688"/>
                  </a:cubicBezTo>
                  <a:cubicBezTo>
                    <a:pt x="33844" y="6386"/>
                    <a:pt x="34012" y="6050"/>
                    <a:pt x="34113" y="5714"/>
                  </a:cubicBezTo>
                  <a:cubicBezTo>
                    <a:pt x="34248" y="5411"/>
                    <a:pt x="34348" y="5075"/>
                    <a:pt x="34416" y="4739"/>
                  </a:cubicBezTo>
                  <a:cubicBezTo>
                    <a:pt x="34483" y="4436"/>
                    <a:pt x="34516" y="4100"/>
                    <a:pt x="34516" y="3764"/>
                  </a:cubicBezTo>
                  <a:cubicBezTo>
                    <a:pt x="34516" y="3697"/>
                    <a:pt x="34516" y="3663"/>
                    <a:pt x="34516" y="3596"/>
                  </a:cubicBezTo>
                  <a:lnTo>
                    <a:pt x="34516" y="101"/>
                  </a:lnTo>
                  <a:cubicBezTo>
                    <a:pt x="34516" y="135"/>
                    <a:pt x="34516" y="202"/>
                    <a:pt x="34516" y="235"/>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33" name="Google Shape;2928;p49"/>
            <p:cNvSpPr/>
            <p:nvPr/>
          </p:nvSpPr>
          <p:spPr>
            <a:xfrm>
              <a:off x="-26702025" y="12217925"/>
              <a:ext cx="948625" cy="548675"/>
            </a:xfrm>
            <a:custGeom>
              <a:avLst/>
              <a:gdLst/>
              <a:ahLst/>
              <a:cxnLst/>
              <a:rect l="l" t="t" r="r" b="b"/>
              <a:pathLst>
                <a:path w="37945" h="21947" extrusionOk="0">
                  <a:moveTo>
                    <a:pt x="31156" y="3899"/>
                  </a:moveTo>
                  <a:cubicBezTo>
                    <a:pt x="37911" y="7798"/>
                    <a:pt x="37945" y="14150"/>
                    <a:pt x="31223" y="18048"/>
                  </a:cubicBezTo>
                  <a:cubicBezTo>
                    <a:pt x="24501" y="21947"/>
                    <a:pt x="13578" y="21947"/>
                    <a:pt x="6823" y="18048"/>
                  </a:cubicBezTo>
                  <a:cubicBezTo>
                    <a:pt x="34" y="14150"/>
                    <a:pt x="0" y="7798"/>
                    <a:pt x="6722" y="3899"/>
                  </a:cubicBezTo>
                  <a:cubicBezTo>
                    <a:pt x="13444" y="0"/>
                    <a:pt x="24400" y="0"/>
                    <a:pt x="31156" y="389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34" name="Google Shape;2929;p49"/>
            <p:cNvSpPr/>
            <p:nvPr/>
          </p:nvSpPr>
          <p:spPr>
            <a:xfrm>
              <a:off x="-26642375" y="12252375"/>
              <a:ext cx="829325" cy="479775"/>
            </a:xfrm>
            <a:custGeom>
              <a:avLst/>
              <a:gdLst/>
              <a:ahLst/>
              <a:cxnLst/>
              <a:rect l="l" t="t" r="r" b="b"/>
              <a:pathLst>
                <a:path w="33173" h="19191" extrusionOk="0">
                  <a:moveTo>
                    <a:pt x="27224" y="3395"/>
                  </a:moveTo>
                  <a:cubicBezTo>
                    <a:pt x="33139" y="6823"/>
                    <a:pt x="33172" y="12368"/>
                    <a:pt x="27291" y="15763"/>
                  </a:cubicBezTo>
                  <a:cubicBezTo>
                    <a:pt x="21409" y="19191"/>
                    <a:pt x="11864" y="19191"/>
                    <a:pt x="5949" y="15796"/>
                  </a:cubicBezTo>
                  <a:cubicBezTo>
                    <a:pt x="34" y="12368"/>
                    <a:pt x="1" y="6823"/>
                    <a:pt x="5882" y="3395"/>
                  </a:cubicBezTo>
                  <a:cubicBezTo>
                    <a:pt x="11764" y="0"/>
                    <a:pt x="21308" y="0"/>
                    <a:pt x="27224" y="3395"/>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35" name="Google Shape;2930;p49"/>
            <p:cNvSpPr/>
            <p:nvPr/>
          </p:nvSpPr>
          <p:spPr>
            <a:xfrm>
              <a:off x="-26413000" y="12364125"/>
              <a:ext cx="364675" cy="227725"/>
            </a:xfrm>
            <a:custGeom>
              <a:avLst/>
              <a:gdLst/>
              <a:ahLst/>
              <a:cxnLst/>
              <a:rect l="l" t="t" r="r" b="b"/>
              <a:pathLst>
                <a:path w="14587" h="9109" extrusionOk="0">
                  <a:moveTo>
                    <a:pt x="12806" y="7226"/>
                  </a:moveTo>
                  <a:lnTo>
                    <a:pt x="14385" y="8134"/>
                  </a:lnTo>
                  <a:lnTo>
                    <a:pt x="13511" y="8638"/>
                  </a:lnTo>
                  <a:lnTo>
                    <a:pt x="11898" y="7697"/>
                  </a:lnTo>
                  <a:cubicBezTo>
                    <a:pt x="11192" y="8066"/>
                    <a:pt x="10386" y="8369"/>
                    <a:pt x="9512" y="8604"/>
                  </a:cubicBezTo>
                  <a:cubicBezTo>
                    <a:pt x="8672" y="8839"/>
                    <a:pt x="7798" y="9007"/>
                    <a:pt x="6891" y="9108"/>
                  </a:cubicBezTo>
                  <a:lnTo>
                    <a:pt x="6050" y="7596"/>
                  </a:lnTo>
                  <a:cubicBezTo>
                    <a:pt x="6218" y="7596"/>
                    <a:pt x="6454" y="7596"/>
                    <a:pt x="6756" y="7529"/>
                  </a:cubicBezTo>
                  <a:cubicBezTo>
                    <a:pt x="7059" y="7495"/>
                    <a:pt x="7428" y="7461"/>
                    <a:pt x="7798" y="7361"/>
                  </a:cubicBezTo>
                  <a:cubicBezTo>
                    <a:pt x="8168" y="7293"/>
                    <a:pt x="8605" y="7192"/>
                    <a:pt x="9008" y="7058"/>
                  </a:cubicBezTo>
                  <a:cubicBezTo>
                    <a:pt x="9445" y="6924"/>
                    <a:pt x="9848" y="6789"/>
                    <a:pt x="10251" y="6588"/>
                  </a:cubicBezTo>
                  <a:lnTo>
                    <a:pt x="7731" y="5142"/>
                  </a:lnTo>
                  <a:cubicBezTo>
                    <a:pt x="7630" y="5176"/>
                    <a:pt x="7529" y="5243"/>
                    <a:pt x="7428" y="5277"/>
                  </a:cubicBezTo>
                  <a:cubicBezTo>
                    <a:pt x="7294" y="5310"/>
                    <a:pt x="7193" y="5344"/>
                    <a:pt x="7092" y="5378"/>
                  </a:cubicBezTo>
                  <a:cubicBezTo>
                    <a:pt x="6454" y="5579"/>
                    <a:pt x="5882" y="5747"/>
                    <a:pt x="5345" y="5848"/>
                  </a:cubicBezTo>
                  <a:cubicBezTo>
                    <a:pt x="4840" y="5983"/>
                    <a:pt x="4370" y="6050"/>
                    <a:pt x="3899" y="6050"/>
                  </a:cubicBezTo>
                  <a:cubicBezTo>
                    <a:pt x="3429" y="6083"/>
                    <a:pt x="2992" y="6016"/>
                    <a:pt x="2589" y="5949"/>
                  </a:cubicBezTo>
                  <a:cubicBezTo>
                    <a:pt x="2185" y="5848"/>
                    <a:pt x="1782" y="5680"/>
                    <a:pt x="1412" y="5445"/>
                  </a:cubicBezTo>
                  <a:cubicBezTo>
                    <a:pt x="908" y="5176"/>
                    <a:pt x="572" y="4873"/>
                    <a:pt x="337" y="4537"/>
                  </a:cubicBezTo>
                  <a:cubicBezTo>
                    <a:pt x="135" y="4235"/>
                    <a:pt x="34" y="3899"/>
                    <a:pt x="68" y="3596"/>
                  </a:cubicBezTo>
                  <a:cubicBezTo>
                    <a:pt x="68" y="3260"/>
                    <a:pt x="202" y="2924"/>
                    <a:pt x="471" y="2622"/>
                  </a:cubicBezTo>
                  <a:cubicBezTo>
                    <a:pt x="707" y="2286"/>
                    <a:pt x="1043" y="1983"/>
                    <a:pt x="1480" y="1681"/>
                  </a:cubicBezTo>
                  <a:lnTo>
                    <a:pt x="1" y="840"/>
                  </a:lnTo>
                  <a:lnTo>
                    <a:pt x="875" y="336"/>
                  </a:lnTo>
                  <a:lnTo>
                    <a:pt x="2320" y="1177"/>
                  </a:lnTo>
                  <a:cubicBezTo>
                    <a:pt x="3026" y="840"/>
                    <a:pt x="3731" y="572"/>
                    <a:pt x="4471" y="370"/>
                  </a:cubicBezTo>
                  <a:cubicBezTo>
                    <a:pt x="5210" y="202"/>
                    <a:pt x="5916" y="67"/>
                    <a:pt x="6622" y="0"/>
                  </a:cubicBezTo>
                  <a:lnTo>
                    <a:pt x="7361" y="1445"/>
                  </a:lnTo>
                  <a:cubicBezTo>
                    <a:pt x="7227" y="1445"/>
                    <a:pt x="7059" y="1445"/>
                    <a:pt x="6790" y="1479"/>
                  </a:cubicBezTo>
                  <a:cubicBezTo>
                    <a:pt x="6521" y="1513"/>
                    <a:pt x="6252" y="1580"/>
                    <a:pt x="5916" y="1647"/>
                  </a:cubicBezTo>
                  <a:cubicBezTo>
                    <a:pt x="5613" y="1714"/>
                    <a:pt x="5277" y="1781"/>
                    <a:pt x="4941" y="1882"/>
                  </a:cubicBezTo>
                  <a:cubicBezTo>
                    <a:pt x="4605" y="1983"/>
                    <a:pt x="4269" y="2118"/>
                    <a:pt x="3967" y="2286"/>
                  </a:cubicBezTo>
                  <a:lnTo>
                    <a:pt x="6487" y="3731"/>
                  </a:lnTo>
                  <a:lnTo>
                    <a:pt x="6924" y="3563"/>
                  </a:lnTo>
                  <a:cubicBezTo>
                    <a:pt x="7563" y="3361"/>
                    <a:pt x="8168" y="3159"/>
                    <a:pt x="8739" y="3025"/>
                  </a:cubicBezTo>
                  <a:cubicBezTo>
                    <a:pt x="9277" y="2857"/>
                    <a:pt x="9814" y="2790"/>
                    <a:pt x="10352" y="2756"/>
                  </a:cubicBezTo>
                  <a:cubicBezTo>
                    <a:pt x="10856" y="2723"/>
                    <a:pt x="11360" y="2756"/>
                    <a:pt x="11831" y="2857"/>
                  </a:cubicBezTo>
                  <a:cubicBezTo>
                    <a:pt x="12302" y="2958"/>
                    <a:pt x="12772" y="3126"/>
                    <a:pt x="13276" y="3395"/>
                  </a:cubicBezTo>
                  <a:cubicBezTo>
                    <a:pt x="13780" y="3731"/>
                    <a:pt x="14150" y="4033"/>
                    <a:pt x="14352" y="4369"/>
                  </a:cubicBezTo>
                  <a:cubicBezTo>
                    <a:pt x="14520" y="4705"/>
                    <a:pt x="14587" y="5008"/>
                    <a:pt x="14520" y="5344"/>
                  </a:cubicBezTo>
                  <a:cubicBezTo>
                    <a:pt x="14419" y="5680"/>
                    <a:pt x="14217" y="5983"/>
                    <a:pt x="13915" y="6319"/>
                  </a:cubicBezTo>
                  <a:cubicBezTo>
                    <a:pt x="13612" y="6621"/>
                    <a:pt x="13243" y="6924"/>
                    <a:pt x="12806" y="7226"/>
                  </a:cubicBezTo>
                  <a:close/>
                  <a:moveTo>
                    <a:pt x="8537" y="4907"/>
                  </a:moveTo>
                  <a:lnTo>
                    <a:pt x="10856" y="6251"/>
                  </a:lnTo>
                  <a:cubicBezTo>
                    <a:pt x="11865" y="5646"/>
                    <a:pt x="11999" y="5142"/>
                    <a:pt x="11327" y="4773"/>
                  </a:cubicBezTo>
                  <a:cubicBezTo>
                    <a:pt x="10991" y="4571"/>
                    <a:pt x="10621" y="4504"/>
                    <a:pt x="10151" y="4537"/>
                  </a:cubicBezTo>
                  <a:cubicBezTo>
                    <a:pt x="9714" y="4605"/>
                    <a:pt x="9176" y="4705"/>
                    <a:pt x="8537" y="4907"/>
                  </a:cubicBezTo>
                  <a:close/>
                  <a:moveTo>
                    <a:pt x="4202" y="4302"/>
                  </a:moveTo>
                  <a:cubicBezTo>
                    <a:pt x="4605" y="4269"/>
                    <a:pt x="5109" y="4168"/>
                    <a:pt x="5714" y="3966"/>
                  </a:cubicBezTo>
                  <a:lnTo>
                    <a:pt x="3362" y="2622"/>
                  </a:lnTo>
                  <a:cubicBezTo>
                    <a:pt x="2488" y="3159"/>
                    <a:pt x="2421" y="3664"/>
                    <a:pt x="3126" y="4067"/>
                  </a:cubicBezTo>
                  <a:cubicBezTo>
                    <a:pt x="3462" y="4269"/>
                    <a:pt x="3799" y="4336"/>
                    <a:pt x="4202" y="4302"/>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36" name="Google Shape;2931;p49"/>
            <p:cNvSpPr/>
            <p:nvPr/>
          </p:nvSpPr>
          <p:spPr>
            <a:xfrm>
              <a:off x="-26641525" y="125002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37" name="Google Shape;2932;p49"/>
            <p:cNvSpPr/>
            <p:nvPr/>
          </p:nvSpPr>
          <p:spPr>
            <a:xfrm>
              <a:off x="-26617175" y="12543075"/>
              <a:ext cx="25" cy="215125"/>
            </a:xfrm>
            <a:custGeom>
              <a:avLst/>
              <a:gdLst/>
              <a:ahLst/>
              <a:cxnLst/>
              <a:rect l="l" t="t" r="r" b="b"/>
              <a:pathLst>
                <a:path w="1" h="8605" fill="none" extrusionOk="0">
                  <a:moveTo>
                    <a:pt x="1" y="1"/>
                  </a:moveTo>
                  <a:lnTo>
                    <a:pt x="1"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38" name="Google Shape;2933;p49"/>
            <p:cNvSpPr/>
            <p:nvPr/>
          </p:nvSpPr>
          <p:spPr>
            <a:xfrm>
              <a:off x="-26592800" y="125851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39" name="Google Shape;2934;p49"/>
            <p:cNvSpPr/>
            <p:nvPr/>
          </p:nvSpPr>
          <p:spPr>
            <a:xfrm>
              <a:off x="-26569275" y="126279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40" name="Google Shape;2935;p49"/>
            <p:cNvSpPr/>
            <p:nvPr/>
          </p:nvSpPr>
          <p:spPr>
            <a:xfrm>
              <a:off x="-26544900" y="126229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41" name="Google Shape;2936;p49"/>
            <p:cNvSpPr/>
            <p:nvPr/>
          </p:nvSpPr>
          <p:spPr>
            <a:xfrm>
              <a:off x="-26511300" y="12634675"/>
              <a:ext cx="25" cy="215100"/>
            </a:xfrm>
            <a:custGeom>
              <a:avLst/>
              <a:gdLst/>
              <a:ahLst/>
              <a:cxnLst/>
              <a:rect l="l" t="t" r="r" b="b"/>
              <a:pathLst>
                <a:path w="1" h="8604"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42" name="Google Shape;2937;p49"/>
            <p:cNvSpPr/>
            <p:nvPr/>
          </p:nvSpPr>
          <p:spPr>
            <a:xfrm>
              <a:off x="-26478525" y="126456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43" name="Google Shape;2938;p49"/>
            <p:cNvSpPr/>
            <p:nvPr/>
          </p:nvSpPr>
          <p:spPr>
            <a:xfrm>
              <a:off x="-26444925" y="126573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44" name="Google Shape;2939;p49"/>
            <p:cNvSpPr/>
            <p:nvPr/>
          </p:nvSpPr>
          <p:spPr>
            <a:xfrm>
              <a:off x="-26411300" y="12669125"/>
              <a:ext cx="0" cy="215100"/>
            </a:xfrm>
            <a:custGeom>
              <a:avLst/>
              <a:gdLst/>
              <a:ahLst/>
              <a:cxnLst/>
              <a:rect l="l" t="t" r="r" b="b"/>
              <a:pathLst>
                <a:path h="8604"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45" name="Google Shape;2940;p49"/>
            <p:cNvSpPr/>
            <p:nvPr/>
          </p:nvSpPr>
          <p:spPr>
            <a:xfrm>
              <a:off x="-26378550" y="12680050"/>
              <a:ext cx="25" cy="215950"/>
            </a:xfrm>
            <a:custGeom>
              <a:avLst/>
              <a:gdLst/>
              <a:ahLst/>
              <a:cxnLst/>
              <a:rect l="l" t="t" r="r" b="b"/>
              <a:pathLst>
                <a:path w="1" h="8638" fill="none" extrusionOk="0">
                  <a:moveTo>
                    <a:pt x="1" y="0"/>
                  </a:moveTo>
                  <a:lnTo>
                    <a:pt x="1"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46" name="Google Shape;2941;p49"/>
            <p:cNvSpPr/>
            <p:nvPr/>
          </p:nvSpPr>
          <p:spPr>
            <a:xfrm>
              <a:off x="-26344925" y="12691800"/>
              <a:ext cx="0" cy="215950"/>
            </a:xfrm>
            <a:custGeom>
              <a:avLst/>
              <a:gdLst/>
              <a:ahLst/>
              <a:cxnLst/>
              <a:rect l="l" t="t" r="r" b="b"/>
              <a:pathLst>
                <a:path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47" name="Google Shape;2942;p49"/>
            <p:cNvSpPr/>
            <p:nvPr/>
          </p:nvSpPr>
          <p:spPr>
            <a:xfrm>
              <a:off x="-26312175" y="127035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48" name="Google Shape;2943;p49"/>
            <p:cNvSpPr/>
            <p:nvPr/>
          </p:nvSpPr>
          <p:spPr>
            <a:xfrm>
              <a:off x="-26278550" y="12714500"/>
              <a:ext cx="25" cy="215950"/>
            </a:xfrm>
            <a:custGeom>
              <a:avLst/>
              <a:gdLst/>
              <a:ahLst/>
              <a:cxnLst/>
              <a:rect l="l" t="t" r="r" b="b"/>
              <a:pathLst>
                <a:path w="1" h="8638" fill="none" extrusionOk="0">
                  <a:moveTo>
                    <a:pt x="0" y="0"/>
                  </a:moveTo>
                  <a:lnTo>
                    <a:pt x="0"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49" name="Google Shape;2944;p49"/>
            <p:cNvSpPr/>
            <p:nvPr/>
          </p:nvSpPr>
          <p:spPr>
            <a:xfrm>
              <a:off x="-26244950" y="12726250"/>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50" name="Google Shape;2945;p49"/>
            <p:cNvSpPr/>
            <p:nvPr/>
          </p:nvSpPr>
          <p:spPr>
            <a:xfrm>
              <a:off x="-26212175" y="12706925"/>
              <a:ext cx="25" cy="215125"/>
            </a:xfrm>
            <a:custGeom>
              <a:avLst/>
              <a:gdLst/>
              <a:ahLst/>
              <a:cxnLst/>
              <a:rect l="l" t="t" r="r" b="b"/>
              <a:pathLst>
                <a:path w="1" h="8605" fill="none" extrusionOk="0">
                  <a:moveTo>
                    <a:pt x="0" y="1"/>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51" name="Google Shape;2946;p49"/>
            <p:cNvSpPr/>
            <p:nvPr/>
          </p:nvSpPr>
          <p:spPr>
            <a:xfrm>
              <a:off x="-26180250" y="127035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52" name="Google Shape;2947;p49"/>
            <p:cNvSpPr/>
            <p:nvPr/>
          </p:nvSpPr>
          <p:spPr>
            <a:xfrm>
              <a:off x="-26147475" y="127002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53" name="Google Shape;2948;p49"/>
            <p:cNvSpPr/>
            <p:nvPr/>
          </p:nvSpPr>
          <p:spPr>
            <a:xfrm>
              <a:off x="-26115550" y="1269685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54" name="Google Shape;2949;p49"/>
            <p:cNvSpPr/>
            <p:nvPr/>
          </p:nvSpPr>
          <p:spPr>
            <a:xfrm>
              <a:off x="-26082800" y="1269347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55" name="Google Shape;2950;p49"/>
            <p:cNvSpPr/>
            <p:nvPr/>
          </p:nvSpPr>
          <p:spPr>
            <a:xfrm>
              <a:off x="-26050850" y="126901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56" name="Google Shape;2951;p49"/>
            <p:cNvSpPr/>
            <p:nvPr/>
          </p:nvSpPr>
          <p:spPr>
            <a:xfrm>
              <a:off x="-26018100" y="126867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57" name="Google Shape;2952;p49"/>
            <p:cNvSpPr/>
            <p:nvPr/>
          </p:nvSpPr>
          <p:spPr>
            <a:xfrm>
              <a:off x="-25986175" y="126842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58" name="Google Shape;2953;p49"/>
            <p:cNvSpPr/>
            <p:nvPr/>
          </p:nvSpPr>
          <p:spPr>
            <a:xfrm>
              <a:off x="-25954225" y="126287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59" name="Google Shape;2954;p49"/>
            <p:cNvSpPr/>
            <p:nvPr/>
          </p:nvSpPr>
          <p:spPr>
            <a:xfrm>
              <a:off x="-25923150" y="12574175"/>
              <a:ext cx="25" cy="215125"/>
            </a:xfrm>
            <a:custGeom>
              <a:avLst/>
              <a:gdLst/>
              <a:ahLst/>
              <a:cxnLst/>
              <a:rect l="l" t="t" r="r" b="b"/>
              <a:pathLst>
                <a:path w="1" h="8605"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60" name="Google Shape;2955;p49"/>
            <p:cNvSpPr/>
            <p:nvPr/>
          </p:nvSpPr>
          <p:spPr>
            <a:xfrm>
              <a:off x="-25891225" y="12544775"/>
              <a:ext cx="25" cy="215950"/>
            </a:xfrm>
            <a:custGeom>
              <a:avLst/>
              <a:gdLst/>
              <a:ahLst/>
              <a:cxnLst/>
              <a:rect l="l" t="t" r="r" b="b"/>
              <a:pathLst>
                <a:path w="1" h="8638" fill="none" extrusionOk="0">
                  <a:moveTo>
                    <a:pt x="1" y="0"/>
                  </a:moveTo>
                  <a:lnTo>
                    <a:pt x="1"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61" name="Google Shape;2956;p49"/>
            <p:cNvSpPr/>
            <p:nvPr/>
          </p:nvSpPr>
          <p:spPr>
            <a:xfrm>
              <a:off x="-25858450" y="12552325"/>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62" name="Google Shape;2957;p49"/>
            <p:cNvSpPr/>
            <p:nvPr/>
          </p:nvSpPr>
          <p:spPr>
            <a:xfrm>
              <a:off x="-25826525" y="12559900"/>
              <a:ext cx="25" cy="215950"/>
            </a:xfrm>
            <a:custGeom>
              <a:avLst/>
              <a:gdLst/>
              <a:ahLst/>
              <a:cxnLst/>
              <a:rect l="l" t="t" r="r" b="b"/>
              <a:pathLst>
                <a:path w="1" h="8638" fill="none" extrusionOk="0">
                  <a:moveTo>
                    <a:pt x="1" y="0"/>
                  </a:moveTo>
                  <a:lnTo>
                    <a:pt x="1"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63" name="Google Shape;2958;p49"/>
            <p:cNvSpPr/>
            <p:nvPr/>
          </p:nvSpPr>
          <p:spPr>
            <a:xfrm>
              <a:off x="-25801325" y="12503600"/>
              <a:ext cx="25" cy="215125"/>
            </a:xfrm>
            <a:custGeom>
              <a:avLst/>
              <a:gdLst/>
              <a:ahLst/>
              <a:cxnLst/>
              <a:rect l="l" t="t" r="r" b="b"/>
              <a:pathLst>
                <a:path w="1" h="8605"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64" name="Google Shape;2959;p49"/>
            <p:cNvSpPr/>
            <p:nvPr/>
          </p:nvSpPr>
          <p:spPr>
            <a:xfrm>
              <a:off x="-26659175" y="12304450"/>
              <a:ext cx="862925" cy="339475"/>
            </a:xfrm>
            <a:custGeom>
              <a:avLst/>
              <a:gdLst/>
              <a:ahLst/>
              <a:cxnLst/>
              <a:rect l="l" t="t" r="r" b="b"/>
              <a:pathLst>
                <a:path w="34517" h="13579" extrusionOk="0">
                  <a:moveTo>
                    <a:pt x="34516" y="236"/>
                  </a:moveTo>
                  <a:cubicBezTo>
                    <a:pt x="34516" y="572"/>
                    <a:pt x="34483" y="908"/>
                    <a:pt x="34416" y="1245"/>
                  </a:cubicBezTo>
                  <a:cubicBezTo>
                    <a:pt x="34348" y="1547"/>
                    <a:pt x="34248" y="1883"/>
                    <a:pt x="34147" y="2219"/>
                  </a:cubicBezTo>
                  <a:cubicBezTo>
                    <a:pt x="34012" y="2522"/>
                    <a:pt x="33844" y="2858"/>
                    <a:pt x="33676" y="3194"/>
                  </a:cubicBezTo>
                  <a:cubicBezTo>
                    <a:pt x="33475" y="3530"/>
                    <a:pt x="33239" y="3866"/>
                    <a:pt x="32970" y="4236"/>
                  </a:cubicBezTo>
                  <a:cubicBezTo>
                    <a:pt x="32668" y="4605"/>
                    <a:pt x="32298" y="5009"/>
                    <a:pt x="31895" y="5378"/>
                  </a:cubicBezTo>
                  <a:cubicBezTo>
                    <a:pt x="31290" y="5950"/>
                    <a:pt x="30551" y="6487"/>
                    <a:pt x="29710" y="6992"/>
                  </a:cubicBezTo>
                  <a:cubicBezTo>
                    <a:pt x="29643" y="7025"/>
                    <a:pt x="29576" y="7092"/>
                    <a:pt x="29509" y="7126"/>
                  </a:cubicBezTo>
                  <a:cubicBezTo>
                    <a:pt x="28366" y="7798"/>
                    <a:pt x="27089" y="8336"/>
                    <a:pt x="25711" y="8773"/>
                  </a:cubicBezTo>
                  <a:cubicBezTo>
                    <a:pt x="24669" y="9109"/>
                    <a:pt x="23594" y="9378"/>
                    <a:pt x="22451" y="9613"/>
                  </a:cubicBezTo>
                  <a:cubicBezTo>
                    <a:pt x="21745" y="9714"/>
                    <a:pt x="21006" y="9815"/>
                    <a:pt x="20266" y="9916"/>
                  </a:cubicBezTo>
                  <a:cubicBezTo>
                    <a:pt x="19628" y="9983"/>
                    <a:pt x="18989" y="10016"/>
                    <a:pt x="18351" y="10016"/>
                  </a:cubicBezTo>
                  <a:cubicBezTo>
                    <a:pt x="17746" y="10050"/>
                    <a:pt x="17174" y="10050"/>
                    <a:pt x="16570" y="10050"/>
                  </a:cubicBezTo>
                  <a:cubicBezTo>
                    <a:pt x="15998" y="10016"/>
                    <a:pt x="15427" y="9983"/>
                    <a:pt x="14855" y="9949"/>
                  </a:cubicBezTo>
                  <a:cubicBezTo>
                    <a:pt x="14318" y="9916"/>
                    <a:pt x="13746" y="9848"/>
                    <a:pt x="13209" y="9748"/>
                  </a:cubicBezTo>
                  <a:cubicBezTo>
                    <a:pt x="12604" y="9680"/>
                    <a:pt x="12032" y="9579"/>
                    <a:pt x="11495" y="9445"/>
                  </a:cubicBezTo>
                  <a:cubicBezTo>
                    <a:pt x="10890" y="9344"/>
                    <a:pt x="10285" y="9176"/>
                    <a:pt x="9680" y="9008"/>
                  </a:cubicBezTo>
                  <a:cubicBezTo>
                    <a:pt x="8974" y="8806"/>
                    <a:pt x="8268" y="8571"/>
                    <a:pt x="7596" y="8302"/>
                  </a:cubicBezTo>
                  <a:cubicBezTo>
                    <a:pt x="6722" y="7966"/>
                    <a:pt x="5882" y="7563"/>
                    <a:pt x="5109" y="7126"/>
                  </a:cubicBezTo>
                  <a:cubicBezTo>
                    <a:pt x="1681" y="5143"/>
                    <a:pt x="0" y="2589"/>
                    <a:pt x="0" y="1"/>
                  </a:cubicBezTo>
                  <a:lnTo>
                    <a:pt x="0" y="3530"/>
                  </a:lnTo>
                  <a:cubicBezTo>
                    <a:pt x="0" y="6084"/>
                    <a:pt x="1681" y="8672"/>
                    <a:pt x="5075" y="10621"/>
                  </a:cubicBezTo>
                  <a:cubicBezTo>
                    <a:pt x="5882" y="11092"/>
                    <a:pt x="6689" y="11495"/>
                    <a:pt x="7596" y="11831"/>
                  </a:cubicBezTo>
                  <a:cubicBezTo>
                    <a:pt x="8268" y="12100"/>
                    <a:pt x="8974" y="12335"/>
                    <a:pt x="9680" y="12537"/>
                  </a:cubicBezTo>
                  <a:cubicBezTo>
                    <a:pt x="10251" y="12705"/>
                    <a:pt x="10856" y="12840"/>
                    <a:pt x="11461" y="12974"/>
                  </a:cubicBezTo>
                  <a:cubicBezTo>
                    <a:pt x="12032" y="13108"/>
                    <a:pt x="12604" y="13176"/>
                    <a:pt x="13175" y="13276"/>
                  </a:cubicBezTo>
                  <a:cubicBezTo>
                    <a:pt x="13746" y="13344"/>
                    <a:pt x="14284" y="13411"/>
                    <a:pt x="14855" y="13478"/>
                  </a:cubicBezTo>
                  <a:cubicBezTo>
                    <a:pt x="15427" y="13512"/>
                    <a:pt x="15998" y="13545"/>
                    <a:pt x="16570" y="13545"/>
                  </a:cubicBezTo>
                  <a:cubicBezTo>
                    <a:pt x="17141" y="13579"/>
                    <a:pt x="17746" y="13579"/>
                    <a:pt x="18317" y="13545"/>
                  </a:cubicBezTo>
                  <a:cubicBezTo>
                    <a:pt x="18989" y="13512"/>
                    <a:pt x="19628" y="13478"/>
                    <a:pt x="20233" y="13411"/>
                  </a:cubicBezTo>
                  <a:cubicBezTo>
                    <a:pt x="21006" y="13344"/>
                    <a:pt x="21712" y="13243"/>
                    <a:pt x="22451" y="13108"/>
                  </a:cubicBezTo>
                  <a:cubicBezTo>
                    <a:pt x="23560" y="12907"/>
                    <a:pt x="24669" y="12638"/>
                    <a:pt x="25711" y="12302"/>
                  </a:cubicBezTo>
                  <a:cubicBezTo>
                    <a:pt x="27089" y="11865"/>
                    <a:pt x="28366" y="11294"/>
                    <a:pt x="29509" y="10621"/>
                  </a:cubicBezTo>
                  <a:cubicBezTo>
                    <a:pt x="29576" y="10588"/>
                    <a:pt x="29643" y="10554"/>
                    <a:pt x="29710" y="10521"/>
                  </a:cubicBezTo>
                  <a:cubicBezTo>
                    <a:pt x="30551" y="10016"/>
                    <a:pt x="31290" y="9445"/>
                    <a:pt x="31895" y="8874"/>
                  </a:cubicBezTo>
                  <a:cubicBezTo>
                    <a:pt x="32298" y="8504"/>
                    <a:pt x="32668" y="8134"/>
                    <a:pt x="32970" y="7731"/>
                  </a:cubicBezTo>
                  <a:cubicBezTo>
                    <a:pt x="33239" y="7395"/>
                    <a:pt x="33475" y="7059"/>
                    <a:pt x="33676" y="6689"/>
                  </a:cubicBezTo>
                  <a:cubicBezTo>
                    <a:pt x="33844" y="6387"/>
                    <a:pt x="34012" y="6051"/>
                    <a:pt x="34113" y="5714"/>
                  </a:cubicBezTo>
                  <a:cubicBezTo>
                    <a:pt x="34248" y="5412"/>
                    <a:pt x="34348" y="5076"/>
                    <a:pt x="34416" y="4740"/>
                  </a:cubicBezTo>
                  <a:cubicBezTo>
                    <a:pt x="34483" y="4437"/>
                    <a:pt x="34516" y="4101"/>
                    <a:pt x="34516" y="3765"/>
                  </a:cubicBezTo>
                  <a:cubicBezTo>
                    <a:pt x="34516" y="3698"/>
                    <a:pt x="34516" y="3664"/>
                    <a:pt x="34516" y="3597"/>
                  </a:cubicBezTo>
                  <a:lnTo>
                    <a:pt x="34516" y="102"/>
                  </a:lnTo>
                  <a:cubicBezTo>
                    <a:pt x="34516" y="135"/>
                    <a:pt x="34516" y="203"/>
                    <a:pt x="34516" y="236"/>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65" name="Google Shape;2960;p49"/>
            <p:cNvSpPr/>
            <p:nvPr/>
          </p:nvSpPr>
          <p:spPr>
            <a:xfrm>
              <a:off x="-26702025" y="12031400"/>
              <a:ext cx="948625" cy="548675"/>
            </a:xfrm>
            <a:custGeom>
              <a:avLst/>
              <a:gdLst/>
              <a:ahLst/>
              <a:cxnLst/>
              <a:rect l="l" t="t" r="r" b="b"/>
              <a:pathLst>
                <a:path w="37945" h="21947" extrusionOk="0">
                  <a:moveTo>
                    <a:pt x="31156" y="3899"/>
                  </a:moveTo>
                  <a:cubicBezTo>
                    <a:pt x="37911" y="7797"/>
                    <a:pt x="37945" y="14116"/>
                    <a:pt x="31223" y="18048"/>
                  </a:cubicBezTo>
                  <a:cubicBezTo>
                    <a:pt x="24501" y="21947"/>
                    <a:pt x="13578" y="21947"/>
                    <a:pt x="6823" y="18048"/>
                  </a:cubicBezTo>
                  <a:cubicBezTo>
                    <a:pt x="34" y="14149"/>
                    <a:pt x="0" y="7797"/>
                    <a:pt x="6722" y="3899"/>
                  </a:cubicBezTo>
                  <a:cubicBezTo>
                    <a:pt x="13444" y="0"/>
                    <a:pt x="24400" y="0"/>
                    <a:pt x="31156" y="389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66" name="Google Shape;2961;p49"/>
            <p:cNvSpPr/>
            <p:nvPr/>
          </p:nvSpPr>
          <p:spPr>
            <a:xfrm>
              <a:off x="-26642375" y="12065850"/>
              <a:ext cx="829325" cy="479775"/>
            </a:xfrm>
            <a:custGeom>
              <a:avLst/>
              <a:gdLst/>
              <a:ahLst/>
              <a:cxnLst/>
              <a:rect l="l" t="t" r="r" b="b"/>
              <a:pathLst>
                <a:path w="33173" h="19191" extrusionOk="0">
                  <a:moveTo>
                    <a:pt x="27224" y="3395"/>
                  </a:moveTo>
                  <a:cubicBezTo>
                    <a:pt x="33139" y="6823"/>
                    <a:pt x="33172" y="12368"/>
                    <a:pt x="27291" y="15763"/>
                  </a:cubicBezTo>
                  <a:cubicBezTo>
                    <a:pt x="21409" y="19191"/>
                    <a:pt x="11864" y="19191"/>
                    <a:pt x="5949" y="15763"/>
                  </a:cubicBezTo>
                  <a:cubicBezTo>
                    <a:pt x="34" y="12368"/>
                    <a:pt x="1" y="6823"/>
                    <a:pt x="5882" y="3395"/>
                  </a:cubicBezTo>
                  <a:cubicBezTo>
                    <a:pt x="11764" y="0"/>
                    <a:pt x="21308" y="0"/>
                    <a:pt x="27224" y="3395"/>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67" name="Google Shape;2962;p49"/>
            <p:cNvSpPr/>
            <p:nvPr/>
          </p:nvSpPr>
          <p:spPr>
            <a:xfrm>
              <a:off x="-26413000" y="12177600"/>
              <a:ext cx="364675" cy="227725"/>
            </a:xfrm>
            <a:custGeom>
              <a:avLst/>
              <a:gdLst/>
              <a:ahLst/>
              <a:cxnLst/>
              <a:rect l="l" t="t" r="r" b="b"/>
              <a:pathLst>
                <a:path w="14587" h="9109" extrusionOk="0">
                  <a:moveTo>
                    <a:pt x="12806" y="7192"/>
                  </a:moveTo>
                  <a:lnTo>
                    <a:pt x="14385" y="8133"/>
                  </a:lnTo>
                  <a:lnTo>
                    <a:pt x="13511" y="8638"/>
                  </a:lnTo>
                  <a:lnTo>
                    <a:pt x="11898" y="7696"/>
                  </a:lnTo>
                  <a:cubicBezTo>
                    <a:pt x="11192" y="8066"/>
                    <a:pt x="10386" y="8369"/>
                    <a:pt x="9512" y="8604"/>
                  </a:cubicBezTo>
                  <a:cubicBezTo>
                    <a:pt x="8672" y="8839"/>
                    <a:pt x="7798" y="9007"/>
                    <a:pt x="6891" y="9108"/>
                  </a:cubicBezTo>
                  <a:lnTo>
                    <a:pt x="6050" y="7596"/>
                  </a:lnTo>
                  <a:cubicBezTo>
                    <a:pt x="6218" y="7596"/>
                    <a:pt x="6454" y="7562"/>
                    <a:pt x="6756" y="7528"/>
                  </a:cubicBezTo>
                  <a:cubicBezTo>
                    <a:pt x="7059" y="7495"/>
                    <a:pt x="7428" y="7428"/>
                    <a:pt x="7798" y="7360"/>
                  </a:cubicBezTo>
                  <a:cubicBezTo>
                    <a:pt x="8168" y="7293"/>
                    <a:pt x="8605" y="7159"/>
                    <a:pt x="9008" y="7058"/>
                  </a:cubicBezTo>
                  <a:cubicBezTo>
                    <a:pt x="9445" y="6923"/>
                    <a:pt x="9848" y="6755"/>
                    <a:pt x="10251" y="6587"/>
                  </a:cubicBezTo>
                  <a:lnTo>
                    <a:pt x="7731" y="5142"/>
                  </a:lnTo>
                  <a:cubicBezTo>
                    <a:pt x="7630" y="5176"/>
                    <a:pt x="7529" y="5209"/>
                    <a:pt x="7428" y="5277"/>
                  </a:cubicBezTo>
                  <a:cubicBezTo>
                    <a:pt x="7294" y="5310"/>
                    <a:pt x="7193" y="5344"/>
                    <a:pt x="7092" y="5377"/>
                  </a:cubicBezTo>
                  <a:cubicBezTo>
                    <a:pt x="6454" y="5579"/>
                    <a:pt x="5882" y="5747"/>
                    <a:pt x="5345" y="5848"/>
                  </a:cubicBezTo>
                  <a:cubicBezTo>
                    <a:pt x="4840" y="5982"/>
                    <a:pt x="4370" y="6050"/>
                    <a:pt x="3899" y="6050"/>
                  </a:cubicBezTo>
                  <a:cubicBezTo>
                    <a:pt x="3429" y="6050"/>
                    <a:pt x="2992" y="6016"/>
                    <a:pt x="2589" y="5915"/>
                  </a:cubicBezTo>
                  <a:cubicBezTo>
                    <a:pt x="2185" y="5848"/>
                    <a:pt x="1782" y="5680"/>
                    <a:pt x="1412" y="5445"/>
                  </a:cubicBezTo>
                  <a:cubicBezTo>
                    <a:pt x="908" y="5176"/>
                    <a:pt x="572" y="4873"/>
                    <a:pt x="337" y="4537"/>
                  </a:cubicBezTo>
                  <a:cubicBezTo>
                    <a:pt x="135" y="4235"/>
                    <a:pt x="34" y="3899"/>
                    <a:pt x="68" y="3563"/>
                  </a:cubicBezTo>
                  <a:cubicBezTo>
                    <a:pt x="68" y="3260"/>
                    <a:pt x="202" y="2924"/>
                    <a:pt x="471" y="2588"/>
                  </a:cubicBezTo>
                  <a:cubicBezTo>
                    <a:pt x="707" y="2285"/>
                    <a:pt x="1043" y="1983"/>
                    <a:pt x="1480" y="1681"/>
                  </a:cubicBezTo>
                  <a:lnTo>
                    <a:pt x="1" y="840"/>
                  </a:lnTo>
                  <a:lnTo>
                    <a:pt x="875" y="336"/>
                  </a:lnTo>
                  <a:lnTo>
                    <a:pt x="2320" y="1176"/>
                  </a:lnTo>
                  <a:cubicBezTo>
                    <a:pt x="3026" y="840"/>
                    <a:pt x="3731" y="571"/>
                    <a:pt x="4471" y="370"/>
                  </a:cubicBezTo>
                  <a:cubicBezTo>
                    <a:pt x="5210" y="202"/>
                    <a:pt x="5916" y="67"/>
                    <a:pt x="6622" y="0"/>
                  </a:cubicBezTo>
                  <a:lnTo>
                    <a:pt x="7361" y="1445"/>
                  </a:lnTo>
                  <a:cubicBezTo>
                    <a:pt x="7227" y="1445"/>
                    <a:pt x="7059" y="1445"/>
                    <a:pt x="6790" y="1479"/>
                  </a:cubicBezTo>
                  <a:cubicBezTo>
                    <a:pt x="6521" y="1512"/>
                    <a:pt x="6252" y="1580"/>
                    <a:pt x="5916" y="1647"/>
                  </a:cubicBezTo>
                  <a:cubicBezTo>
                    <a:pt x="5613" y="1714"/>
                    <a:pt x="5277" y="1781"/>
                    <a:pt x="4941" y="1882"/>
                  </a:cubicBezTo>
                  <a:cubicBezTo>
                    <a:pt x="4605" y="1983"/>
                    <a:pt x="4269" y="2117"/>
                    <a:pt x="3967" y="2252"/>
                  </a:cubicBezTo>
                  <a:lnTo>
                    <a:pt x="6487" y="3731"/>
                  </a:lnTo>
                  <a:lnTo>
                    <a:pt x="6924" y="3563"/>
                  </a:lnTo>
                  <a:cubicBezTo>
                    <a:pt x="7563" y="3361"/>
                    <a:pt x="8168" y="3159"/>
                    <a:pt x="8739" y="3025"/>
                  </a:cubicBezTo>
                  <a:cubicBezTo>
                    <a:pt x="9277" y="2857"/>
                    <a:pt x="9814" y="2790"/>
                    <a:pt x="10352" y="2756"/>
                  </a:cubicBezTo>
                  <a:cubicBezTo>
                    <a:pt x="10856" y="2722"/>
                    <a:pt x="11360" y="2756"/>
                    <a:pt x="11831" y="2857"/>
                  </a:cubicBezTo>
                  <a:cubicBezTo>
                    <a:pt x="12302" y="2958"/>
                    <a:pt x="12772" y="3126"/>
                    <a:pt x="13276" y="3395"/>
                  </a:cubicBezTo>
                  <a:cubicBezTo>
                    <a:pt x="13780" y="3697"/>
                    <a:pt x="14150" y="4033"/>
                    <a:pt x="14352" y="4369"/>
                  </a:cubicBezTo>
                  <a:cubicBezTo>
                    <a:pt x="14520" y="4672"/>
                    <a:pt x="14587" y="5008"/>
                    <a:pt x="14520" y="5344"/>
                  </a:cubicBezTo>
                  <a:cubicBezTo>
                    <a:pt x="14419" y="5680"/>
                    <a:pt x="14217" y="5982"/>
                    <a:pt x="13915" y="6319"/>
                  </a:cubicBezTo>
                  <a:cubicBezTo>
                    <a:pt x="13612" y="6621"/>
                    <a:pt x="13243" y="6923"/>
                    <a:pt x="12806" y="7192"/>
                  </a:cubicBezTo>
                  <a:close/>
                  <a:moveTo>
                    <a:pt x="8537" y="4907"/>
                  </a:moveTo>
                  <a:lnTo>
                    <a:pt x="10856" y="6251"/>
                  </a:lnTo>
                  <a:cubicBezTo>
                    <a:pt x="11865" y="5646"/>
                    <a:pt x="11999" y="5142"/>
                    <a:pt x="11327" y="4773"/>
                  </a:cubicBezTo>
                  <a:cubicBezTo>
                    <a:pt x="10991" y="4571"/>
                    <a:pt x="10621" y="4504"/>
                    <a:pt x="10151" y="4537"/>
                  </a:cubicBezTo>
                  <a:cubicBezTo>
                    <a:pt x="9714" y="4604"/>
                    <a:pt x="9176" y="4705"/>
                    <a:pt x="8537" y="4907"/>
                  </a:cubicBezTo>
                  <a:close/>
                  <a:moveTo>
                    <a:pt x="4202" y="4302"/>
                  </a:moveTo>
                  <a:cubicBezTo>
                    <a:pt x="4605" y="4268"/>
                    <a:pt x="5109" y="4168"/>
                    <a:pt x="5714" y="3966"/>
                  </a:cubicBezTo>
                  <a:lnTo>
                    <a:pt x="3362" y="2622"/>
                  </a:lnTo>
                  <a:cubicBezTo>
                    <a:pt x="2488" y="3159"/>
                    <a:pt x="2421" y="3663"/>
                    <a:pt x="3126" y="4067"/>
                  </a:cubicBezTo>
                  <a:cubicBezTo>
                    <a:pt x="3462" y="4268"/>
                    <a:pt x="3799" y="4336"/>
                    <a:pt x="4202" y="4302"/>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68" name="Google Shape;2963;p49"/>
            <p:cNvSpPr/>
            <p:nvPr/>
          </p:nvSpPr>
          <p:spPr>
            <a:xfrm>
              <a:off x="-26641525" y="123137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69" name="Google Shape;2964;p49"/>
            <p:cNvSpPr/>
            <p:nvPr/>
          </p:nvSpPr>
          <p:spPr>
            <a:xfrm>
              <a:off x="-26617175" y="12356550"/>
              <a:ext cx="25" cy="215125"/>
            </a:xfrm>
            <a:custGeom>
              <a:avLst/>
              <a:gdLst/>
              <a:ahLst/>
              <a:cxnLst/>
              <a:rect l="l" t="t" r="r" b="b"/>
              <a:pathLst>
                <a:path w="1" h="8605" fill="none" extrusionOk="0">
                  <a:moveTo>
                    <a:pt x="1" y="1"/>
                  </a:moveTo>
                  <a:lnTo>
                    <a:pt x="1"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70" name="Google Shape;2965;p49"/>
            <p:cNvSpPr/>
            <p:nvPr/>
          </p:nvSpPr>
          <p:spPr>
            <a:xfrm>
              <a:off x="-26592800" y="123985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71" name="Google Shape;2966;p49"/>
            <p:cNvSpPr/>
            <p:nvPr/>
          </p:nvSpPr>
          <p:spPr>
            <a:xfrm>
              <a:off x="-26569275" y="124414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72" name="Google Shape;2967;p49"/>
            <p:cNvSpPr/>
            <p:nvPr/>
          </p:nvSpPr>
          <p:spPr>
            <a:xfrm>
              <a:off x="-26544900" y="12436375"/>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73" name="Google Shape;2968;p49"/>
            <p:cNvSpPr/>
            <p:nvPr/>
          </p:nvSpPr>
          <p:spPr>
            <a:xfrm>
              <a:off x="-26511300" y="12448150"/>
              <a:ext cx="25" cy="215100"/>
            </a:xfrm>
            <a:custGeom>
              <a:avLst/>
              <a:gdLst/>
              <a:ahLst/>
              <a:cxnLst/>
              <a:rect l="l" t="t" r="r" b="b"/>
              <a:pathLst>
                <a:path w="1" h="8604"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74" name="Google Shape;2969;p49"/>
            <p:cNvSpPr/>
            <p:nvPr/>
          </p:nvSpPr>
          <p:spPr>
            <a:xfrm>
              <a:off x="-26478525" y="124590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75" name="Google Shape;2970;p49"/>
            <p:cNvSpPr/>
            <p:nvPr/>
          </p:nvSpPr>
          <p:spPr>
            <a:xfrm>
              <a:off x="-26444925" y="12470825"/>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76" name="Google Shape;2971;p49"/>
            <p:cNvSpPr/>
            <p:nvPr/>
          </p:nvSpPr>
          <p:spPr>
            <a:xfrm>
              <a:off x="-26411300" y="12482600"/>
              <a:ext cx="0" cy="215100"/>
            </a:xfrm>
            <a:custGeom>
              <a:avLst/>
              <a:gdLst/>
              <a:ahLst/>
              <a:cxnLst/>
              <a:rect l="l" t="t" r="r" b="b"/>
              <a:pathLst>
                <a:path h="8604"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77" name="Google Shape;2972;p49"/>
            <p:cNvSpPr/>
            <p:nvPr/>
          </p:nvSpPr>
          <p:spPr>
            <a:xfrm>
              <a:off x="-26378550" y="124935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78" name="Google Shape;2973;p49"/>
            <p:cNvSpPr/>
            <p:nvPr/>
          </p:nvSpPr>
          <p:spPr>
            <a:xfrm>
              <a:off x="-26344925" y="12505275"/>
              <a:ext cx="0" cy="215950"/>
            </a:xfrm>
            <a:custGeom>
              <a:avLst/>
              <a:gdLst/>
              <a:ahLst/>
              <a:cxnLst/>
              <a:rect l="l" t="t" r="r" b="b"/>
              <a:pathLst>
                <a:path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79" name="Google Shape;2974;p49"/>
            <p:cNvSpPr/>
            <p:nvPr/>
          </p:nvSpPr>
          <p:spPr>
            <a:xfrm>
              <a:off x="-26312175" y="12517025"/>
              <a:ext cx="25" cy="215125"/>
            </a:xfrm>
            <a:custGeom>
              <a:avLst/>
              <a:gdLst/>
              <a:ahLst/>
              <a:cxnLst/>
              <a:rect l="l" t="t" r="r" b="b"/>
              <a:pathLst>
                <a:path w="1" h="8605" fill="none" extrusionOk="0">
                  <a:moveTo>
                    <a:pt x="1" y="1"/>
                  </a:moveTo>
                  <a:lnTo>
                    <a:pt x="1"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80" name="Google Shape;2975;p49"/>
            <p:cNvSpPr/>
            <p:nvPr/>
          </p:nvSpPr>
          <p:spPr>
            <a:xfrm>
              <a:off x="-26278550" y="125279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81" name="Google Shape;2976;p49"/>
            <p:cNvSpPr/>
            <p:nvPr/>
          </p:nvSpPr>
          <p:spPr>
            <a:xfrm>
              <a:off x="-26244950" y="125397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82" name="Google Shape;2977;p49"/>
            <p:cNvSpPr/>
            <p:nvPr/>
          </p:nvSpPr>
          <p:spPr>
            <a:xfrm>
              <a:off x="-26212175" y="125195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83" name="Google Shape;2978;p49"/>
            <p:cNvSpPr/>
            <p:nvPr/>
          </p:nvSpPr>
          <p:spPr>
            <a:xfrm>
              <a:off x="-26180250" y="12517025"/>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84" name="Google Shape;2979;p49"/>
            <p:cNvSpPr/>
            <p:nvPr/>
          </p:nvSpPr>
          <p:spPr>
            <a:xfrm>
              <a:off x="-26147475" y="12513675"/>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85" name="Google Shape;2980;p49"/>
            <p:cNvSpPr/>
            <p:nvPr/>
          </p:nvSpPr>
          <p:spPr>
            <a:xfrm>
              <a:off x="-26115550" y="125103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86" name="Google Shape;2981;p49"/>
            <p:cNvSpPr/>
            <p:nvPr/>
          </p:nvSpPr>
          <p:spPr>
            <a:xfrm>
              <a:off x="-26082800" y="125069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87" name="Google Shape;2982;p49"/>
            <p:cNvSpPr/>
            <p:nvPr/>
          </p:nvSpPr>
          <p:spPr>
            <a:xfrm>
              <a:off x="-26050850" y="125036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88" name="Google Shape;2983;p49"/>
            <p:cNvSpPr/>
            <p:nvPr/>
          </p:nvSpPr>
          <p:spPr>
            <a:xfrm>
              <a:off x="-26018100" y="12501075"/>
              <a:ext cx="25" cy="215125"/>
            </a:xfrm>
            <a:custGeom>
              <a:avLst/>
              <a:gdLst/>
              <a:ahLst/>
              <a:cxnLst/>
              <a:rect l="l" t="t" r="r" b="b"/>
              <a:pathLst>
                <a:path w="1" h="8605"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89" name="Google Shape;2984;p49"/>
            <p:cNvSpPr/>
            <p:nvPr/>
          </p:nvSpPr>
          <p:spPr>
            <a:xfrm>
              <a:off x="-25986175" y="124977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90" name="Google Shape;2985;p49"/>
            <p:cNvSpPr/>
            <p:nvPr/>
          </p:nvSpPr>
          <p:spPr>
            <a:xfrm>
              <a:off x="-25954225" y="124422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91" name="Google Shape;2986;p49"/>
            <p:cNvSpPr/>
            <p:nvPr/>
          </p:nvSpPr>
          <p:spPr>
            <a:xfrm>
              <a:off x="-25923150" y="12387650"/>
              <a:ext cx="25" cy="215125"/>
            </a:xfrm>
            <a:custGeom>
              <a:avLst/>
              <a:gdLst/>
              <a:ahLst/>
              <a:cxnLst/>
              <a:rect l="l" t="t" r="r" b="b"/>
              <a:pathLst>
                <a:path w="1" h="8605"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92" name="Google Shape;2987;p49"/>
            <p:cNvSpPr/>
            <p:nvPr/>
          </p:nvSpPr>
          <p:spPr>
            <a:xfrm>
              <a:off x="-25891225" y="123582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93" name="Google Shape;2988;p49"/>
            <p:cNvSpPr/>
            <p:nvPr/>
          </p:nvSpPr>
          <p:spPr>
            <a:xfrm>
              <a:off x="-25858450" y="123658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94" name="Google Shape;2989;p49"/>
            <p:cNvSpPr/>
            <p:nvPr/>
          </p:nvSpPr>
          <p:spPr>
            <a:xfrm>
              <a:off x="-25826525" y="123733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95" name="Google Shape;2990;p49"/>
            <p:cNvSpPr/>
            <p:nvPr/>
          </p:nvSpPr>
          <p:spPr>
            <a:xfrm>
              <a:off x="-25801325" y="12317075"/>
              <a:ext cx="25" cy="215100"/>
            </a:xfrm>
            <a:custGeom>
              <a:avLst/>
              <a:gdLst/>
              <a:ahLst/>
              <a:cxnLst/>
              <a:rect l="l" t="t" r="r" b="b"/>
              <a:pathLst>
                <a:path w="1" h="8604"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96" name="Google Shape;2991;p49"/>
            <p:cNvSpPr/>
            <p:nvPr/>
          </p:nvSpPr>
          <p:spPr>
            <a:xfrm>
              <a:off x="-26659175" y="12100300"/>
              <a:ext cx="862925" cy="339450"/>
            </a:xfrm>
            <a:custGeom>
              <a:avLst/>
              <a:gdLst/>
              <a:ahLst/>
              <a:cxnLst/>
              <a:rect l="l" t="t" r="r" b="b"/>
              <a:pathLst>
                <a:path w="34517" h="13578" extrusionOk="0">
                  <a:moveTo>
                    <a:pt x="34516" y="235"/>
                  </a:moveTo>
                  <a:cubicBezTo>
                    <a:pt x="34516" y="571"/>
                    <a:pt x="34483" y="908"/>
                    <a:pt x="34416" y="1244"/>
                  </a:cubicBezTo>
                  <a:cubicBezTo>
                    <a:pt x="34348" y="1580"/>
                    <a:pt x="34248" y="1882"/>
                    <a:pt x="34147" y="2218"/>
                  </a:cubicBezTo>
                  <a:cubicBezTo>
                    <a:pt x="34012" y="2554"/>
                    <a:pt x="33844" y="2857"/>
                    <a:pt x="33676" y="3193"/>
                  </a:cubicBezTo>
                  <a:cubicBezTo>
                    <a:pt x="33475" y="3529"/>
                    <a:pt x="33239" y="3899"/>
                    <a:pt x="32970" y="4235"/>
                  </a:cubicBezTo>
                  <a:cubicBezTo>
                    <a:pt x="32668" y="4604"/>
                    <a:pt x="32298" y="5008"/>
                    <a:pt x="31895" y="5377"/>
                  </a:cubicBezTo>
                  <a:cubicBezTo>
                    <a:pt x="31290" y="5949"/>
                    <a:pt x="30551" y="6487"/>
                    <a:pt x="29710" y="6991"/>
                  </a:cubicBezTo>
                  <a:cubicBezTo>
                    <a:pt x="29643" y="7024"/>
                    <a:pt x="29576" y="7092"/>
                    <a:pt x="29509" y="7125"/>
                  </a:cubicBezTo>
                  <a:cubicBezTo>
                    <a:pt x="28366" y="7797"/>
                    <a:pt x="27089" y="8335"/>
                    <a:pt x="25711" y="8772"/>
                  </a:cubicBezTo>
                  <a:cubicBezTo>
                    <a:pt x="24669" y="9142"/>
                    <a:pt x="23594" y="9411"/>
                    <a:pt x="22451" y="9612"/>
                  </a:cubicBezTo>
                  <a:cubicBezTo>
                    <a:pt x="21745" y="9747"/>
                    <a:pt x="21006" y="9847"/>
                    <a:pt x="20266" y="9915"/>
                  </a:cubicBezTo>
                  <a:cubicBezTo>
                    <a:pt x="19628" y="9982"/>
                    <a:pt x="18989" y="10015"/>
                    <a:pt x="18351" y="10049"/>
                  </a:cubicBezTo>
                  <a:cubicBezTo>
                    <a:pt x="17746" y="10049"/>
                    <a:pt x="17174" y="10049"/>
                    <a:pt x="16570" y="10049"/>
                  </a:cubicBezTo>
                  <a:cubicBezTo>
                    <a:pt x="15998" y="10015"/>
                    <a:pt x="15427" y="9982"/>
                    <a:pt x="14855" y="9948"/>
                  </a:cubicBezTo>
                  <a:cubicBezTo>
                    <a:pt x="14318" y="9915"/>
                    <a:pt x="13746" y="9847"/>
                    <a:pt x="13209" y="9747"/>
                  </a:cubicBezTo>
                  <a:cubicBezTo>
                    <a:pt x="12604" y="9679"/>
                    <a:pt x="12032" y="9579"/>
                    <a:pt x="11495" y="9478"/>
                  </a:cubicBezTo>
                  <a:cubicBezTo>
                    <a:pt x="10890" y="9343"/>
                    <a:pt x="10285" y="9175"/>
                    <a:pt x="9680" y="9007"/>
                  </a:cubicBezTo>
                  <a:cubicBezTo>
                    <a:pt x="8974" y="8806"/>
                    <a:pt x="8268" y="8570"/>
                    <a:pt x="7596" y="8301"/>
                  </a:cubicBezTo>
                  <a:cubicBezTo>
                    <a:pt x="6722" y="7965"/>
                    <a:pt x="5882" y="7562"/>
                    <a:pt x="5109" y="7125"/>
                  </a:cubicBezTo>
                  <a:cubicBezTo>
                    <a:pt x="1681" y="5142"/>
                    <a:pt x="0" y="2588"/>
                    <a:pt x="0" y="0"/>
                  </a:cubicBezTo>
                  <a:lnTo>
                    <a:pt x="0" y="3529"/>
                  </a:lnTo>
                  <a:cubicBezTo>
                    <a:pt x="0" y="6083"/>
                    <a:pt x="1681" y="8671"/>
                    <a:pt x="5075" y="10654"/>
                  </a:cubicBezTo>
                  <a:cubicBezTo>
                    <a:pt x="5882" y="11091"/>
                    <a:pt x="6689" y="11494"/>
                    <a:pt x="7596" y="11830"/>
                  </a:cubicBezTo>
                  <a:cubicBezTo>
                    <a:pt x="8268" y="12099"/>
                    <a:pt x="8974" y="12334"/>
                    <a:pt x="9680" y="12536"/>
                  </a:cubicBezTo>
                  <a:cubicBezTo>
                    <a:pt x="10251" y="12704"/>
                    <a:pt x="10856" y="12839"/>
                    <a:pt x="11461" y="12973"/>
                  </a:cubicBezTo>
                  <a:cubicBezTo>
                    <a:pt x="12032" y="13107"/>
                    <a:pt x="12604" y="13208"/>
                    <a:pt x="13175" y="13276"/>
                  </a:cubicBezTo>
                  <a:cubicBezTo>
                    <a:pt x="13746" y="13343"/>
                    <a:pt x="14284" y="13410"/>
                    <a:pt x="14855" y="13477"/>
                  </a:cubicBezTo>
                  <a:cubicBezTo>
                    <a:pt x="15427" y="13511"/>
                    <a:pt x="15998" y="13544"/>
                    <a:pt x="16570" y="13544"/>
                  </a:cubicBezTo>
                  <a:cubicBezTo>
                    <a:pt x="17141" y="13578"/>
                    <a:pt x="17746" y="13578"/>
                    <a:pt x="18317" y="13544"/>
                  </a:cubicBezTo>
                  <a:cubicBezTo>
                    <a:pt x="18989" y="13544"/>
                    <a:pt x="19628" y="13477"/>
                    <a:pt x="20233" y="13410"/>
                  </a:cubicBezTo>
                  <a:cubicBezTo>
                    <a:pt x="21006" y="13343"/>
                    <a:pt x="21712" y="13242"/>
                    <a:pt x="22451" y="13107"/>
                  </a:cubicBezTo>
                  <a:cubicBezTo>
                    <a:pt x="23560" y="12906"/>
                    <a:pt x="24669" y="12637"/>
                    <a:pt x="25711" y="12301"/>
                  </a:cubicBezTo>
                  <a:cubicBezTo>
                    <a:pt x="27089" y="11864"/>
                    <a:pt x="28366" y="11293"/>
                    <a:pt x="29509" y="10654"/>
                  </a:cubicBezTo>
                  <a:cubicBezTo>
                    <a:pt x="29576" y="10587"/>
                    <a:pt x="29643" y="10553"/>
                    <a:pt x="29710" y="10520"/>
                  </a:cubicBezTo>
                  <a:cubicBezTo>
                    <a:pt x="30551" y="10015"/>
                    <a:pt x="31290" y="9478"/>
                    <a:pt x="31895" y="8906"/>
                  </a:cubicBezTo>
                  <a:cubicBezTo>
                    <a:pt x="32298" y="8503"/>
                    <a:pt x="32668" y="8133"/>
                    <a:pt x="32970" y="7730"/>
                  </a:cubicBezTo>
                  <a:cubicBezTo>
                    <a:pt x="33239" y="7394"/>
                    <a:pt x="33475" y="7058"/>
                    <a:pt x="33676" y="6722"/>
                  </a:cubicBezTo>
                  <a:cubicBezTo>
                    <a:pt x="33844" y="6386"/>
                    <a:pt x="34012" y="6050"/>
                    <a:pt x="34113" y="5714"/>
                  </a:cubicBezTo>
                  <a:cubicBezTo>
                    <a:pt x="34248" y="5411"/>
                    <a:pt x="34348" y="5075"/>
                    <a:pt x="34416" y="4739"/>
                  </a:cubicBezTo>
                  <a:cubicBezTo>
                    <a:pt x="34483" y="4436"/>
                    <a:pt x="34516" y="4100"/>
                    <a:pt x="34516" y="3764"/>
                  </a:cubicBezTo>
                  <a:cubicBezTo>
                    <a:pt x="34516" y="3731"/>
                    <a:pt x="34516" y="3663"/>
                    <a:pt x="34516" y="3630"/>
                  </a:cubicBezTo>
                  <a:lnTo>
                    <a:pt x="34516" y="101"/>
                  </a:lnTo>
                  <a:cubicBezTo>
                    <a:pt x="34516" y="135"/>
                    <a:pt x="34516" y="202"/>
                    <a:pt x="34516" y="235"/>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97" name="Google Shape;2992;p49"/>
            <p:cNvSpPr/>
            <p:nvPr/>
          </p:nvSpPr>
          <p:spPr>
            <a:xfrm>
              <a:off x="-26702025" y="11827225"/>
              <a:ext cx="948625" cy="548675"/>
            </a:xfrm>
            <a:custGeom>
              <a:avLst/>
              <a:gdLst/>
              <a:ahLst/>
              <a:cxnLst/>
              <a:rect l="l" t="t" r="r" b="b"/>
              <a:pathLst>
                <a:path w="37945" h="21947" extrusionOk="0">
                  <a:moveTo>
                    <a:pt x="31156" y="3899"/>
                  </a:moveTo>
                  <a:cubicBezTo>
                    <a:pt x="37911" y="7797"/>
                    <a:pt x="37945" y="14150"/>
                    <a:pt x="31223" y="18048"/>
                  </a:cubicBezTo>
                  <a:cubicBezTo>
                    <a:pt x="24501" y="21947"/>
                    <a:pt x="13578" y="21947"/>
                    <a:pt x="6823" y="18048"/>
                  </a:cubicBezTo>
                  <a:cubicBezTo>
                    <a:pt x="34" y="14150"/>
                    <a:pt x="0" y="7797"/>
                    <a:pt x="6722" y="3899"/>
                  </a:cubicBezTo>
                  <a:cubicBezTo>
                    <a:pt x="13444" y="0"/>
                    <a:pt x="24400" y="0"/>
                    <a:pt x="31156" y="389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98" name="Google Shape;2993;p49"/>
            <p:cNvSpPr/>
            <p:nvPr/>
          </p:nvSpPr>
          <p:spPr>
            <a:xfrm>
              <a:off x="-26642375" y="11861675"/>
              <a:ext cx="829325" cy="479775"/>
            </a:xfrm>
            <a:custGeom>
              <a:avLst/>
              <a:gdLst/>
              <a:ahLst/>
              <a:cxnLst/>
              <a:rect l="l" t="t" r="r" b="b"/>
              <a:pathLst>
                <a:path w="33173" h="19191" extrusionOk="0">
                  <a:moveTo>
                    <a:pt x="27224" y="3395"/>
                  </a:moveTo>
                  <a:cubicBezTo>
                    <a:pt x="33139" y="6823"/>
                    <a:pt x="33172" y="12368"/>
                    <a:pt x="27291" y="15763"/>
                  </a:cubicBezTo>
                  <a:cubicBezTo>
                    <a:pt x="21409" y="19191"/>
                    <a:pt x="11864" y="19191"/>
                    <a:pt x="5949" y="15796"/>
                  </a:cubicBezTo>
                  <a:cubicBezTo>
                    <a:pt x="34" y="12368"/>
                    <a:pt x="1" y="6823"/>
                    <a:pt x="5882" y="3395"/>
                  </a:cubicBezTo>
                  <a:cubicBezTo>
                    <a:pt x="11764" y="0"/>
                    <a:pt x="21308" y="0"/>
                    <a:pt x="27224" y="3395"/>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99" name="Google Shape;2994;p49"/>
            <p:cNvSpPr/>
            <p:nvPr/>
          </p:nvSpPr>
          <p:spPr>
            <a:xfrm>
              <a:off x="-26413000" y="11973425"/>
              <a:ext cx="364675" cy="227725"/>
            </a:xfrm>
            <a:custGeom>
              <a:avLst/>
              <a:gdLst/>
              <a:ahLst/>
              <a:cxnLst/>
              <a:rect l="l" t="t" r="r" b="b"/>
              <a:pathLst>
                <a:path w="14587" h="9109" extrusionOk="0">
                  <a:moveTo>
                    <a:pt x="12806" y="7226"/>
                  </a:moveTo>
                  <a:lnTo>
                    <a:pt x="14385" y="8133"/>
                  </a:lnTo>
                  <a:lnTo>
                    <a:pt x="13511" y="8638"/>
                  </a:lnTo>
                  <a:lnTo>
                    <a:pt x="11898" y="7697"/>
                  </a:lnTo>
                  <a:cubicBezTo>
                    <a:pt x="11192" y="8066"/>
                    <a:pt x="10386" y="8369"/>
                    <a:pt x="9512" y="8604"/>
                  </a:cubicBezTo>
                  <a:cubicBezTo>
                    <a:pt x="8672" y="8839"/>
                    <a:pt x="7798" y="9007"/>
                    <a:pt x="6891" y="9108"/>
                  </a:cubicBezTo>
                  <a:lnTo>
                    <a:pt x="6050" y="7596"/>
                  </a:lnTo>
                  <a:cubicBezTo>
                    <a:pt x="6218" y="7596"/>
                    <a:pt x="6454" y="7596"/>
                    <a:pt x="6756" y="7529"/>
                  </a:cubicBezTo>
                  <a:cubicBezTo>
                    <a:pt x="7059" y="7495"/>
                    <a:pt x="7428" y="7461"/>
                    <a:pt x="7798" y="7360"/>
                  </a:cubicBezTo>
                  <a:cubicBezTo>
                    <a:pt x="8168" y="7293"/>
                    <a:pt x="8605" y="7192"/>
                    <a:pt x="9008" y="7058"/>
                  </a:cubicBezTo>
                  <a:cubicBezTo>
                    <a:pt x="9445" y="6924"/>
                    <a:pt x="9848" y="6789"/>
                    <a:pt x="10251" y="6587"/>
                  </a:cubicBezTo>
                  <a:lnTo>
                    <a:pt x="7731" y="5142"/>
                  </a:lnTo>
                  <a:cubicBezTo>
                    <a:pt x="7630" y="5176"/>
                    <a:pt x="7529" y="5243"/>
                    <a:pt x="7428" y="5277"/>
                  </a:cubicBezTo>
                  <a:cubicBezTo>
                    <a:pt x="7294" y="5310"/>
                    <a:pt x="7193" y="5344"/>
                    <a:pt x="7092" y="5378"/>
                  </a:cubicBezTo>
                  <a:cubicBezTo>
                    <a:pt x="6454" y="5579"/>
                    <a:pt x="5882" y="5747"/>
                    <a:pt x="5345" y="5848"/>
                  </a:cubicBezTo>
                  <a:cubicBezTo>
                    <a:pt x="4840" y="5983"/>
                    <a:pt x="4370" y="6050"/>
                    <a:pt x="3899" y="6050"/>
                  </a:cubicBezTo>
                  <a:cubicBezTo>
                    <a:pt x="3429" y="6083"/>
                    <a:pt x="2992" y="6016"/>
                    <a:pt x="2589" y="5949"/>
                  </a:cubicBezTo>
                  <a:cubicBezTo>
                    <a:pt x="2185" y="5848"/>
                    <a:pt x="1782" y="5680"/>
                    <a:pt x="1412" y="5445"/>
                  </a:cubicBezTo>
                  <a:cubicBezTo>
                    <a:pt x="908" y="5176"/>
                    <a:pt x="572" y="4873"/>
                    <a:pt x="337" y="4571"/>
                  </a:cubicBezTo>
                  <a:cubicBezTo>
                    <a:pt x="135" y="4235"/>
                    <a:pt x="34" y="3899"/>
                    <a:pt x="68" y="3596"/>
                  </a:cubicBezTo>
                  <a:cubicBezTo>
                    <a:pt x="68" y="3260"/>
                    <a:pt x="202" y="2924"/>
                    <a:pt x="471" y="2622"/>
                  </a:cubicBezTo>
                  <a:cubicBezTo>
                    <a:pt x="707" y="2286"/>
                    <a:pt x="1043" y="1983"/>
                    <a:pt x="1480" y="1681"/>
                  </a:cubicBezTo>
                  <a:lnTo>
                    <a:pt x="1" y="840"/>
                  </a:lnTo>
                  <a:lnTo>
                    <a:pt x="875" y="336"/>
                  </a:lnTo>
                  <a:lnTo>
                    <a:pt x="2320" y="1176"/>
                  </a:lnTo>
                  <a:cubicBezTo>
                    <a:pt x="3026" y="840"/>
                    <a:pt x="3731" y="572"/>
                    <a:pt x="4471" y="370"/>
                  </a:cubicBezTo>
                  <a:cubicBezTo>
                    <a:pt x="5210" y="202"/>
                    <a:pt x="5916" y="67"/>
                    <a:pt x="6622" y="0"/>
                  </a:cubicBezTo>
                  <a:lnTo>
                    <a:pt x="7361" y="1445"/>
                  </a:lnTo>
                  <a:cubicBezTo>
                    <a:pt x="7227" y="1445"/>
                    <a:pt x="7059" y="1445"/>
                    <a:pt x="6790" y="1479"/>
                  </a:cubicBezTo>
                  <a:cubicBezTo>
                    <a:pt x="6521" y="1513"/>
                    <a:pt x="6252" y="1580"/>
                    <a:pt x="5916" y="1647"/>
                  </a:cubicBezTo>
                  <a:cubicBezTo>
                    <a:pt x="5613" y="1714"/>
                    <a:pt x="5277" y="1815"/>
                    <a:pt x="4941" y="1916"/>
                  </a:cubicBezTo>
                  <a:cubicBezTo>
                    <a:pt x="4605" y="2017"/>
                    <a:pt x="4269" y="2118"/>
                    <a:pt x="3967" y="2286"/>
                  </a:cubicBezTo>
                  <a:lnTo>
                    <a:pt x="6487" y="3731"/>
                  </a:lnTo>
                  <a:lnTo>
                    <a:pt x="6924" y="3563"/>
                  </a:lnTo>
                  <a:cubicBezTo>
                    <a:pt x="7563" y="3361"/>
                    <a:pt x="8168" y="3159"/>
                    <a:pt x="8739" y="3025"/>
                  </a:cubicBezTo>
                  <a:cubicBezTo>
                    <a:pt x="9277" y="2891"/>
                    <a:pt x="9814" y="2790"/>
                    <a:pt x="10352" y="2756"/>
                  </a:cubicBezTo>
                  <a:cubicBezTo>
                    <a:pt x="10856" y="2722"/>
                    <a:pt x="11360" y="2756"/>
                    <a:pt x="11831" y="2857"/>
                  </a:cubicBezTo>
                  <a:cubicBezTo>
                    <a:pt x="12302" y="2958"/>
                    <a:pt x="12772" y="3126"/>
                    <a:pt x="13276" y="3428"/>
                  </a:cubicBezTo>
                  <a:cubicBezTo>
                    <a:pt x="13780" y="3731"/>
                    <a:pt x="14150" y="4033"/>
                    <a:pt x="14352" y="4369"/>
                  </a:cubicBezTo>
                  <a:cubicBezTo>
                    <a:pt x="14520" y="4705"/>
                    <a:pt x="14587" y="5008"/>
                    <a:pt x="14520" y="5344"/>
                  </a:cubicBezTo>
                  <a:cubicBezTo>
                    <a:pt x="14419" y="5680"/>
                    <a:pt x="14217" y="5983"/>
                    <a:pt x="13915" y="6319"/>
                  </a:cubicBezTo>
                  <a:cubicBezTo>
                    <a:pt x="13612" y="6621"/>
                    <a:pt x="13243" y="6924"/>
                    <a:pt x="12806" y="7226"/>
                  </a:cubicBezTo>
                  <a:close/>
                  <a:moveTo>
                    <a:pt x="8537" y="4907"/>
                  </a:moveTo>
                  <a:lnTo>
                    <a:pt x="10856" y="6251"/>
                  </a:lnTo>
                  <a:cubicBezTo>
                    <a:pt x="11865" y="5646"/>
                    <a:pt x="11999" y="5142"/>
                    <a:pt x="11327" y="4773"/>
                  </a:cubicBezTo>
                  <a:cubicBezTo>
                    <a:pt x="10991" y="4571"/>
                    <a:pt x="10621" y="4504"/>
                    <a:pt x="10151" y="4537"/>
                  </a:cubicBezTo>
                  <a:cubicBezTo>
                    <a:pt x="9714" y="4605"/>
                    <a:pt x="9176" y="4705"/>
                    <a:pt x="8537" y="4907"/>
                  </a:cubicBezTo>
                  <a:close/>
                  <a:moveTo>
                    <a:pt x="4202" y="4302"/>
                  </a:moveTo>
                  <a:cubicBezTo>
                    <a:pt x="4605" y="4268"/>
                    <a:pt x="5109" y="4168"/>
                    <a:pt x="5714" y="3966"/>
                  </a:cubicBezTo>
                  <a:lnTo>
                    <a:pt x="3362" y="2622"/>
                  </a:lnTo>
                  <a:cubicBezTo>
                    <a:pt x="2488" y="3159"/>
                    <a:pt x="2421" y="3664"/>
                    <a:pt x="3126" y="4067"/>
                  </a:cubicBezTo>
                  <a:cubicBezTo>
                    <a:pt x="3462" y="4268"/>
                    <a:pt x="3799" y="4336"/>
                    <a:pt x="4202" y="4302"/>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00" name="Google Shape;2995;p49"/>
            <p:cNvSpPr/>
            <p:nvPr/>
          </p:nvSpPr>
          <p:spPr>
            <a:xfrm>
              <a:off x="-26641525" y="121095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01" name="Google Shape;2996;p49"/>
            <p:cNvSpPr/>
            <p:nvPr/>
          </p:nvSpPr>
          <p:spPr>
            <a:xfrm>
              <a:off x="-26617175" y="12152375"/>
              <a:ext cx="25" cy="215125"/>
            </a:xfrm>
            <a:custGeom>
              <a:avLst/>
              <a:gdLst/>
              <a:ahLst/>
              <a:cxnLst/>
              <a:rect l="l" t="t" r="r" b="b"/>
              <a:pathLst>
                <a:path w="1" h="8605" fill="none" extrusionOk="0">
                  <a:moveTo>
                    <a:pt x="1" y="1"/>
                  </a:moveTo>
                  <a:lnTo>
                    <a:pt x="1"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02" name="Google Shape;2997;p49"/>
            <p:cNvSpPr/>
            <p:nvPr/>
          </p:nvSpPr>
          <p:spPr>
            <a:xfrm>
              <a:off x="-26592800" y="121944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03" name="Google Shape;2998;p49"/>
            <p:cNvSpPr/>
            <p:nvPr/>
          </p:nvSpPr>
          <p:spPr>
            <a:xfrm>
              <a:off x="-26569275" y="122372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04" name="Google Shape;2999;p49"/>
            <p:cNvSpPr/>
            <p:nvPr/>
          </p:nvSpPr>
          <p:spPr>
            <a:xfrm>
              <a:off x="-26544900" y="122322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05" name="Google Shape;3000;p49"/>
            <p:cNvSpPr/>
            <p:nvPr/>
          </p:nvSpPr>
          <p:spPr>
            <a:xfrm>
              <a:off x="-26511300" y="12243975"/>
              <a:ext cx="25" cy="215100"/>
            </a:xfrm>
            <a:custGeom>
              <a:avLst/>
              <a:gdLst/>
              <a:ahLst/>
              <a:cxnLst/>
              <a:rect l="l" t="t" r="r" b="b"/>
              <a:pathLst>
                <a:path w="1" h="8604"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06" name="Google Shape;3001;p49"/>
            <p:cNvSpPr/>
            <p:nvPr/>
          </p:nvSpPr>
          <p:spPr>
            <a:xfrm>
              <a:off x="-26478525" y="122549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07" name="Google Shape;3002;p49"/>
            <p:cNvSpPr/>
            <p:nvPr/>
          </p:nvSpPr>
          <p:spPr>
            <a:xfrm>
              <a:off x="-26444925" y="12266650"/>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08" name="Google Shape;3003;p49"/>
            <p:cNvSpPr/>
            <p:nvPr/>
          </p:nvSpPr>
          <p:spPr>
            <a:xfrm>
              <a:off x="-26411300" y="12278425"/>
              <a:ext cx="0" cy="215950"/>
            </a:xfrm>
            <a:custGeom>
              <a:avLst/>
              <a:gdLst/>
              <a:ahLst/>
              <a:cxnLst/>
              <a:rect l="l" t="t" r="r" b="b"/>
              <a:pathLst>
                <a:path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09" name="Google Shape;3004;p49"/>
            <p:cNvSpPr/>
            <p:nvPr/>
          </p:nvSpPr>
          <p:spPr>
            <a:xfrm>
              <a:off x="-26378550" y="12289350"/>
              <a:ext cx="25" cy="215950"/>
            </a:xfrm>
            <a:custGeom>
              <a:avLst/>
              <a:gdLst/>
              <a:ahLst/>
              <a:cxnLst/>
              <a:rect l="l" t="t" r="r" b="b"/>
              <a:pathLst>
                <a:path w="1" h="8638" fill="none" extrusionOk="0">
                  <a:moveTo>
                    <a:pt x="1" y="0"/>
                  </a:moveTo>
                  <a:lnTo>
                    <a:pt x="1"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10" name="Google Shape;3005;p49"/>
            <p:cNvSpPr/>
            <p:nvPr/>
          </p:nvSpPr>
          <p:spPr>
            <a:xfrm>
              <a:off x="-26344925" y="12301100"/>
              <a:ext cx="0" cy="215950"/>
            </a:xfrm>
            <a:custGeom>
              <a:avLst/>
              <a:gdLst/>
              <a:ahLst/>
              <a:cxnLst/>
              <a:rect l="l" t="t" r="r" b="b"/>
              <a:pathLst>
                <a:path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11" name="Google Shape;3006;p49"/>
            <p:cNvSpPr/>
            <p:nvPr/>
          </p:nvSpPr>
          <p:spPr>
            <a:xfrm>
              <a:off x="-26312175" y="12312875"/>
              <a:ext cx="25" cy="215100"/>
            </a:xfrm>
            <a:custGeom>
              <a:avLst/>
              <a:gdLst/>
              <a:ahLst/>
              <a:cxnLst/>
              <a:rect l="l" t="t" r="r" b="b"/>
              <a:pathLst>
                <a:path w="1" h="8604"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12" name="Google Shape;3007;p49"/>
            <p:cNvSpPr/>
            <p:nvPr/>
          </p:nvSpPr>
          <p:spPr>
            <a:xfrm>
              <a:off x="-26278550" y="123237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13" name="Google Shape;3008;p49"/>
            <p:cNvSpPr/>
            <p:nvPr/>
          </p:nvSpPr>
          <p:spPr>
            <a:xfrm>
              <a:off x="-26244950" y="12335550"/>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14" name="Google Shape;3009;p49"/>
            <p:cNvSpPr/>
            <p:nvPr/>
          </p:nvSpPr>
          <p:spPr>
            <a:xfrm>
              <a:off x="-26212175" y="123153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15" name="Google Shape;3010;p49"/>
            <p:cNvSpPr/>
            <p:nvPr/>
          </p:nvSpPr>
          <p:spPr>
            <a:xfrm>
              <a:off x="-26180250" y="12312875"/>
              <a:ext cx="25" cy="215100"/>
            </a:xfrm>
            <a:custGeom>
              <a:avLst/>
              <a:gdLst/>
              <a:ahLst/>
              <a:cxnLst/>
              <a:rect l="l" t="t" r="r" b="b"/>
              <a:pathLst>
                <a:path w="1" h="8604"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16" name="Google Shape;3011;p49"/>
            <p:cNvSpPr/>
            <p:nvPr/>
          </p:nvSpPr>
          <p:spPr>
            <a:xfrm>
              <a:off x="-26147475" y="123095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17" name="Google Shape;3012;p49"/>
            <p:cNvSpPr/>
            <p:nvPr/>
          </p:nvSpPr>
          <p:spPr>
            <a:xfrm>
              <a:off x="-26115550" y="1230615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18" name="Google Shape;3013;p49"/>
            <p:cNvSpPr/>
            <p:nvPr/>
          </p:nvSpPr>
          <p:spPr>
            <a:xfrm>
              <a:off x="-26082800" y="1230277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19" name="Google Shape;3014;p49"/>
            <p:cNvSpPr/>
            <p:nvPr/>
          </p:nvSpPr>
          <p:spPr>
            <a:xfrm>
              <a:off x="-26050850" y="122994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20" name="Google Shape;3015;p49"/>
            <p:cNvSpPr/>
            <p:nvPr/>
          </p:nvSpPr>
          <p:spPr>
            <a:xfrm>
              <a:off x="-26018100" y="12296900"/>
              <a:ext cx="25" cy="215125"/>
            </a:xfrm>
            <a:custGeom>
              <a:avLst/>
              <a:gdLst/>
              <a:ahLst/>
              <a:cxnLst/>
              <a:rect l="l" t="t" r="r" b="b"/>
              <a:pathLst>
                <a:path w="1" h="8605" fill="none" extrusionOk="0">
                  <a:moveTo>
                    <a:pt x="1" y="1"/>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21" name="Google Shape;3016;p49"/>
            <p:cNvSpPr/>
            <p:nvPr/>
          </p:nvSpPr>
          <p:spPr>
            <a:xfrm>
              <a:off x="-25986175" y="122935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22" name="Google Shape;3017;p49"/>
            <p:cNvSpPr/>
            <p:nvPr/>
          </p:nvSpPr>
          <p:spPr>
            <a:xfrm>
              <a:off x="-25954225" y="122380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23" name="Google Shape;3018;p49"/>
            <p:cNvSpPr/>
            <p:nvPr/>
          </p:nvSpPr>
          <p:spPr>
            <a:xfrm>
              <a:off x="-25923150" y="121834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24" name="Google Shape;3019;p49"/>
            <p:cNvSpPr/>
            <p:nvPr/>
          </p:nvSpPr>
          <p:spPr>
            <a:xfrm>
              <a:off x="-25891225" y="12154075"/>
              <a:ext cx="25" cy="215950"/>
            </a:xfrm>
            <a:custGeom>
              <a:avLst/>
              <a:gdLst/>
              <a:ahLst/>
              <a:cxnLst/>
              <a:rect l="l" t="t" r="r" b="b"/>
              <a:pathLst>
                <a:path w="1" h="8638" fill="none" extrusionOk="0">
                  <a:moveTo>
                    <a:pt x="1" y="0"/>
                  </a:moveTo>
                  <a:lnTo>
                    <a:pt x="1"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25" name="Google Shape;3020;p49"/>
            <p:cNvSpPr/>
            <p:nvPr/>
          </p:nvSpPr>
          <p:spPr>
            <a:xfrm>
              <a:off x="-25858450" y="12161625"/>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26" name="Google Shape;3021;p49"/>
            <p:cNvSpPr/>
            <p:nvPr/>
          </p:nvSpPr>
          <p:spPr>
            <a:xfrm>
              <a:off x="-25826525" y="1216917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27" name="Google Shape;3022;p49"/>
            <p:cNvSpPr/>
            <p:nvPr/>
          </p:nvSpPr>
          <p:spPr>
            <a:xfrm>
              <a:off x="-25801325" y="121129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28" name="Google Shape;3023;p49"/>
            <p:cNvSpPr/>
            <p:nvPr/>
          </p:nvSpPr>
          <p:spPr>
            <a:xfrm>
              <a:off x="-26659175" y="11886025"/>
              <a:ext cx="862925" cy="338650"/>
            </a:xfrm>
            <a:custGeom>
              <a:avLst/>
              <a:gdLst/>
              <a:ahLst/>
              <a:cxnLst/>
              <a:rect l="l" t="t" r="r" b="b"/>
              <a:pathLst>
                <a:path w="34517" h="13546" extrusionOk="0">
                  <a:moveTo>
                    <a:pt x="34516" y="236"/>
                  </a:moveTo>
                  <a:cubicBezTo>
                    <a:pt x="34516" y="572"/>
                    <a:pt x="34483" y="875"/>
                    <a:pt x="34416" y="1211"/>
                  </a:cubicBezTo>
                  <a:cubicBezTo>
                    <a:pt x="34348" y="1547"/>
                    <a:pt x="34248" y="1883"/>
                    <a:pt x="34147" y="2185"/>
                  </a:cubicBezTo>
                  <a:cubicBezTo>
                    <a:pt x="34012" y="2522"/>
                    <a:pt x="33844" y="2858"/>
                    <a:pt x="33676" y="3160"/>
                  </a:cubicBezTo>
                  <a:cubicBezTo>
                    <a:pt x="33475" y="3530"/>
                    <a:pt x="33239" y="3866"/>
                    <a:pt x="32970" y="4202"/>
                  </a:cubicBezTo>
                  <a:cubicBezTo>
                    <a:pt x="32668" y="4605"/>
                    <a:pt x="32298" y="4975"/>
                    <a:pt x="31895" y="5345"/>
                  </a:cubicBezTo>
                  <a:cubicBezTo>
                    <a:pt x="31290" y="5916"/>
                    <a:pt x="30551" y="6487"/>
                    <a:pt x="29710" y="6991"/>
                  </a:cubicBezTo>
                  <a:cubicBezTo>
                    <a:pt x="29643" y="7025"/>
                    <a:pt x="29576" y="7059"/>
                    <a:pt x="29509" y="7092"/>
                  </a:cubicBezTo>
                  <a:cubicBezTo>
                    <a:pt x="28366" y="7764"/>
                    <a:pt x="27089" y="8336"/>
                    <a:pt x="25711" y="8773"/>
                  </a:cubicBezTo>
                  <a:cubicBezTo>
                    <a:pt x="24669" y="9109"/>
                    <a:pt x="23594" y="9378"/>
                    <a:pt x="22451" y="9579"/>
                  </a:cubicBezTo>
                  <a:cubicBezTo>
                    <a:pt x="21745" y="9714"/>
                    <a:pt x="21006" y="9815"/>
                    <a:pt x="20266" y="9882"/>
                  </a:cubicBezTo>
                  <a:cubicBezTo>
                    <a:pt x="19628" y="9949"/>
                    <a:pt x="18989" y="9983"/>
                    <a:pt x="18351" y="10016"/>
                  </a:cubicBezTo>
                  <a:cubicBezTo>
                    <a:pt x="17746" y="10050"/>
                    <a:pt x="17174" y="10050"/>
                    <a:pt x="16570" y="10016"/>
                  </a:cubicBezTo>
                  <a:cubicBezTo>
                    <a:pt x="15998" y="10016"/>
                    <a:pt x="15427" y="9983"/>
                    <a:pt x="14855" y="9949"/>
                  </a:cubicBezTo>
                  <a:cubicBezTo>
                    <a:pt x="14318" y="9882"/>
                    <a:pt x="13746" y="9815"/>
                    <a:pt x="13209" y="9747"/>
                  </a:cubicBezTo>
                  <a:cubicBezTo>
                    <a:pt x="12604" y="9680"/>
                    <a:pt x="12032" y="9579"/>
                    <a:pt x="11495" y="9445"/>
                  </a:cubicBezTo>
                  <a:cubicBezTo>
                    <a:pt x="10890" y="9310"/>
                    <a:pt x="10285" y="9176"/>
                    <a:pt x="9680" y="9008"/>
                  </a:cubicBezTo>
                  <a:cubicBezTo>
                    <a:pt x="8974" y="8806"/>
                    <a:pt x="8268" y="8571"/>
                    <a:pt x="7596" y="8302"/>
                  </a:cubicBezTo>
                  <a:cubicBezTo>
                    <a:pt x="6722" y="7966"/>
                    <a:pt x="5882" y="7563"/>
                    <a:pt x="5109" y="7092"/>
                  </a:cubicBezTo>
                  <a:cubicBezTo>
                    <a:pt x="1681" y="5143"/>
                    <a:pt x="0" y="2555"/>
                    <a:pt x="0" y="1"/>
                  </a:cubicBezTo>
                  <a:lnTo>
                    <a:pt x="0" y="3496"/>
                  </a:lnTo>
                  <a:cubicBezTo>
                    <a:pt x="0" y="6084"/>
                    <a:pt x="1681" y="8672"/>
                    <a:pt x="5075" y="10621"/>
                  </a:cubicBezTo>
                  <a:cubicBezTo>
                    <a:pt x="5882" y="11058"/>
                    <a:pt x="6689" y="11461"/>
                    <a:pt x="7596" y="11831"/>
                  </a:cubicBezTo>
                  <a:cubicBezTo>
                    <a:pt x="8268" y="12066"/>
                    <a:pt x="8974" y="12335"/>
                    <a:pt x="9680" y="12537"/>
                  </a:cubicBezTo>
                  <a:cubicBezTo>
                    <a:pt x="10251" y="12705"/>
                    <a:pt x="10856" y="12839"/>
                    <a:pt x="11461" y="12974"/>
                  </a:cubicBezTo>
                  <a:cubicBezTo>
                    <a:pt x="12032" y="13075"/>
                    <a:pt x="12604" y="13175"/>
                    <a:pt x="13175" y="13276"/>
                  </a:cubicBezTo>
                  <a:cubicBezTo>
                    <a:pt x="13746" y="13344"/>
                    <a:pt x="14284" y="13411"/>
                    <a:pt x="14855" y="13444"/>
                  </a:cubicBezTo>
                  <a:cubicBezTo>
                    <a:pt x="15427" y="13512"/>
                    <a:pt x="15998" y="13512"/>
                    <a:pt x="16570" y="13545"/>
                  </a:cubicBezTo>
                  <a:cubicBezTo>
                    <a:pt x="17141" y="13545"/>
                    <a:pt x="17746" y="13545"/>
                    <a:pt x="18317" y="13545"/>
                  </a:cubicBezTo>
                  <a:cubicBezTo>
                    <a:pt x="18989" y="13512"/>
                    <a:pt x="19628" y="13478"/>
                    <a:pt x="20233" y="13411"/>
                  </a:cubicBezTo>
                  <a:cubicBezTo>
                    <a:pt x="21006" y="13344"/>
                    <a:pt x="21712" y="13243"/>
                    <a:pt x="22451" y="13108"/>
                  </a:cubicBezTo>
                  <a:cubicBezTo>
                    <a:pt x="23560" y="12907"/>
                    <a:pt x="24669" y="12638"/>
                    <a:pt x="25711" y="12302"/>
                  </a:cubicBezTo>
                  <a:cubicBezTo>
                    <a:pt x="27089" y="11831"/>
                    <a:pt x="28366" y="11293"/>
                    <a:pt x="29509" y="10621"/>
                  </a:cubicBezTo>
                  <a:cubicBezTo>
                    <a:pt x="29576" y="10588"/>
                    <a:pt x="29643" y="10554"/>
                    <a:pt x="29710" y="10487"/>
                  </a:cubicBezTo>
                  <a:cubicBezTo>
                    <a:pt x="30551" y="9983"/>
                    <a:pt x="31290" y="9445"/>
                    <a:pt x="31895" y="8874"/>
                  </a:cubicBezTo>
                  <a:cubicBezTo>
                    <a:pt x="32298" y="8504"/>
                    <a:pt x="32668" y="8134"/>
                    <a:pt x="32970" y="7731"/>
                  </a:cubicBezTo>
                  <a:cubicBezTo>
                    <a:pt x="33239" y="7395"/>
                    <a:pt x="33475" y="7059"/>
                    <a:pt x="33676" y="6689"/>
                  </a:cubicBezTo>
                  <a:cubicBezTo>
                    <a:pt x="33844" y="6353"/>
                    <a:pt x="34012" y="6050"/>
                    <a:pt x="34113" y="5714"/>
                  </a:cubicBezTo>
                  <a:cubicBezTo>
                    <a:pt x="34248" y="5378"/>
                    <a:pt x="34348" y="5076"/>
                    <a:pt x="34416" y="4740"/>
                  </a:cubicBezTo>
                  <a:cubicBezTo>
                    <a:pt x="34483" y="4404"/>
                    <a:pt x="34516" y="4068"/>
                    <a:pt x="34516" y="3731"/>
                  </a:cubicBezTo>
                  <a:cubicBezTo>
                    <a:pt x="34516" y="3698"/>
                    <a:pt x="34516" y="3631"/>
                    <a:pt x="34516" y="3597"/>
                  </a:cubicBezTo>
                  <a:lnTo>
                    <a:pt x="34516" y="68"/>
                  </a:lnTo>
                  <a:cubicBezTo>
                    <a:pt x="34516" y="135"/>
                    <a:pt x="34516" y="169"/>
                    <a:pt x="34516" y="236"/>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29" name="Google Shape;3024;p49"/>
            <p:cNvSpPr/>
            <p:nvPr/>
          </p:nvSpPr>
          <p:spPr>
            <a:xfrm>
              <a:off x="-26702025" y="11612125"/>
              <a:ext cx="948625" cy="549525"/>
            </a:xfrm>
            <a:custGeom>
              <a:avLst/>
              <a:gdLst/>
              <a:ahLst/>
              <a:cxnLst/>
              <a:rect l="l" t="t" r="r" b="b"/>
              <a:pathLst>
                <a:path w="37945" h="21981" extrusionOk="0">
                  <a:moveTo>
                    <a:pt x="31156" y="3933"/>
                  </a:moveTo>
                  <a:cubicBezTo>
                    <a:pt x="37911" y="7831"/>
                    <a:pt x="37945" y="14150"/>
                    <a:pt x="31223" y="18048"/>
                  </a:cubicBezTo>
                  <a:cubicBezTo>
                    <a:pt x="24501" y="21981"/>
                    <a:pt x="13578" y="21981"/>
                    <a:pt x="6823" y="18082"/>
                  </a:cubicBezTo>
                  <a:cubicBezTo>
                    <a:pt x="34" y="14150"/>
                    <a:pt x="0" y="7831"/>
                    <a:pt x="6722" y="3933"/>
                  </a:cubicBezTo>
                  <a:cubicBezTo>
                    <a:pt x="13444" y="0"/>
                    <a:pt x="24400" y="0"/>
                    <a:pt x="31156" y="3933"/>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30" name="Google Shape;3025;p49"/>
            <p:cNvSpPr/>
            <p:nvPr/>
          </p:nvSpPr>
          <p:spPr>
            <a:xfrm>
              <a:off x="-26642375" y="11646575"/>
              <a:ext cx="829325" cy="480625"/>
            </a:xfrm>
            <a:custGeom>
              <a:avLst/>
              <a:gdLst/>
              <a:ahLst/>
              <a:cxnLst/>
              <a:rect l="l" t="t" r="r" b="b"/>
              <a:pathLst>
                <a:path w="33173" h="19225" extrusionOk="0">
                  <a:moveTo>
                    <a:pt x="27224" y="3428"/>
                  </a:moveTo>
                  <a:cubicBezTo>
                    <a:pt x="33139" y="6857"/>
                    <a:pt x="33172" y="12368"/>
                    <a:pt x="27291" y="15796"/>
                  </a:cubicBezTo>
                  <a:cubicBezTo>
                    <a:pt x="21409" y="19225"/>
                    <a:pt x="11864" y="19225"/>
                    <a:pt x="5949" y="15796"/>
                  </a:cubicBezTo>
                  <a:cubicBezTo>
                    <a:pt x="34" y="12402"/>
                    <a:pt x="1" y="6857"/>
                    <a:pt x="5882" y="3428"/>
                  </a:cubicBezTo>
                  <a:cubicBezTo>
                    <a:pt x="11764" y="0"/>
                    <a:pt x="21308" y="0"/>
                    <a:pt x="27224" y="3428"/>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31" name="Google Shape;3026;p49"/>
            <p:cNvSpPr/>
            <p:nvPr/>
          </p:nvSpPr>
          <p:spPr>
            <a:xfrm>
              <a:off x="-26413000" y="11758325"/>
              <a:ext cx="364675" cy="228550"/>
            </a:xfrm>
            <a:custGeom>
              <a:avLst/>
              <a:gdLst/>
              <a:ahLst/>
              <a:cxnLst/>
              <a:rect l="l" t="t" r="r" b="b"/>
              <a:pathLst>
                <a:path w="14587" h="9142" extrusionOk="0">
                  <a:moveTo>
                    <a:pt x="12806" y="7226"/>
                  </a:moveTo>
                  <a:lnTo>
                    <a:pt x="14385" y="8167"/>
                  </a:lnTo>
                  <a:lnTo>
                    <a:pt x="13511" y="8671"/>
                  </a:lnTo>
                  <a:lnTo>
                    <a:pt x="11898" y="7730"/>
                  </a:lnTo>
                  <a:cubicBezTo>
                    <a:pt x="11192" y="8100"/>
                    <a:pt x="10386" y="8403"/>
                    <a:pt x="9512" y="8638"/>
                  </a:cubicBezTo>
                  <a:cubicBezTo>
                    <a:pt x="8672" y="8873"/>
                    <a:pt x="7798" y="9041"/>
                    <a:pt x="6891" y="9142"/>
                  </a:cubicBezTo>
                  <a:lnTo>
                    <a:pt x="6050" y="7630"/>
                  </a:lnTo>
                  <a:cubicBezTo>
                    <a:pt x="6218" y="7630"/>
                    <a:pt x="6454" y="7596"/>
                    <a:pt x="6756" y="7562"/>
                  </a:cubicBezTo>
                  <a:cubicBezTo>
                    <a:pt x="7059" y="7529"/>
                    <a:pt x="7428" y="7461"/>
                    <a:pt x="7798" y="7394"/>
                  </a:cubicBezTo>
                  <a:cubicBezTo>
                    <a:pt x="8168" y="7293"/>
                    <a:pt x="8605" y="7193"/>
                    <a:pt x="9008" y="7058"/>
                  </a:cubicBezTo>
                  <a:cubicBezTo>
                    <a:pt x="9445" y="6957"/>
                    <a:pt x="9848" y="6789"/>
                    <a:pt x="10251" y="6621"/>
                  </a:cubicBezTo>
                  <a:lnTo>
                    <a:pt x="7731" y="5176"/>
                  </a:lnTo>
                  <a:cubicBezTo>
                    <a:pt x="7630" y="5210"/>
                    <a:pt x="7529" y="5243"/>
                    <a:pt x="7428" y="5277"/>
                  </a:cubicBezTo>
                  <a:cubicBezTo>
                    <a:pt x="7294" y="5311"/>
                    <a:pt x="7193" y="5344"/>
                    <a:pt x="7092" y="5378"/>
                  </a:cubicBezTo>
                  <a:cubicBezTo>
                    <a:pt x="6454" y="5613"/>
                    <a:pt x="5882" y="5747"/>
                    <a:pt x="5345" y="5882"/>
                  </a:cubicBezTo>
                  <a:cubicBezTo>
                    <a:pt x="4840" y="5983"/>
                    <a:pt x="4370" y="6050"/>
                    <a:pt x="3899" y="6084"/>
                  </a:cubicBezTo>
                  <a:cubicBezTo>
                    <a:pt x="3429" y="6084"/>
                    <a:pt x="2992" y="6050"/>
                    <a:pt x="2589" y="5949"/>
                  </a:cubicBezTo>
                  <a:cubicBezTo>
                    <a:pt x="2185" y="5848"/>
                    <a:pt x="1782" y="5714"/>
                    <a:pt x="1412" y="5479"/>
                  </a:cubicBezTo>
                  <a:cubicBezTo>
                    <a:pt x="908" y="5176"/>
                    <a:pt x="572" y="4907"/>
                    <a:pt x="337" y="4571"/>
                  </a:cubicBezTo>
                  <a:cubicBezTo>
                    <a:pt x="135" y="4269"/>
                    <a:pt x="34" y="3933"/>
                    <a:pt x="68" y="3596"/>
                  </a:cubicBezTo>
                  <a:cubicBezTo>
                    <a:pt x="68" y="3294"/>
                    <a:pt x="202" y="2958"/>
                    <a:pt x="471" y="2622"/>
                  </a:cubicBezTo>
                  <a:cubicBezTo>
                    <a:pt x="707" y="2319"/>
                    <a:pt x="1043" y="2017"/>
                    <a:pt x="1480" y="1714"/>
                  </a:cubicBezTo>
                  <a:lnTo>
                    <a:pt x="1" y="874"/>
                  </a:lnTo>
                  <a:lnTo>
                    <a:pt x="875" y="370"/>
                  </a:lnTo>
                  <a:lnTo>
                    <a:pt x="2320" y="1210"/>
                  </a:lnTo>
                  <a:cubicBezTo>
                    <a:pt x="3026" y="874"/>
                    <a:pt x="3731" y="605"/>
                    <a:pt x="4471" y="404"/>
                  </a:cubicBezTo>
                  <a:cubicBezTo>
                    <a:pt x="5210" y="202"/>
                    <a:pt x="5916" y="101"/>
                    <a:pt x="6622" y="0"/>
                  </a:cubicBezTo>
                  <a:lnTo>
                    <a:pt x="7361" y="1479"/>
                  </a:lnTo>
                  <a:cubicBezTo>
                    <a:pt x="7227" y="1446"/>
                    <a:pt x="7059" y="1479"/>
                    <a:pt x="6790" y="1513"/>
                  </a:cubicBezTo>
                  <a:cubicBezTo>
                    <a:pt x="6521" y="1546"/>
                    <a:pt x="6252" y="1614"/>
                    <a:pt x="5916" y="1681"/>
                  </a:cubicBezTo>
                  <a:cubicBezTo>
                    <a:pt x="5613" y="1748"/>
                    <a:pt x="5277" y="1815"/>
                    <a:pt x="4941" y="1916"/>
                  </a:cubicBezTo>
                  <a:cubicBezTo>
                    <a:pt x="4605" y="2017"/>
                    <a:pt x="4269" y="2151"/>
                    <a:pt x="3967" y="2286"/>
                  </a:cubicBezTo>
                  <a:lnTo>
                    <a:pt x="6487" y="3731"/>
                  </a:lnTo>
                  <a:lnTo>
                    <a:pt x="6924" y="3596"/>
                  </a:lnTo>
                  <a:cubicBezTo>
                    <a:pt x="7563" y="3361"/>
                    <a:pt x="8168" y="3193"/>
                    <a:pt x="8739" y="3059"/>
                  </a:cubicBezTo>
                  <a:cubicBezTo>
                    <a:pt x="9277" y="2891"/>
                    <a:pt x="9814" y="2823"/>
                    <a:pt x="10352" y="2790"/>
                  </a:cubicBezTo>
                  <a:cubicBezTo>
                    <a:pt x="10856" y="2756"/>
                    <a:pt x="11360" y="2790"/>
                    <a:pt x="11831" y="2891"/>
                  </a:cubicBezTo>
                  <a:cubicBezTo>
                    <a:pt x="12302" y="2958"/>
                    <a:pt x="12772" y="3160"/>
                    <a:pt x="13276" y="3428"/>
                  </a:cubicBezTo>
                  <a:cubicBezTo>
                    <a:pt x="13780" y="3731"/>
                    <a:pt x="14150" y="4067"/>
                    <a:pt x="14352" y="4403"/>
                  </a:cubicBezTo>
                  <a:cubicBezTo>
                    <a:pt x="14520" y="4706"/>
                    <a:pt x="14587" y="5042"/>
                    <a:pt x="14520" y="5378"/>
                  </a:cubicBezTo>
                  <a:cubicBezTo>
                    <a:pt x="14419" y="5680"/>
                    <a:pt x="14217" y="6016"/>
                    <a:pt x="13915" y="6319"/>
                  </a:cubicBezTo>
                  <a:cubicBezTo>
                    <a:pt x="13612" y="6655"/>
                    <a:pt x="13243" y="6957"/>
                    <a:pt x="12806" y="7226"/>
                  </a:cubicBezTo>
                  <a:close/>
                  <a:moveTo>
                    <a:pt x="8537" y="4941"/>
                  </a:moveTo>
                  <a:lnTo>
                    <a:pt x="10856" y="6285"/>
                  </a:lnTo>
                  <a:cubicBezTo>
                    <a:pt x="11865" y="5680"/>
                    <a:pt x="11999" y="5176"/>
                    <a:pt x="11327" y="4773"/>
                  </a:cubicBezTo>
                  <a:cubicBezTo>
                    <a:pt x="10991" y="4605"/>
                    <a:pt x="10621" y="4504"/>
                    <a:pt x="10151" y="4571"/>
                  </a:cubicBezTo>
                  <a:cubicBezTo>
                    <a:pt x="9714" y="4605"/>
                    <a:pt x="9176" y="4739"/>
                    <a:pt x="8537" y="4941"/>
                  </a:cubicBezTo>
                  <a:close/>
                  <a:moveTo>
                    <a:pt x="4202" y="4336"/>
                  </a:moveTo>
                  <a:cubicBezTo>
                    <a:pt x="4605" y="4302"/>
                    <a:pt x="5109" y="4168"/>
                    <a:pt x="5714" y="4000"/>
                  </a:cubicBezTo>
                  <a:lnTo>
                    <a:pt x="3362" y="2622"/>
                  </a:lnTo>
                  <a:cubicBezTo>
                    <a:pt x="2488" y="3193"/>
                    <a:pt x="2421" y="3697"/>
                    <a:pt x="3126" y="4101"/>
                  </a:cubicBezTo>
                  <a:cubicBezTo>
                    <a:pt x="3462" y="4269"/>
                    <a:pt x="3799" y="4369"/>
                    <a:pt x="4202" y="4336"/>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32" name="Google Shape;3027;p49"/>
            <p:cNvSpPr/>
            <p:nvPr/>
          </p:nvSpPr>
          <p:spPr>
            <a:xfrm>
              <a:off x="-26641525" y="11895275"/>
              <a:ext cx="25" cy="215125"/>
            </a:xfrm>
            <a:custGeom>
              <a:avLst/>
              <a:gdLst/>
              <a:ahLst/>
              <a:cxnLst/>
              <a:rect l="l" t="t" r="r" b="b"/>
              <a:pathLst>
                <a:path w="1" h="8605" fill="none" extrusionOk="0">
                  <a:moveTo>
                    <a:pt x="0" y="1"/>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33" name="Google Shape;3028;p49"/>
            <p:cNvSpPr/>
            <p:nvPr/>
          </p:nvSpPr>
          <p:spPr>
            <a:xfrm>
              <a:off x="-26617175" y="11937300"/>
              <a:ext cx="25" cy="215950"/>
            </a:xfrm>
            <a:custGeom>
              <a:avLst/>
              <a:gdLst/>
              <a:ahLst/>
              <a:cxnLst/>
              <a:rect l="l" t="t" r="r" b="b"/>
              <a:pathLst>
                <a:path w="1" h="8638" fill="none" extrusionOk="0">
                  <a:moveTo>
                    <a:pt x="1" y="0"/>
                  </a:moveTo>
                  <a:lnTo>
                    <a:pt x="1"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34" name="Google Shape;3029;p49"/>
            <p:cNvSpPr/>
            <p:nvPr/>
          </p:nvSpPr>
          <p:spPr>
            <a:xfrm>
              <a:off x="-26592800" y="11980150"/>
              <a:ext cx="25" cy="215950"/>
            </a:xfrm>
            <a:custGeom>
              <a:avLst/>
              <a:gdLst/>
              <a:ahLst/>
              <a:cxnLst/>
              <a:rect l="l" t="t" r="r" b="b"/>
              <a:pathLst>
                <a:path w="1" h="8638" fill="none" extrusionOk="0">
                  <a:moveTo>
                    <a:pt x="1" y="0"/>
                  </a:moveTo>
                  <a:lnTo>
                    <a:pt x="1"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35" name="Google Shape;3030;p49"/>
            <p:cNvSpPr/>
            <p:nvPr/>
          </p:nvSpPr>
          <p:spPr>
            <a:xfrm>
              <a:off x="-26569275" y="12023000"/>
              <a:ext cx="25" cy="215100"/>
            </a:xfrm>
            <a:custGeom>
              <a:avLst/>
              <a:gdLst/>
              <a:ahLst/>
              <a:cxnLst/>
              <a:rect l="l" t="t" r="r" b="b"/>
              <a:pathLst>
                <a:path w="1" h="8604"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36" name="Google Shape;3031;p49"/>
            <p:cNvSpPr/>
            <p:nvPr/>
          </p:nvSpPr>
          <p:spPr>
            <a:xfrm>
              <a:off x="-26544900" y="12017950"/>
              <a:ext cx="25" cy="215125"/>
            </a:xfrm>
            <a:custGeom>
              <a:avLst/>
              <a:gdLst/>
              <a:ahLst/>
              <a:cxnLst/>
              <a:rect l="l" t="t" r="r" b="b"/>
              <a:pathLst>
                <a:path w="1" h="8605"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37" name="Google Shape;3032;p49"/>
            <p:cNvSpPr/>
            <p:nvPr/>
          </p:nvSpPr>
          <p:spPr>
            <a:xfrm>
              <a:off x="-26511300" y="120288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38" name="Google Shape;3033;p49"/>
            <p:cNvSpPr/>
            <p:nvPr/>
          </p:nvSpPr>
          <p:spPr>
            <a:xfrm>
              <a:off x="-26478525" y="120406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39" name="Google Shape;3034;p49"/>
            <p:cNvSpPr/>
            <p:nvPr/>
          </p:nvSpPr>
          <p:spPr>
            <a:xfrm>
              <a:off x="-26444925" y="120515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40" name="Google Shape;3035;p49"/>
            <p:cNvSpPr/>
            <p:nvPr/>
          </p:nvSpPr>
          <p:spPr>
            <a:xfrm>
              <a:off x="-26411300" y="12063325"/>
              <a:ext cx="0" cy="215950"/>
            </a:xfrm>
            <a:custGeom>
              <a:avLst/>
              <a:gdLst/>
              <a:ahLst/>
              <a:cxnLst/>
              <a:rect l="l" t="t" r="r" b="b"/>
              <a:pathLst>
                <a:path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41" name="Google Shape;3036;p49"/>
            <p:cNvSpPr/>
            <p:nvPr/>
          </p:nvSpPr>
          <p:spPr>
            <a:xfrm>
              <a:off x="-26378550" y="1207507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42" name="Google Shape;3037;p49"/>
            <p:cNvSpPr/>
            <p:nvPr/>
          </p:nvSpPr>
          <p:spPr>
            <a:xfrm>
              <a:off x="-26344925" y="12086850"/>
              <a:ext cx="0" cy="215950"/>
            </a:xfrm>
            <a:custGeom>
              <a:avLst/>
              <a:gdLst/>
              <a:ahLst/>
              <a:cxnLst/>
              <a:rect l="l" t="t" r="r" b="b"/>
              <a:pathLst>
                <a:path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43" name="Google Shape;3038;p49"/>
            <p:cNvSpPr/>
            <p:nvPr/>
          </p:nvSpPr>
          <p:spPr>
            <a:xfrm>
              <a:off x="-26312175" y="120977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44" name="Google Shape;3039;p49"/>
            <p:cNvSpPr/>
            <p:nvPr/>
          </p:nvSpPr>
          <p:spPr>
            <a:xfrm>
              <a:off x="-26278550" y="121095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45" name="Google Shape;3040;p49"/>
            <p:cNvSpPr/>
            <p:nvPr/>
          </p:nvSpPr>
          <p:spPr>
            <a:xfrm>
              <a:off x="-26244950" y="12121300"/>
              <a:ext cx="25" cy="215125"/>
            </a:xfrm>
            <a:custGeom>
              <a:avLst/>
              <a:gdLst/>
              <a:ahLst/>
              <a:cxnLst/>
              <a:rect l="l" t="t" r="r" b="b"/>
              <a:pathLst>
                <a:path w="1" h="8605"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46" name="Google Shape;3041;p49"/>
            <p:cNvSpPr/>
            <p:nvPr/>
          </p:nvSpPr>
          <p:spPr>
            <a:xfrm>
              <a:off x="-26212175" y="121011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47" name="Google Shape;3042;p49"/>
            <p:cNvSpPr/>
            <p:nvPr/>
          </p:nvSpPr>
          <p:spPr>
            <a:xfrm>
              <a:off x="-26180250" y="120977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48" name="Google Shape;3043;p49"/>
            <p:cNvSpPr/>
            <p:nvPr/>
          </p:nvSpPr>
          <p:spPr>
            <a:xfrm>
              <a:off x="-26147475" y="12095250"/>
              <a:ext cx="25" cy="215125"/>
            </a:xfrm>
            <a:custGeom>
              <a:avLst/>
              <a:gdLst/>
              <a:ahLst/>
              <a:cxnLst/>
              <a:rect l="l" t="t" r="r" b="b"/>
              <a:pathLst>
                <a:path w="1" h="8605"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49" name="Google Shape;3044;p49"/>
            <p:cNvSpPr/>
            <p:nvPr/>
          </p:nvSpPr>
          <p:spPr>
            <a:xfrm>
              <a:off x="-26115550" y="12091900"/>
              <a:ext cx="25" cy="215950"/>
            </a:xfrm>
            <a:custGeom>
              <a:avLst/>
              <a:gdLst/>
              <a:ahLst/>
              <a:cxnLst/>
              <a:rect l="l" t="t" r="r" b="b"/>
              <a:pathLst>
                <a:path w="1" h="8638" fill="none" extrusionOk="0">
                  <a:moveTo>
                    <a:pt x="0" y="0"/>
                  </a:moveTo>
                  <a:lnTo>
                    <a:pt x="0"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50" name="Google Shape;3045;p49"/>
            <p:cNvSpPr/>
            <p:nvPr/>
          </p:nvSpPr>
          <p:spPr>
            <a:xfrm>
              <a:off x="-26082800" y="12088525"/>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51" name="Google Shape;3046;p49"/>
            <p:cNvSpPr/>
            <p:nvPr/>
          </p:nvSpPr>
          <p:spPr>
            <a:xfrm>
              <a:off x="-26050850" y="120851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52" name="Google Shape;3047;p49"/>
            <p:cNvSpPr/>
            <p:nvPr/>
          </p:nvSpPr>
          <p:spPr>
            <a:xfrm>
              <a:off x="-26018100" y="120818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53" name="Google Shape;3048;p49"/>
            <p:cNvSpPr/>
            <p:nvPr/>
          </p:nvSpPr>
          <p:spPr>
            <a:xfrm>
              <a:off x="-25986175" y="120784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54" name="Google Shape;3049;p49"/>
            <p:cNvSpPr/>
            <p:nvPr/>
          </p:nvSpPr>
          <p:spPr>
            <a:xfrm>
              <a:off x="-25954225" y="120238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55" name="Google Shape;3050;p49"/>
            <p:cNvSpPr/>
            <p:nvPr/>
          </p:nvSpPr>
          <p:spPr>
            <a:xfrm>
              <a:off x="-25923150" y="11968375"/>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56" name="Google Shape;3051;p49"/>
            <p:cNvSpPr/>
            <p:nvPr/>
          </p:nvSpPr>
          <p:spPr>
            <a:xfrm>
              <a:off x="-25891225" y="119398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57" name="Google Shape;3052;p49"/>
            <p:cNvSpPr/>
            <p:nvPr/>
          </p:nvSpPr>
          <p:spPr>
            <a:xfrm>
              <a:off x="-25858450" y="119473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58" name="Google Shape;3053;p49"/>
            <p:cNvSpPr/>
            <p:nvPr/>
          </p:nvSpPr>
          <p:spPr>
            <a:xfrm>
              <a:off x="-25826525" y="119549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59" name="Google Shape;3054;p49"/>
            <p:cNvSpPr/>
            <p:nvPr/>
          </p:nvSpPr>
          <p:spPr>
            <a:xfrm>
              <a:off x="-25801325" y="118978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60" name="Google Shape;3055;p49"/>
            <p:cNvSpPr/>
            <p:nvPr/>
          </p:nvSpPr>
          <p:spPr>
            <a:xfrm>
              <a:off x="-24872050" y="12592650"/>
              <a:ext cx="862925" cy="339475"/>
            </a:xfrm>
            <a:custGeom>
              <a:avLst/>
              <a:gdLst/>
              <a:ahLst/>
              <a:cxnLst/>
              <a:rect l="l" t="t" r="r" b="b"/>
              <a:pathLst>
                <a:path w="34517" h="13579" extrusionOk="0">
                  <a:moveTo>
                    <a:pt x="34517" y="270"/>
                  </a:moveTo>
                  <a:cubicBezTo>
                    <a:pt x="34517" y="606"/>
                    <a:pt x="34483" y="908"/>
                    <a:pt x="34416" y="1244"/>
                  </a:cubicBezTo>
                  <a:cubicBezTo>
                    <a:pt x="34349" y="1580"/>
                    <a:pt x="34248" y="1916"/>
                    <a:pt x="34147" y="2219"/>
                  </a:cubicBezTo>
                  <a:cubicBezTo>
                    <a:pt x="34013" y="2555"/>
                    <a:pt x="33845" y="2891"/>
                    <a:pt x="33677" y="3194"/>
                  </a:cubicBezTo>
                  <a:cubicBezTo>
                    <a:pt x="33475" y="3563"/>
                    <a:pt x="33240" y="3899"/>
                    <a:pt x="32971" y="4235"/>
                  </a:cubicBezTo>
                  <a:cubicBezTo>
                    <a:pt x="32669" y="4639"/>
                    <a:pt x="32299" y="5008"/>
                    <a:pt x="31896" y="5378"/>
                  </a:cubicBezTo>
                  <a:cubicBezTo>
                    <a:pt x="31291" y="5949"/>
                    <a:pt x="30551" y="6521"/>
                    <a:pt x="29711" y="7025"/>
                  </a:cubicBezTo>
                  <a:cubicBezTo>
                    <a:pt x="29644" y="7059"/>
                    <a:pt x="29577" y="7092"/>
                    <a:pt x="29509" y="7126"/>
                  </a:cubicBezTo>
                  <a:cubicBezTo>
                    <a:pt x="28367" y="7798"/>
                    <a:pt x="27090" y="8369"/>
                    <a:pt x="25712" y="8806"/>
                  </a:cubicBezTo>
                  <a:cubicBezTo>
                    <a:pt x="24670" y="9142"/>
                    <a:pt x="23594" y="9411"/>
                    <a:pt x="22452" y="9613"/>
                  </a:cubicBezTo>
                  <a:cubicBezTo>
                    <a:pt x="21746" y="9747"/>
                    <a:pt x="21006" y="9848"/>
                    <a:pt x="20267" y="9915"/>
                  </a:cubicBezTo>
                  <a:cubicBezTo>
                    <a:pt x="19628" y="9983"/>
                    <a:pt x="18990" y="10016"/>
                    <a:pt x="18351" y="10050"/>
                  </a:cubicBezTo>
                  <a:cubicBezTo>
                    <a:pt x="17746" y="10083"/>
                    <a:pt x="17175" y="10083"/>
                    <a:pt x="16570" y="10050"/>
                  </a:cubicBezTo>
                  <a:cubicBezTo>
                    <a:pt x="15999" y="10050"/>
                    <a:pt x="15427" y="10016"/>
                    <a:pt x="14856" y="9949"/>
                  </a:cubicBezTo>
                  <a:cubicBezTo>
                    <a:pt x="14318" y="9915"/>
                    <a:pt x="13747" y="9848"/>
                    <a:pt x="13209" y="9781"/>
                  </a:cubicBezTo>
                  <a:cubicBezTo>
                    <a:pt x="12604" y="9680"/>
                    <a:pt x="12033" y="9579"/>
                    <a:pt x="11495" y="9478"/>
                  </a:cubicBezTo>
                  <a:cubicBezTo>
                    <a:pt x="10890" y="9344"/>
                    <a:pt x="10285" y="9210"/>
                    <a:pt x="9680" y="9041"/>
                  </a:cubicBezTo>
                  <a:cubicBezTo>
                    <a:pt x="8974" y="8840"/>
                    <a:pt x="8269" y="8605"/>
                    <a:pt x="7597" y="8336"/>
                  </a:cubicBezTo>
                  <a:cubicBezTo>
                    <a:pt x="6723" y="8000"/>
                    <a:pt x="5882" y="7596"/>
                    <a:pt x="5109" y="7126"/>
                  </a:cubicBezTo>
                  <a:cubicBezTo>
                    <a:pt x="1681" y="5176"/>
                    <a:pt x="1" y="2589"/>
                    <a:pt x="1" y="1"/>
                  </a:cubicBezTo>
                  <a:lnTo>
                    <a:pt x="1" y="3530"/>
                  </a:lnTo>
                  <a:cubicBezTo>
                    <a:pt x="1" y="6118"/>
                    <a:pt x="1681" y="8672"/>
                    <a:pt x="5076" y="10655"/>
                  </a:cubicBezTo>
                  <a:cubicBezTo>
                    <a:pt x="5882" y="11092"/>
                    <a:pt x="6689" y="11495"/>
                    <a:pt x="7597" y="11831"/>
                  </a:cubicBezTo>
                  <a:cubicBezTo>
                    <a:pt x="8269" y="12100"/>
                    <a:pt x="8974" y="12335"/>
                    <a:pt x="9680" y="12537"/>
                  </a:cubicBezTo>
                  <a:cubicBezTo>
                    <a:pt x="10252" y="12705"/>
                    <a:pt x="10857" y="12873"/>
                    <a:pt x="11462" y="13007"/>
                  </a:cubicBezTo>
                  <a:cubicBezTo>
                    <a:pt x="12033" y="13108"/>
                    <a:pt x="12604" y="13209"/>
                    <a:pt x="13176" y="13276"/>
                  </a:cubicBezTo>
                  <a:cubicBezTo>
                    <a:pt x="13747" y="13377"/>
                    <a:pt x="14285" y="13444"/>
                    <a:pt x="14856" y="13478"/>
                  </a:cubicBezTo>
                  <a:cubicBezTo>
                    <a:pt x="15427" y="13511"/>
                    <a:pt x="15999" y="13545"/>
                    <a:pt x="16570" y="13579"/>
                  </a:cubicBezTo>
                  <a:cubicBezTo>
                    <a:pt x="17141" y="13579"/>
                    <a:pt x="17746" y="13579"/>
                    <a:pt x="18318" y="13579"/>
                  </a:cubicBezTo>
                  <a:cubicBezTo>
                    <a:pt x="18990" y="13545"/>
                    <a:pt x="19628" y="13511"/>
                    <a:pt x="20233" y="13444"/>
                  </a:cubicBezTo>
                  <a:cubicBezTo>
                    <a:pt x="21006" y="13377"/>
                    <a:pt x="21712" y="13276"/>
                    <a:pt x="22452" y="13142"/>
                  </a:cubicBezTo>
                  <a:cubicBezTo>
                    <a:pt x="23561" y="12940"/>
                    <a:pt x="24670" y="12671"/>
                    <a:pt x="25712" y="12302"/>
                  </a:cubicBezTo>
                  <a:cubicBezTo>
                    <a:pt x="27090" y="11865"/>
                    <a:pt x="28367" y="11327"/>
                    <a:pt x="29509" y="10655"/>
                  </a:cubicBezTo>
                  <a:cubicBezTo>
                    <a:pt x="29577" y="10621"/>
                    <a:pt x="29644" y="10554"/>
                    <a:pt x="29711" y="10520"/>
                  </a:cubicBezTo>
                  <a:cubicBezTo>
                    <a:pt x="30551" y="10016"/>
                    <a:pt x="31291" y="9478"/>
                    <a:pt x="31896" y="8907"/>
                  </a:cubicBezTo>
                  <a:cubicBezTo>
                    <a:pt x="32299" y="8537"/>
                    <a:pt x="32669" y="8134"/>
                    <a:pt x="32971" y="7764"/>
                  </a:cubicBezTo>
                  <a:cubicBezTo>
                    <a:pt x="33240" y="7428"/>
                    <a:pt x="33475" y="7059"/>
                    <a:pt x="33677" y="6722"/>
                  </a:cubicBezTo>
                  <a:cubicBezTo>
                    <a:pt x="33845" y="6386"/>
                    <a:pt x="34013" y="6084"/>
                    <a:pt x="34114" y="5748"/>
                  </a:cubicBezTo>
                  <a:cubicBezTo>
                    <a:pt x="34248" y="5412"/>
                    <a:pt x="34349" y="5076"/>
                    <a:pt x="34416" y="4773"/>
                  </a:cubicBezTo>
                  <a:cubicBezTo>
                    <a:pt x="34483" y="4437"/>
                    <a:pt x="34517" y="4101"/>
                    <a:pt x="34517" y="3765"/>
                  </a:cubicBezTo>
                  <a:cubicBezTo>
                    <a:pt x="34517" y="3731"/>
                    <a:pt x="34517" y="3664"/>
                    <a:pt x="34517" y="3630"/>
                  </a:cubicBezTo>
                  <a:lnTo>
                    <a:pt x="34517" y="102"/>
                  </a:lnTo>
                  <a:cubicBezTo>
                    <a:pt x="34517" y="169"/>
                    <a:pt x="34517" y="202"/>
                    <a:pt x="34517" y="270"/>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61" name="Google Shape;3056;p49"/>
            <p:cNvSpPr/>
            <p:nvPr/>
          </p:nvSpPr>
          <p:spPr>
            <a:xfrm>
              <a:off x="-24914900" y="12319575"/>
              <a:ext cx="948625" cy="548700"/>
            </a:xfrm>
            <a:custGeom>
              <a:avLst/>
              <a:gdLst/>
              <a:ahLst/>
              <a:cxnLst/>
              <a:rect l="l" t="t" r="r" b="b"/>
              <a:pathLst>
                <a:path w="37945" h="21948" extrusionOk="0">
                  <a:moveTo>
                    <a:pt x="31156" y="3900"/>
                  </a:moveTo>
                  <a:cubicBezTo>
                    <a:pt x="37911" y="7832"/>
                    <a:pt x="37945" y="14150"/>
                    <a:pt x="31223" y="18049"/>
                  </a:cubicBezTo>
                  <a:cubicBezTo>
                    <a:pt x="24502" y="21947"/>
                    <a:pt x="13579" y="21947"/>
                    <a:pt x="6823" y="18049"/>
                  </a:cubicBezTo>
                  <a:cubicBezTo>
                    <a:pt x="35" y="14150"/>
                    <a:pt x="1" y="7832"/>
                    <a:pt x="6723" y="3900"/>
                  </a:cubicBezTo>
                  <a:cubicBezTo>
                    <a:pt x="13444" y="1"/>
                    <a:pt x="24367" y="1"/>
                    <a:pt x="31156" y="3900"/>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62" name="Google Shape;3057;p49"/>
            <p:cNvSpPr/>
            <p:nvPr/>
          </p:nvSpPr>
          <p:spPr>
            <a:xfrm>
              <a:off x="-24855225" y="12354025"/>
              <a:ext cx="829300" cy="480650"/>
            </a:xfrm>
            <a:custGeom>
              <a:avLst/>
              <a:gdLst/>
              <a:ahLst/>
              <a:cxnLst/>
              <a:rect l="l" t="t" r="r" b="b"/>
              <a:pathLst>
                <a:path w="33172" h="19226" extrusionOk="0">
                  <a:moveTo>
                    <a:pt x="27223" y="3429"/>
                  </a:moveTo>
                  <a:cubicBezTo>
                    <a:pt x="33138" y="6823"/>
                    <a:pt x="33172" y="12369"/>
                    <a:pt x="27290" y="15797"/>
                  </a:cubicBezTo>
                  <a:cubicBezTo>
                    <a:pt x="21409" y="19191"/>
                    <a:pt x="11864" y="19225"/>
                    <a:pt x="5949" y="15797"/>
                  </a:cubicBezTo>
                  <a:cubicBezTo>
                    <a:pt x="34" y="12369"/>
                    <a:pt x="0" y="6823"/>
                    <a:pt x="5882" y="3429"/>
                  </a:cubicBezTo>
                  <a:cubicBezTo>
                    <a:pt x="11763" y="1"/>
                    <a:pt x="21308" y="1"/>
                    <a:pt x="27223" y="342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63" name="Google Shape;3058;p49"/>
            <p:cNvSpPr/>
            <p:nvPr/>
          </p:nvSpPr>
          <p:spPr>
            <a:xfrm>
              <a:off x="-24625850" y="12465775"/>
              <a:ext cx="364675" cy="227725"/>
            </a:xfrm>
            <a:custGeom>
              <a:avLst/>
              <a:gdLst/>
              <a:ahLst/>
              <a:cxnLst/>
              <a:rect l="l" t="t" r="r" b="b"/>
              <a:pathLst>
                <a:path w="14587" h="9109" extrusionOk="0">
                  <a:moveTo>
                    <a:pt x="12772" y="7227"/>
                  </a:moveTo>
                  <a:lnTo>
                    <a:pt x="14385" y="8134"/>
                  </a:lnTo>
                  <a:lnTo>
                    <a:pt x="13511" y="8638"/>
                  </a:lnTo>
                  <a:lnTo>
                    <a:pt x="11898" y="7731"/>
                  </a:lnTo>
                  <a:cubicBezTo>
                    <a:pt x="11192" y="8067"/>
                    <a:pt x="10385" y="8369"/>
                    <a:pt x="9512" y="8638"/>
                  </a:cubicBezTo>
                  <a:cubicBezTo>
                    <a:pt x="8638" y="8874"/>
                    <a:pt x="7764" y="9042"/>
                    <a:pt x="6890" y="9109"/>
                  </a:cubicBezTo>
                  <a:lnTo>
                    <a:pt x="6050" y="7596"/>
                  </a:lnTo>
                  <a:cubicBezTo>
                    <a:pt x="6184" y="7596"/>
                    <a:pt x="6453" y="7596"/>
                    <a:pt x="6756" y="7563"/>
                  </a:cubicBezTo>
                  <a:cubicBezTo>
                    <a:pt x="7058" y="7529"/>
                    <a:pt x="7394" y="7462"/>
                    <a:pt x="7797" y="7395"/>
                  </a:cubicBezTo>
                  <a:cubicBezTo>
                    <a:pt x="8167" y="7294"/>
                    <a:pt x="8604" y="7193"/>
                    <a:pt x="9007" y="7059"/>
                  </a:cubicBezTo>
                  <a:cubicBezTo>
                    <a:pt x="9444" y="6924"/>
                    <a:pt x="9848" y="6790"/>
                    <a:pt x="10251" y="6622"/>
                  </a:cubicBezTo>
                  <a:lnTo>
                    <a:pt x="7730" y="5177"/>
                  </a:lnTo>
                  <a:cubicBezTo>
                    <a:pt x="7629" y="5210"/>
                    <a:pt x="7529" y="5244"/>
                    <a:pt x="7428" y="5277"/>
                  </a:cubicBezTo>
                  <a:cubicBezTo>
                    <a:pt x="7293" y="5311"/>
                    <a:pt x="7193" y="5345"/>
                    <a:pt x="7058" y="5378"/>
                  </a:cubicBezTo>
                  <a:cubicBezTo>
                    <a:pt x="6453" y="5580"/>
                    <a:pt x="5882" y="5748"/>
                    <a:pt x="5344" y="5882"/>
                  </a:cubicBezTo>
                  <a:cubicBezTo>
                    <a:pt x="4840" y="5983"/>
                    <a:pt x="4336" y="6050"/>
                    <a:pt x="3899" y="6084"/>
                  </a:cubicBezTo>
                  <a:cubicBezTo>
                    <a:pt x="3428" y="6084"/>
                    <a:pt x="2991" y="6050"/>
                    <a:pt x="2588" y="5950"/>
                  </a:cubicBezTo>
                  <a:cubicBezTo>
                    <a:pt x="2185" y="5849"/>
                    <a:pt x="1782" y="5681"/>
                    <a:pt x="1378" y="5445"/>
                  </a:cubicBezTo>
                  <a:cubicBezTo>
                    <a:pt x="908" y="5177"/>
                    <a:pt x="572" y="4874"/>
                    <a:pt x="336" y="4572"/>
                  </a:cubicBezTo>
                  <a:cubicBezTo>
                    <a:pt x="135" y="4236"/>
                    <a:pt x="34" y="3933"/>
                    <a:pt x="68" y="3597"/>
                  </a:cubicBezTo>
                  <a:cubicBezTo>
                    <a:pt x="68" y="3261"/>
                    <a:pt x="202" y="2958"/>
                    <a:pt x="471" y="2622"/>
                  </a:cubicBezTo>
                  <a:cubicBezTo>
                    <a:pt x="706" y="2286"/>
                    <a:pt x="1042" y="1984"/>
                    <a:pt x="1479" y="1715"/>
                  </a:cubicBezTo>
                  <a:lnTo>
                    <a:pt x="0" y="841"/>
                  </a:lnTo>
                  <a:lnTo>
                    <a:pt x="841" y="337"/>
                  </a:lnTo>
                  <a:lnTo>
                    <a:pt x="2319" y="1177"/>
                  </a:lnTo>
                  <a:cubicBezTo>
                    <a:pt x="2991" y="841"/>
                    <a:pt x="3731" y="572"/>
                    <a:pt x="4470" y="404"/>
                  </a:cubicBezTo>
                  <a:cubicBezTo>
                    <a:pt x="5210" y="203"/>
                    <a:pt x="5915" y="68"/>
                    <a:pt x="6621" y="1"/>
                  </a:cubicBezTo>
                  <a:lnTo>
                    <a:pt x="7361" y="1446"/>
                  </a:lnTo>
                  <a:cubicBezTo>
                    <a:pt x="7226" y="1446"/>
                    <a:pt x="7058" y="1480"/>
                    <a:pt x="6789" y="1513"/>
                  </a:cubicBezTo>
                  <a:cubicBezTo>
                    <a:pt x="6520" y="1547"/>
                    <a:pt x="6251" y="1580"/>
                    <a:pt x="5915" y="1648"/>
                  </a:cubicBezTo>
                  <a:cubicBezTo>
                    <a:pt x="5613" y="1715"/>
                    <a:pt x="5277" y="1816"/>
                    <a:pt x="4941" y="1917"/>
                  </a:cubicBezTo>
                  <a:cubicBezTo>
                    <a:pt x="4605" y="2017"/>
                    <a:pt x="4269" y="2152"/>
                    <a:pt x="3966" y="2286"/>
                  </a:cubicBezTo>
                  <a:lnTo>
                    <a:pt x="6453" y="3731"/>
                  </a:lnTo>
                  <a:lnTo>
                    <a:pt x="6924" y="3563"/>
                  </a:lnTo>
                  <a:cubicBezTo>
                    <a:pt x="7562" y="3362"/>
                    <a:pt x="8167" y="3194"/>
                    <a:pt x="8705" y="3026"/>
                  </a:cubicBezTo>
                  <a:cubicBezTo>
                    <a:pt x="9276" y="2891"/>
                    <a:pt x="9814" y="2790"/>
                    <a:pt x="10318" y="2757"/>
                  </a:cubicBezTo>
                  <a:cubicBezTo>
                    <a:pt x="10856" y="2723"/>
                    <a:pt x="11360" y="2757"/>
                    <a:pt x="11831" y="2858"/>
                  </a:cubicBezTo>
                  <a:cubicBezTo>
                    <a:pt x="12301" y="2958"/>
                    <a:pt x="12772" y="3160"/>
                    <a:pt x="13242" y="3429"/>
                  </a:cubicBezTo>
                  <a:cubicBezTo>
                    <a:pt x="13780" y="3731"/>
                    <a:pt x="14150" y="4034"/>
                    <a:pt x="14351" y="4370"/>
                  </a:cubicBezTo>
                  <a:cubicBezTo>
                    <a:pt x="14519" y="4706"/>
                    <a:pt x="14586" y="5042"/>
                    <a:pt x="14486" y="5345"/>
                  </a:cubicBezTo>
                  <a:cubicBezTo>
                    <a:pt x="14418" y="5681"/>
                    <a:pt x="14217" y="6017"/>
                    <a:pt x="13914" y="6319"/>
                  </a:cubicBezTo>
                  <a:cubicBezTo>
                    <a:pt x="13612" y="6655"/>
                    <a:pt x="13242" y="6958"/>
                    <a:pt x="12772" y="7227"/>
                  </a:cubicBezTo>
                  <a:close/>
                  <a:moveTo>
                    <a:pt x="8537" y="4941"/>
                  </a:moveTo>
                  <a:lnTo>
                    <a:pt x="10856" y="6286"/>
                  </a:lnTo>
                  <a:cubicBezTo>
                    <a:pt x="11864" y="5681"/>
                    <a:pt x="12032" y="5177"/>
                    <a:pt x="11326" y="4773"/>
                  </a:cubicBezTo>
                  <a:cubicBezTo>
                    <a:pt x="11024" y="4572"/>
                    <a:pt x="10621" y="4504"/>
                    <a:pt x="10184" y="4572"/>
                  </a:cubicBezTo>
                  <a:cubicBezTo>
                    <a:pt x="9713" y="4605"/>
                    <a:pt x="9175" y="4740"/>
                    <a:pt x="8537" y="4941"/>
                  </a:cubicBezTo>
                  <a:close/>
                  <a:moveTo>
                    <a:pt x="4201" y="4336"/>
                  </a:moveTo>
                  <a:cubicBezTo>
                    <a:pt x="4605" y="4303"/>
                    <a:pt x="5109" y="4168"/>
                    <a:pt x="5680" y="4000"/>
                  </a:cubicBezTo>
                  <a:lnTo>
                    <a:pt x="3328" y="2622"/>
                  </a:lnTo>
                  <a:cubicBezTo>
                    <a:pt x="2487" y="3194"/>
                    <a:pt x="2420" y="3664"/>
                    <a:pt x="3126" y="4101"/>
                  </a:cubicBezTo>
                  <a:cubicBezTo>
                    <a:pt x="3462" y="4269"/>
                    <a:pt x="3798" y="4336"/>
                    <a:pt x="4201" y="4336"/>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64" name="Google Shape;3059;p49"/>
            <p:cNvSpPr/>
            <p:nvPr/>
          </p:nvSpPr>
          <p:spPr>
            <a:xfrm>
              <a:off x="-24854400" y="126019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65" name="Google Shape;3060;p49"/>
            <p:cNvSpPr/>
            <p:nvPr/>
          </p:nvSpPr>
          <p:spPr>
            <a:xfrm>
              <a:off x="-24830025" y="12644750"/>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66" name="Google Shape;3061;p49"/>
            <p:cNvSpPr/>
            <p:nvPr/>
          </p:nvSpPr>
          <p:spPr>
            <a:xfrm>
              <a:off x="-24805650" y="12687600"/>
              <a:ext cx="0" cy="215950"/>
            </a:xfrm>
            <a:custGeom>
              <a:avLst/>
              <a:gdLst/>
              <a:ahLst/>
              <a:cxnLst/>
              <a:rect l="l" t="t" r="r" b="b"/>
              <a:pathLst>
                <a:path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67" name="Google Shape;3062;p49"/>
            <p:cNvSpPr/>
            <p:nvPr/>
          </p:nvSpPr>
          <p:spPr>
            <a:xfrm>
              <a:off x="-24782125" y="127296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68" name="Google Shape;3063;p49"/>
            <p:cNvSpPr/>
            <p:nvPr/>
          </p:nvSpPr>
          <p:spPr>
            <a:xfrm>
              <a:off x="-24757775" y="127245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69" name="Google Shape;3064;p49"/>
            <p:cNvSpPr/>
            <p:nvPr/>
          </p:nvSpPr>
          <p:spPr>
            <a:xfrm>
              <a:off x="-24724150" y="127363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70" name="Google Shape;3065;p49"/>
            <p:cNvSpPr/>
            <p:nvPr/>
          </p:nvSpPr>
          <p:spPr>
            <a:xfrm>
              <a:off x="-24691400" y="127481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71" name="Google Shape;3066;p49"/>
            <p:cNvSpPr/>
            <p:nvPr/>
          </p:nvSpPr>
          <p:spPr>
            <a:xfrm>
              <a:off x="-24657775" y="127590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72" name="Google Shape;3067;p49"/>
            <p:cNvSpPr/>
            <p:nvPr/>
          </p:nvSpPr>
          <p:spPr>
            <a:xfrm>
              <a:off x="-24624175" y="1277077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73" name="Google Shape;3068;p49"/>
            <p:cNvSpPr/>
            <p:nvPr/>
          </p:nvSpPr>
          <p:spPr>
            <a:xfrm>
              <a:off x="-24591400" y="1278255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74" name="Google Shape;3069;p49"/>
            <p:cNvSpPr/>
            <p:nvPr/>
          </p:nvSpPr>
          <p:spPr>
            <a:xfrm>
              <a:off x="-24557800" y="127934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75" name="Google Shape;3070;p49"/>
            <p:cNvSpPr/>
            <p:nvPr/>
          </p:nvSpPr>
          <p:spPr>
            <a:xfrm>
              <a:off x="-24525025" y="128052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76" name="Google Shape;3071;p49"/>
            <p:cNvSpPr/>
            <p:nvPr/>
          </p:nvSpPr>
          <p:spPr>
            <a:xfrm>
              <a:off x="-24491425" y="128170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77" name="Google Shape;3072;p49"/>
            <p:cNvSpPr/>
            <p:nvPr/>
          </p:nvSpPr>
          <p:spPr>
            <a:xfrm>
              <a:off x="-24458650" y="12828750"/>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78" name="Google Shape;3073;p49"/>
            <p:cNvSpPr/>
            <p:nvPr/>
          </p:nvSpPr>
          <p:spPr>
            <a:xfrm>
              <a:off x="-24425050" y="128086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79" name="Google Shape;3074;p49"/>
            <p:cNvSpPr/>
            <p:nvPr/>
          </p:nvSpPr>
          <p:spPr>
            <a:xfrm>
              <a:off x="-24393125" y="128052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80" name="Google Shape;3075;p49"/>
            <p:cNvSpPr/>
            <p:nvPr/>
          </p:nvSpPr>
          <p:spPr>
            <a:xfrm>
              <a:off x="-24360350" y="128018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81" name="Google Shape;3076;p49"/>
            <p:cNvSpPr/>
            <p:nvPr/>
          </p:nvSpPr>
          <p:spPr>
            <a:xfrm>
              <a:off x="-24328425" y="127985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82" name="Google Shape;3077;p49"/>
            <p:cNvSpPr/>
            <p:nvPr/>
          </p:nvSpPr>
          <p:spPr>
            <a:xfrm>
              <a:off x="-24295650" y="12796000"/>
              <a:ext cx="25" cy="215100"/>
            </a:xfrm>
            <a:custGeom>
              <a:avLst/>
              <a:gdLst/>
              <a:ahLst/>
              <a:cxnLst/>
              <a:rect l="l" t="t" r="r" b="b"/>
              <a:pathLst>
                <a:path w="1" h="8604"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83" name="Google Shape;3078;p49"/>
            <p:cNvSpPr/>
            <p:nvPr/>
          </p:nvSpPr>
          <p:spPr>
            <a:xfrm>
              <a:off x="-24263725" y="127926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84" name="Google Shape;3079;p49"/>
            <p:cNvSpPr/>
            <p:nvPr/>
          </p:nvSpPr>
          <p:spPr>
            <a:xfrm>
              <a:off x="-24231800" y="127892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85" name="Google Shape;3080;p49"/>
            <p:cNvSpPr/>
            <p:nvPr/>
          </p:nvSpPr>
          <p:spPr>
            <a:xfrm>
              <a:off x="-24199025" y="127859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86" name="Google Shape;3081;p49"/>
            <p:cNvSpPr/>
            <p:nvPr/>
          </p:nvSpPr>
          <p:spPr>
            <a:xfrm>
              <a:off x="-24167100" y="127313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87" name="Google Shape;3082;p49"/>
            <p:cNvSpPr/>
            <p:nvPr/>
          </p:nvSpPr>
          <p:spPr>
            <a:xfrm>
              <a:off x="-24136000" y="12675850"/>
              <a:ext cx="25" cy="215950"/>
            </a:xfrm>
            <a:custGeom>
              <a:avLst/>
              <a:gdLst/>
              <a:ahLst/>
              <a:cxnLst/>
              <a:rect l="l" t="t" r="r" b="b"/>
              <a:pathLst>
                <a:path w="1" h="8638" fill="none" extrusionOk="0">
                  <a:moveTo>
                    <a:pt x="0" y="0"/>
                  </a:moveTo>
                  <a:lnTo>
                    <a:pt x="0"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88" name="Google Shape;3083;p49"/>
            <p:cNvSpPr/>
            <p:nvPr/>
          </p:nvSpPr>
          <p:spPr>
            <a:xfrm>
              <a:off x="-24104075" y="126472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89" name="Google Shape;3084;p49"/>
            <p:cNvSpPr/>
            <p:nvPr/>
          </p:nvSpPr>
          <p:spPr>
            <a:xfrm>
              <a:off x="-24072150" y="126548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90" name="Google Shape;3085;p49"/>
            <p:cNvSpPr/>
            <p:nvPr/>
          </p:nvSpPr>
          <p:spPr>
            <a:xfrm>
              <a:off x="-24039375" y="126624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91" name="Google Shape;3086;p49"/>
            <p:cNvSpPr/>
            <p:nvPr/>
          </p:nvSpPr>
          <p:spPr>
            <a:xfrm>
              <a:off x="-24014175" y="126052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92" name="Google Shape;3087;p49"/>
            <p:cNvSpPr/>
            <p:nvPr/>
          </p:nvSpPr>
          <p:spPr>
            <a:xfrm>
              <a:off x="-24872050" y="12389325"/>
              <a:ext cx="862925" cy="338625"/>
            </a:xfrm>
            <a:custGeom>
              <a:avLst/>
              <a:gdLst/>
              <a:ahLst/>
              <a:cxnLst/>
              <a:rect l="l" t="t" r="r" b="b"/>
              <a:pathLst>
                <a:path w="34517" h="13545" extrusionOk="0">
                  <a:moveTo>
                    <a:pt x="34517" y="236"/>
                  </a:moveTo>
                  <a:cubicBezTo>
                    <a:pt x="34517" y="572"/>
                    <a:pt x="34483" y="908"/>
                    <a:pt x="34416" y="1210"/>
                  </a:cubicBezTo>
                  <a:cubicBezTo>
                    <a:pt x="34349" y="1546"/>
                    <a:pt x="34248" y="1883"/>
                    <a:pt x="34147" y="2185"/>
                  </a:cubicBezTo>
                  <a:cubicBezTo>
                    <a:pt x="34013" y="2521"/>
                    <a:pt x="33845" y="2857"/>
                    <a:pt x="33677" y="3160"/>
                  </a:cubicBezTo>
                  <a:cubicBezTo>
                    <a:pt x="33475" y="3529"/>
                    <a:pt x="33240" y="3865"/>
                    <a:pt x="32971" y="4202"/>
                  </a:cubicBezTo>
                  <a:cubicBezTo>
                    <a:pt x="32669" y="4605"/>
                    <a:pt x="32299" y="4975"/>
                    <a:pt x="31896" y="5344"/>
                  </a:cubicBezTo>
                  <a:cubicBezTo>
                    <a:pt x="31291" y="5916"/>
                    <a:pt x="30551" y="6487"/>
                    <a:pt x="29711" y="6991"/>
                  </a:cubicBezTo>
                  <a:cubicBezTo>
                    <a:pt x="29644" y="7025"/>
                    <a:pt x="29577" y="7058"/>
                    <a:pt x="29509" y="7092"/>
                  </a:cubicBezTo>
                  <a:cubicBezTo>
                    <a:pt x="28367" y="7764"/>
                    <a:pt x="27090" y="8335"/>
                    <a:pt x="25712" y="8772"/>
                  </a:cubicBezTo>
                  <a:cubicBezTo>
                    <a:pt x="24670" y="9108"/>
                    <a:pt x="23594" y="9377"/>
                    <a:pt x="22452" y="9579"/>
                  </a:cubicBezTo>
                  <a:cubicBezTo>
                    <a:pt x="21746" y="9713"/>
                    <a:pt x="21006" y="9814"/>
                    <a:pt x="20267" y="9881"/>
                  </a:cubicBezTo>
                  <a:cubicBezTo>
                    <a:pt x="19628" y="9949"/>
                    <a:pt x="18990" y="9982"/>
                    <a:pt x="18351" y="10016"/>
                  </a:cubicBezTo>
                  <a:cubicBezTo>
                    <a:pt x="17746" y="10049"/>
                    <a:pt x="17175" y="10049"/>
                    <a:pt x="16570" y="10016"/>
                  </a:cubicBezTo>
                  <a:cubicBezTo>
                    <a:pt x="15999" y="10016"/>
                    <a:pt x="15427" y="9982"/>
                    <a:pt x="14856" y="9949"/>
                  </a:cubicBezTo>
                  <a:cubicBezTo>
                    <a:pt x="14318" y="9881"/>
                    <a:pt x="13747" y="9814"/>
                    <a:pt x="13209" y="9747"/>
                  </a:cubicBezTo>
                  <a:cubicBezTo>
                    <a:pt x="12604" y="9680"/>
                    <a:pt x="12033" y="9579"/>
                    <a:pt x="11495" y="9445"/>
                  </a:cubicBezTo>
                  <a:cubicBezTo>
                    <a:pt x="10890" y="9310"/>
                    <a:pt x="10285" y="9176"/>
                    <a:pt x="9680" y="9008"/>
                  </a:cubicBezTo>
                  <a:cubicBezTo>
                    <a:pt x="8974" y="8806"/>
                    <a:pt x="8269" y="8571"/>
                    <a:pt x="7597" y="8302"/>
                  </a:cubicBezTo>
                  <a:cubicBezTo>
                    <a:pt x="6723" y="7966"/>
                    <a:pt x="5882" y="7562"/>
                    <a:pt x="5109" y="7092"/>
                  </a:cubicBezTo>
                  <a:cubicBezTo>
                    <a:pt x="1681" y="5143"/>
                    <a:pt x="1" y="2555"/>
                    <a:pt x="1" y="0"/>
                  </a:cubicBezTo>
                  <a:lnTo>
                    <a:pt x="1" y="3496"/>
                  </a:lnTo>
                  <a:cubicBezTo>
                    <a:pt x="1" y="6084"/>
                    <a:pt x="1681" y="8672"/>
                    <a:pt x="5076" y="10621"/>
                  </a:cubicBezTo>
                  <a:cubicBezTo>
                    <a:pt x="5882" y="11058"/>
                    <a:pt x="6689" y="11461"/>
                    <a:pt x="7597" y="11831"/>
                  </a:cubicBezTo>
                  <a:cubicBezTo>
                    <a:pt x="8269" y="12066"/>
                    <a:pt x="8974" y="12335"/>
                    <a:pt x="9680" y="12536"/>
                  </a:cubicBezTo>
                  <a:cubicBezTo>
                    <a:pt x="10252" y="12705"/>
                    <a:pt x="10857" y="12839"/>
                    <a:pt x="11462" y="12973"/>
                  </a:cubicBezTo>
                  <a:cubicBezTo>
                    <a:pt x="12033" y="13074"/>
                    <a:pt x="12604" y="13175"/>
                    <a:pt x="13176" y="13276"/>
                  </a:cubicBezTo>
                  <a:cubicBezTo>
                    <a:pt x="13747" y="13343"/>
                    <a:pt x="14285" y="13410"/>
                    <a:pt x="14856" y="13444"/>
                  </a:cubicBezTo>
                  <a:cubicBezTo>
                    <a:pt x="15427" y="13511"/>
                    <a:pt x="15999" y="13511"/>
                    <a:pt x="16570" y="13545"/>
                  </a:cubicBezTo>
                  <a:cubicBezTo>
                    <a:pt x="17141" y="13545"/>
                    <a:pt x="17746" y="13545"/>
                    <a:pt x="18318" y="13545"/>
                  </a:cubicBezTo>
                  <a:cubicBezTo>
                    <a:pt x="18990" y="13511"/>
                    <a:pt x="19628" y="13478"/>
                    <a:pt x="20233" y="13410"/>
                  </a:cubicBezTo>
                  <a:cubicBezTo>
                    <a:pt x="21006" y="13343"/>
                    <a:pt x="21712" y="13242"/>
                    <a:pt x="22452" y="13108"/>
                  </a:cubicBezTo>
                  <a:cubicBezTo>
                    <a:pt x="23561" y="12906"/>
                    <a:pt x="24670" y="12637"/>
                    <a:pt x="25712" y="12301"/>
                  </a:cubicBezTo>
                  <a:cubicBezTo>
                    <a:pt x="27090" y="11831"/>
                    <a:pt x="28367" y="11293"/>
                    <a:pt x="29509" y="10621"/>
                  </a:cubicBezTo>
                  <a:cubicBezTo>
                    <a:pt x="29577" y="10587"/>
                    <a:pt x="29644" y="10554"/>
                    <a:pt x="29711" y="10486"/>
                  </a:cubicBezTo>
                  <a:cubicBezTo>
                    <a:pt x="30551" y="9982"/>
                    <a:pt x="31291" y="9445"/>
                    <a:pt x="31896" y="8873"/>
                  </a:cubicBezTo>
                  <a:cubicBezTo>
                    <a:pt x="32299" y="8503"/>
                    <a:pt x="32669" y="8134"/>
                    <a:pt x="32971" y="7730"/>
                  </a:cubicBezTo>
                  <a:cubicBezTo>
                    <a:pt x="33240" y="7394"/>
                    <a:pt x="33475" y="7058"/>
                    <a:pt x="33677" y="6689"/>
                  </a:cubicBezTo>
                  <a:cubicBezTo>
                    <a:pt x="33845" y="6353"/>
                    <a:pt x="34013" y="6050"/>
                    <a:pt x="34114" y="5714"/>
                  </a:cubicBezTo>
                  <a:cubicBezTo>
                    <a:pt x="34248" y="5378"/>
                    <a:pt x="34349" y="5075"/>
                    <a:pt x="34416" y="4739"/>
                  </a:cubicBezTo>
                  <a:cubicBezTo>
                    <a:pt x="34483" y="4403"/>
                    <a:pt x="34517" y="4067"/>
                    <a:pt x="34517" y="3731"/>
                  </a:cubicBezTo>
                  <a:cubicBezTo>
                    <a:pt x="34517" y="3697"/>
                    <a:pt x="34517" y="3630"/>
                    <a:pt x="34517" y="3597"/>
                  </a:cubicBezTo>
                  <a:lnTo>
                    <a:pt x="34517" y="68"/>
                  </a:lnTo>
                  <a:cubicBezTo>
                    <a:pt x="34517" y="135"/>
                    <a:pt x="34517" y="169"/>
                    <a:pt x="34517" y="236"/>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93" name="Google Shape;3088;p49"/>
            <p:cNvSpPr/>
            <p:nvPr/>
          </p:nvSpPr>
          <p:spPr>
            <a:xfrm>
              <a:off x="-24914900" y="12115425"/>
              <a:ext cx="948625" cy="549525"/>
            </a:xfrm>
            <a:custGeom>
              <a:avLst/>
              <a:gdLst/>
              <a:ahLst/>
              <a:cxnLst/>
              <a:rect l="l" t="t" r="r" b="b"/>
              <a:pathLst>
                <a:path w="37945" h="21981" extrusionOk="0">
                  <a:moveTo>
                    <a:pt x="31156" y="3932"/>
                  </a:moveTo>
                  <a:cubicBezTo>
                    <a:pt x="37911" y="7831"/>
                    <a:pt x="37945" y="14149"/>
                    <a:pt x="31223" y="18048"/>
                  </a:cubicBezTo>
                  <a:cubicBezTo>
                    <a:pt x="24502" y="21980"/>
                    <a:pt x="13579" y="21980"/>
                    <a:pt x="6823" y="18048"/>
                  </a:cubicBezTo>
                  <a:cubicBezTo>
                    <a:pt x="35" y="14149"/>
                    <a:pt x="1" y="7831"/>
                    <a:pt x="6723" y="3932"/>
                  </a:cubicBezTo>
                  <a:cubicBezTo>
                    <a:pt x="13444" y="0"/>
                    <a:pt x="24367" y="0"/>
                    <a:pt x="31156" y="3932"/>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94" name="Google Shape;3089;p49"/>
            <p:cNvSpPr/>
            <p:nvPr/>
          </p:nvSpPr>
          <p:spPr>
            <a:xfrm>
              <a:off x="-24855225" y="12149850"/>
              <a:ext cx="829300" cy="480650"/>
            </a:xfrm>
            <a:custGeom>
              <a:avLst/>
              <a:gdLst/>
              <a:ahLst/>
              <a:cxnLst/>
              <a:rect l="l" t="t" r="r" b="b"/>
              <a:pathLst>
                <a:path w="33172" h="19226" extrusionOk="0">
                  <a:moveTo>
                    <a:pt x="27223" y="3429"/>
                  </a:moveTo>
                  <a:cubicBezTo>
                    <a:pt x="33138" y="6857"/>
                    <a:pt x="33172" y="12369"/>
                    <a:pt x="27290" y="15797"/>
                  </a:cubicBezTo>
                  <a:cubicBezTo>
                    <a:pt x="21409" y="19225"/>
                    <a:pt x="11864" y="19225"/>
                    <a:pt x="5949" y="15797"/>
                  </a:cubicBezTo>
                  <a:cubicBezTo>
                    <a:pt x="34" y="12369"/>
                    <a:pt x="0" y="6857"/>
                    <a:pt x="5882" y="3429"/>
                  </a:cubicBezTo>
                  <a:cubicBezTo>
                    <a:pt x="11763" y="1"/>
                    <a:pt x="21308" y="1"/>
                    <a:pt x="27223" y="342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95" name="Google Shape;3090;p49"/>
            <p:cNvSpPr/>
            <p:nvPr/>
          </p:nvSpPr>
          <p:spPr>
            <a:xfrm>
              <a:off x="-24625850" y="12261600"/>
              <a:ext cx="364675" cy="227725"/>
            </a:xfrm>
            <a:custGeom>
              <a:avLst/>
              <a:gdLst/>
              <a:ahLst/>
              <a:cxnLst/>
              <a:rect l="l" t="t" r="r" b="b"/>
              <a:pathLst>
                <a:path w="14587" h="9109" extrusionOk="0">
                  <a:moveTo>
                    <a:pt x="12772" y="7227"/>
                  </a:moveTo>
                  <a:lnTo>
                    <a:pt x="14385" y="8168"/>
                  </a:lnTo>
                  <a:lnTo>
                    <a:pt x="13511" y="8672"/>
                  </a:lnTo>
                  <a:lnTo>
                    <a:pt x="11898" y="7731"/>
                  </a:lnTo>
                  <a:cubicBezTo>
                    <a:pt x="11192" y="8101"/>
                    <a:pt x="10385" y="8403"/>
                    <a:pt x="9512" y="8638"/>
                  </a:cubicBezTo>
                  <a:cubicBezTo>
                    <a:pt x="8638" y="8874"/>
                    <a:pt x="7764" y="9042"/>
                    <a:pt x="6890" y="9109"/>
                  </a:cubicBezTo>
                  <a:lnTo>
                    <a:pt x="6050" y="7630"/>
                  </a:lnTo>
                  <a:cubicBezTo>
                    <a:pt x="6184" y="7597"/>
                    <a:pt x="6453" y="7597"/>
                    <a:pt x="6756" y="7563"/>
                  </a:cubicBezTo>
                  <a:cubicBezTo>
                    <a:pt x="7058" y="7529"/>
                    <a:pt x="7394" y="7462"/>
                    <a:pt x="7797" y="7395"/>
                  </a:cubicBezTo>
                  <a:cubicBezTo>
                    <a:pt x="8167" y="7294"/>
                    <a:pt x="8604" y="7193"/>
                    <a:pt x="9007" y="7059"/>
                  </a:cubicBezTo>
                  <a:cubicBezTo>
                    <a:pt x="9444" y="6958"/>
                    <a:pt x="9848" y="6790"/>
                    <a:pt x="10251" y="6622"/>
                  </a:cubicBezTo>
                  <a:lnTo>
                    <a:pt x="7730" y="5177"/>
                  </a:lnTo>
                  <a:cubicBezTo>
                    <a:pt x="7629" y="5210"/>
                    <a:pt x="7529" y="5244"/>
                    <a:pt x="7428" y="5278"/>
                  </a:cubicBezTo>
                  <a:cubicBezTo>
                    <a:pt x="7293" y="5311"/>
                    <a:pt x="7193" y="5345"/>
                    <a:pt x="7058" y="5378"/>
                  </a:cubicBezTo>
                  <a:cubicBezTo>
                    <a:pt x="6453" y="5580"/>
                    <a:pt x="5882" y="5748"/>
                    <a:pt x="5344" y="5882"/>
                  </a:cubicBezTo>
                  <a:cubicBezTo>
                    <a:pt x="4840" y="5983"/>
                    <a:pt x="4336" y="6051"/>
                    <a:pt x="3899" y="6084"/>
                  </a:cubicBezTo>
                  <a:cubicBezTo>
                    <a:pt x="3428" y="6084"/>
                    <a:pt x="2991" y="6051"/>
                    <a:pt x="2588" y="5950"/>
                  </a:cubicBezTo>
                  <a:cubicBezTo>
                    <a:pt x="2185" y="5849"/>
                    <a:pt x="1782" y="5681"/>
                    <a:pt x="1378" y="5479"/>
                  </a:cubicBezTo>
                  <a:cubicBezTo>
                    <a:pt x="908" y="5177"/>
                    <a:pt x="572" y="4874"/>
                    <a:pt x="336" y="4572"/>
                  </a:cubicBezTo>
                  <a:cubicBezTo>
                    <a:pt x="135" y="4269"/>
                    <a:pt x="34" y="3933"/>
                    <a:pt x="68" y="3597"/>
                  </a:cubicBezTo>
                  <a:cubicBezTo>
                    <a:pt x="68" y="3295"/>
                    <a:pt x="202" y="2959"/>
                    <a:pt x="471" y="2622"/>
                  </a:cubicBezTo>
                  <a:cubicBezTo>
                    <a:pt x="706" y="2320"/>
                    <a:pt x="1042" y="1984"/>
                    <a:pt x="1479" y="1715"/>
                  </a:cubicBezTo>
                  <a:lnTo>
                    <a:pt x="0" y="841"/>
                  </a:lnTo>
                  <a:lnTo>
                    <a:pt x="841" y="337"/>
                  </a:lnTo>
                  <a:lnTo>
                    <a:pt x="2319" y="1211"/>
                  </a:lnTo>
                  <a:cubicBezTo>
                    <a:pt x="2991" y="841"/>
                    <a:pt x="3731" y="606"/>
                    <a:pt x="4470" y="404"/>
                  </a:cubicBezTo>
                  <a:cubicBezTo>
                    <a:pt x="5210" y="203"/>
                    <a:pt x="5915" y="102"/>
                    <a:pt x="6621" y="1"/>
                  </a:cubicBezTo>
                  <a:lnTo>
                    <a:pt x="7361" y="1480"/>
                  </a:lnTo>
                  <a:cubicBezTo>
                    <a:pt x="7226" y="1446"/>
                    <a:pt x="7058" y="1480"/>
                    <a:pt x="6789" y="1513"/>
                  </a:cubicBezTo>
                  <a:cubicBezTo>
                    <a:pt x="6520" y="1547"/>
                    <a:pt x="6251" y="1581"/>
                    <a:pt x="5915" y="1648"/>
                  </a:cubicBezTo>
                  <a:cubicBezTo>
                    <a:pt x="5613" y="1715"/>
                    <a:pt x="5277" y="1816"/>
                    <a:pt x="4941" y="1917"/>
                  </a:cubicBezTo>
                  <a:cubicBezTo>
                    <a:pt x="4605" y="2017"/>
                    <a:pt x="4269" y="2152"/>
                    <a:pt x="3966" y="2286"/>
                  </a:cubicBezTo>
                  <a:lnTo>
                    <a:pt x="6453" y="3732"/>
                  </a:lnTo>
                  <a:lnTo>
                    <a:pt x="6924" y="3597"/>
                  </a:lnTo>
                  <a:cubicBezTo>
                    <a:pt x="7562" y="3362"/>
                    <a:pt x="8167" y="3194"/>
                    <a:pt x="8705" y="3026"/>
                  </a:cubicBezTo>
                  <a:cubicBezTo>
                    <a:pt x="9276" y="2891"/>
                    <a:pt x="9814" y="2790"/>
                    <a:pt x="10318" y="2757"/>
                  </a:cubicBezTo>
                  <a:cubicBezTo>
                    <a:pt x="10856" y="2723"/>
                    <a:pt x="11360" y="2790"/>
                    <a:pt x="11831" y="2858"/>
                  </a:cubicBezTo>
                  <a:cubicBezTo>
                    <a:pt x="12301" y="2959"/>
                    <a:pt x="12772" y="3160"/>
                    <a:pt x="13242" y="3429"/>
                  </a:cubicBezTo>
                  <a:cubicBezTo>
                    <a:pt x="13780" y="3732"/>
                    <a:pt x="14150" y="4068"/>
                    <a:pt x="14351" y="4370"/>
                  </a:cubicBezTo>
                  <a:cubicBezTo>
                    <a:pt x="14519" y="4706"/>
                    <a:pt x="14586" y="5042"/>
                    <a:pt x="14486" y="5378"/>
                  </a:cubicBezTo>
                  <a:cubicBezTo>
                    <a:pt x="14418" y="5681"/>
                    <a:pt x="14217" y="6017"/>
                    <a:pt x="13914" y="6319"/>
                  </a:cubicBezTo>
                  <a:cubicBezTo>
                    <a:pt x="13612" y="6655"/>
                    <a:pt x="13242" y="6958"/>
                    <a:pt x="12772" y="7227"/>
                  </a:cubicBezTo>
                  <a:close/>
                  <a:moveTo>
                    <a:pt x="8537" y="4941"/>
                  </a:moveTo>
                  <a:lnTo>
                    <a:pt x="10856" y="6286"/>
                  </a:lnTo>
                  <a:cubicBezTo>
                    <a:pt x="11864" y="5681"/>
                    <a:pt x="12032" y="5177"/>
                    <a:pt x="11326" y="4773"/>
                  </a:cubicBezTo>
                  <a:cubicBezTo>
                    <a:pt x="11024" y="4572"/>
                    <a:pt x="10621" y="4505"/>
                    <a:pt x="10184" y="4572"/>
                  </a:cubicBezTo>
                  <a:cubicBezTo>
                    <a:pt x="9713" y="4605"/>
                    <a:pt x="9175" y="4740"/>
                    <a:pt x="8537" y="4941"/>
                  </a:cubicBezTo>
                  <a:close/>
                  <a:moveTo>
                    <a:pt x="4201" y="4336"/>
                  </a:moveTo>
                  <a:cubicBezTo>
                    <a:pt x="4605" y="4303"/>
                    <a:pt x="5109" y="4168"/>
                    <a:pt x="5680" y="4000"/>
                  </a:cubicBezTo>
                  <a:lnTo>
                    <a:pt x="3328" y="2622"/>
                  </a:lnTo>
                  <a:cubicBezTo>
                    <a:pt x="2487" y="3194"/>
                    <a:pt x="2420" y="3664"/>
                    <a:pt x="3126" y="4101"/>
                  </a:cubicBezTo>
                  <a:cubicBezTo>
                    <a:pt x="3462" y="4269"/>
                    <a:pt x="3798" y="4370"/>
                    <a:pt x="4201" y="4336"/>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96" name="Google Shape;3091;p49"/>
            <p:cNvSpPr/>
            <p:nvPr/>
          </p:nvSpPr>
          <p:spPr>
            <a:xfrm>
              <a:off x="-24854400" y="12397725"/>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97" name="Google Shape;3092;p49"/>
            <p:cNvSpPr/>
            <p:nvPr/>
          </p:nvSpPr>
          <p:spPr>
            <a:xfrm>
              <a:off x="-24830025" y="12440575"/>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98" name="Google Shape;3093;p49"/>
            <p:cNvSpPr/>
            <p:nvPr/>
          </p:nvSpPr>
          <p:spPr>
            <a:xfrm>
              <a:off x="-24805650" y="12483425"/>
              <a:ext cx="0" cy="215125"/>
            </a:xfrm>
            <a:custGeom>
              <a:avLst/>
              <a:gdLst/>
              <a:ahLst/>
              <a:cxnLst/>
              <a:rect l="l" t="t" r="r" b="b"/>
              <a:pathLst>
                <a:path h="8605" fill="none" extrusionOk="0">
                  <a:moveTo>
                    <a:pt x="0" y="1"/>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599" name="Google Shape;3094;p49"/>
            <p:cNvSpPr/>
            <p:nvPr/>
          </p:nvSpPr>
          <p:spPr>
            <a:xfrm>
              <a:off x="-24782125" y="12525450"/>
              <a:ext cx="25" cy="215950"/>
            </a:xfrm>
            <a:custGeom>
              <a:avLst/>
              <a:gdLst/>
              <a:ahLst/>
              <a:cxnLst/>
              <a:rect l="l" t="t" r="r" b="b"/>
              <a:pathLst>
                <a:path w="1" h="8638" fill="none" extrusionOk="0">
                  <a:moveTo>
                    <a:pt x="0" y="0"/>
                  </a:moveTo>
                  <a:lnTo>
                    <a:pt x="0"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00" name="Google Shape;3095;p49"/>
            <p:cNvSpPr/>
            <p:nvPr/>
          </p:nvSpPr>
          <p:spPr>
            <a:xfrm>
              <a:off x="-24757775" y="125204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01" name="Google Shape;3096;p49"/>
            <p:cNvSpPr/>
            <p:nvPr/>
          </p:nvSpPr>
          <p:spPr>
            <a:xfrm>
              <a:off x="-24724150" y="125321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02" name="Google Shape;3097;p49"/>
            <p:cNvSpPr/>
            <p:nvPr/>
          </p:nvSpPr>
          <p:spPr>
            <a:xfrm>
              <a:off x="-24691400" y="125439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03" name="Google Shape;3098;p49"/>
            <p:cNvSpPr/>
            <p:nvPr/>
          </p:nvSpPr>
          <p:spPr>
            <a:xfrm>
              <a:off x="-24657775" y="12555675"/>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04" name="Google Shape;3099;p49"/>
            <p:cNvSpPr/>
            <p:nvPr/>
          </p:nvSpPr>
          <p:spPr>
            <a:xfrm>
              <a:off x="-24624175" y="125666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05" name="Google Shape;3100;p49"/>
            <p:cNvSpPr/>
            <p:nvPr/>
          </p:nvSpPr>
          <p:spPr>
            <a:xfrm>
              <a:off x="-24591400" y="125783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06" name="Google Shape;3101;p49"/>
            <p:cNvSpPr/>
            <p:nvPr/>
          </p:nvSpPr>
          <p:spPr>
            <a:xfrm>
              <a:off x="-24557800" y="12590125"/>
              <a:ext cx="25" cy="215125"/>
            </a:xfrm>
            <a:custGeom>
              <a:avLst/>
              <a:gdLst/>
              <a:ahLst/>
              <a:cxnLst/>
              <a:rect l="l" t="t" r="r" b="b"/>
              <a:pathLst>
                <a:path w="1" h="8605" fill="none" extrusionOk="0">
                  <a:moveTo>
                    <a:pt x="1" y="1"/>
                  </a:moveTo>
                  <a:lnTo>
                    <a:pt x="1"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07" name="Google Shape;3102;p49"/>
            <p:cNvSpPr/>
            <p:nvPr/>
          </p:nvSpPr>
          <p:spPr>
            <a:xfrm>
              <a:off x="-24525025" y="126010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08" name="Google Shape;3103;p49"/>
            <p:cNvSpPr/>
            <p:nvPr/>
          </p:nvSpPr>
          <p:spPr>
            <a:xfrm>
              <a:off x="-24491425" y="126128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09" name="Google Shape;3104;p49"/>
            <p:cNvSpPr/>
            <p:nvPr/>
          </p:nvSpPr>
          <p:spPr>
            <a:xfrm>
              <a:off x="-24458650" y="12624575"/>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10" name="Google Shape;3105;p49"/>
            <p:cNvSpPr/>
            <p:nvPr/>
          </p:nvSpPr>
          <p:spPr>
            <a:xfrm>
              <a:off x="-24425050" y="126044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11" name="Google Shape;3106;p49"/>
            <p:cNvSpPr/>
            <p:nvPr/>
          </p:nvSpPr>
          <p:spPr>
            <a:xfrm>
              <a:off x="-24393125" y="126010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12" name="Google Shape;3107;p49"/>
            <p:cNvSpPr/>
            <p:nvPr/>
          </p:nvSpPr>
          <p:spPr>
            <a:xfrm>
              <a:off x="-24360350" y="125977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13" name="Google Shape;3108;p49"/>
            <p:cNvSpPr/>
            <p:nvPr/>
          </p:nvSpPr>
          <p:spPr>
            <a:xfrm>
              <a:off x="-24328425" y="12595175"/>
              <a:ext cx="25" cy="215125"/>
            </a:xfrm>
            <a:custGeom>
              <a:avLst/>
              <a:gdLst/>
              <a:ahLst/>
              <a:cxnLst/>
              <a:rect l="l" t="t" r="r" b="b"/>
              <a:pathLst>
                <a:path w="1" h="8605" fill="none" extrusionOk="0">
                  <a:moveTo>
                    <a:pt x="1" y="1"/>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14" name="Google Shape;3109;p49"/>
            <p:cNvSpPr/>
            <p:nvPr/>
          </p:nvSpPr>
          <p:spPr>
            <a:xfrm>
              <a:off x="-24295650" y="125918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15" name="Google Shape;3110;p49"/>
            <p:cNvSpPr/>
            <p:nvPr/>
          </p:nvSpPr>
          <p:spPr>
            <a:xfrm>
              <a:off x="-24263725" y="125884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16" name="Google Shape;3111;p49"/>
            <p:cNvSpPr/>
            <p:nvPr/>
          </p:nvSpPr>
          <p:spPr>
            <a:xfrm>
              <a:off x="-24231800" y="125851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17" name="Google Shape;3112;p49"/>
            <p:cNvSpPr/>
            <p:nvPr/>
          </p:nvSpPr>
          <p:spPr>
            <a:xfrm>
              <a:off x="-24199025" y="125817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18" name="Google Shape;3113;p49"/>
            <p:cNvSpPr/>
            <p:nvPr/>
          </p:nvSpPr>
          <p:spPr>
            <a:xfrm>
              <a:off x="-24167100" y="12527125"/>
              <a:ext cx="25" cy="215125"/>
            </a:xfrm>
            <a:custGeom>
              <a:avLst/>
              <a:gdLst/>
              <a:ahLst/>
              <a:cxnLst/>
              <a:rect l="l" t="t" r="r" b="b"/>
              <a:pathLst>
                <a:path w="1" h="8605"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19" name="Google Shape;3114;p49"/>
            <p:cNvSpPr/>
            <p:nvPr/>
          </p:nvSpPr>
          <p:spPr>
            <a:xfrm>
              <a:off x="-24136000" y="124716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20" name="Google Shape;3115;p49"/>
            <p:cNvSpPr/>
            <p:nvPr/>
          </p:nvSpPr>
          <p:spPr>
            <a:xfrm>
              <a:off x="-24104075" y="124431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21" name="Google Shape;3116;p49"/>
            <p:cNvSpPr/>
            <p:nvPr/>
          </p:nvSpPr>
          <p:spPr>
            <a:xfrm>
              <a:off x="-24072150" y="124506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22" name="Google Shape;3117;p49"/>
            <p:cNvSpPr/>
            <p:nvPr/>
          </p:nvSpPr>
          <p:spPr>
            <a:xfrm>
              <a:off x="-24039375" y="124582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23" name="Google Shape;3118;p49"/>
            <p:cNvSpPr/>
            <p:nvPr/>
          </p:nvSpPr>
          <p:spPr>
            <a:xfrm>
              <a:off x="-24014175" y="124010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24" name="Google Shape;3119;p49"/>
            <p:cNvSpPr/>
            <p:nvPr/>
          </p:nvSpPr>
          <p:spPr>
            <a:xfrm>
              <a:off x="-24872050" y="12174225"/>
              <a:ext cx="862925" cy="339475"/>
            </a:xfrm>
            <a:custGeom>
              <a:avLst/>
              <a:gdLst/>
              <a:ahLst/>
              <a:cxnLst/>
              <a:rect l="l" t="t" r="r" b="b"/>
              <a:pathLst>
                <a:path w="34517" h="13579" extrusionOk="0">
                  <a:moveTo>
                    <a:pt x="34517" y="236"/>
                  </a:moveTo>
                  <a:cubicBezTo>
                    <a:pt x="34517" y="572"/>
                    <a:pt x="34483" y="908"/>
                    <a:pt x="34416" y="1244"/>
                  </a:cubicBezTo>
                  <a:cubicBezTo>
                    <a:pt x="34349" y="1580"/>
                    <a:pt x="34248" y="1883"/>
                    <a:pt x="34147" y="2219"/>
                  </a:cubicBezTo>
                  <a:cubicBezTo>
                    <a:pt x="34013" y="2555"/>
                    <a:pt x="33845" y="2857"/>
                    <a:pt x="33677" y="3193"/>
                  </a:cubicBezTo>
                  <a:cubicBezTo>
                    <a:pt x="33475" y="3530"/>
                    <a:pt x="33240" y="3899"/>
                    <a:pt x="32971" y="4235"/>
                  </a:cubicBezTo>
                  <a:cubicBezTo>
                    <a:pt x="32669" y="4605"/>
                    <a:pt x="32299" y="5008"/>
                    <a:pt x="31896" y="5378"/>
                  </a:cubicBezTo>
                  <a:cubicBezTo>
                    <a:pt x="31291" y="5949"/>
                    <a:pt x="30551" y="6487"/>
                    <a:pt x="29711" y="6991"/>
                  </a:cubicBezTo>
                  <a:cubicBezTo>
                    <a:pt x="29644" y="7025"/>
                    <a:pt x="29577" y="7092"/>
                    <a:pt x="29509" y="7126"/>
                  </a:cubicBezTo>
                  <a:cubicBezTo>
                    <a:pt x="28367" y="7798"/>
                    <a:pt x="27090" y="8336"/>
                    <a:pt x="25712" y="8773"/>
                  </a:cubicBezTo>
                  <a:cubicBezTo>
                    <a:pt x="24670" y="9142"/>
                    <a:pt x="23594" y="9411"/>
                    <a:pt x="22452" y="9613"/>
                  </a:cubicBezTo>
                  <a:cubicBezTo>
                    <a:pt x="21746" y="9747"/>
                    <a:pt x="21006" y="9848"/>
                    <a:pt x="20267" y="9915"/>
                  </a:cubicBezTo>
                  <a:cubicBezTo>
                    <a:pt x="19628" y="9982"/>
                    <a:pt x="18990" y="10016"/>
                    <a:pt x="18351" y="10050"/>
                  </a:cubicBezTo>
                  <a:cubicBezTo>
                    <a:pt x="17746" y="10050"/>
                    <a:pt x="17175" y="10050"/>
                    <a:pt x="16570" y="10050"/>
                  </a:cubicBezTo>
                  <a:cubicBezTo>
                    <a:pt x="15999" y="10016"/>
                    <a:pt x="15427" y="9982"/>
                    <a:pt x="14856" y="9949"/>
                  </a:cubicBezTo>
                  <a:cubicBezTo>
                    <a:pt x="14318" y="9915"/>
                    <a:pt x="13747" y="9848"/>
                    <a:pt x="13209" y="9747"/>
                  </a:cubicBezTo>
                  <a:cubicBezTo>
                    <a:pt x="12604" y="9680"/>
                    <a:pt x="12033" y="9579"/>
                    <a:pt x="11495" y="9478"/>
                  </a:cubicBezTo>
                  <a:cubicBezTo>
                    <a:pt x="10890" y="9344"/>
                    <a:pt x="10285" y="9176"/>
                    <a:pt x="9680" y="9008"/>
                  </a:cubicBezTo>
                  <a:cubicBezTo>
                    <a:pt x="8974" y="8806"/>
                    <a:pt x="8269" y="8571"/>
                    <a:pt x="7597" y="8302"/>
                  </a:cubicBezTo>
                  <a:cubicBezTo>
                    <a:pt x="6723" y="7966"/>
                    <a:pt x="5882" y="7563"/>
                    <a:pt x="5109" y="7126"/>
                  </a:cubicBezTo>
                  <a:cubicBezTo>
                    <a:pt x="1681" y="5143"/>
                    <a:pt x="1" y="2589"/>
                    <a:pt x="1" y="1"/>
                  </a:cubicBezTo>
                  <a:lnTo>
                    <a:pt x="1" y="3530"/>
                  </a:lnTo>
                  <a:cubicBezTo>
                    <a:pt x="1" y="6084"/>
                    <a:pt x="1681" y="8672"/>
                    <a:pt x="5076" y="10655"/>
                  </a:cubicBezTo>
                  <a:cubicBezTo>
                    <a:pt x="5882" y="11092"/>
                    <a:pt x="6689" y="11495"/>
                    <a:pt x="7597" y="11831"/>
                  </a:cubicBezTo>
                  <a:cubicBezTo>
                    <a:pt x="8269" y="12100"/>
                    <a:pt x="8974" y="12335"/>
                    <a:pt x="9680" y="12537"/>
                  </a:cubicBezTo>
                  <a:cubicBezTo>
                    <a:pt x="10252" y="12705"/>
                    <a:pt x="10857" y="12839"/>
                    <a:pt x="11462" y="12974"/>
                  </a:cubicBezTo>
                  <a:cubicBezTo>
                    <a:pt x="12033" y="13108"/>
                    <a:pt x="12604" y="13209"/>
                    <a:pt x="13176" y="13276"/>
                  </a:cubicBezTo>
                  <a:cubicBezTo>
                    <a:pt x="13747" y="13343"/>
                    <a:pt x="14285" y="13411"/>
                    <a:pt x="14856" y="13478"/>
                  </a:cubicBezTo>
                  <a:cubicBezTo>
                    <a:pt x="15427" y="13511"/>
                    <a:pt x="15999" y="13545"/>
                    <a:pt x="16570" y="13545"/>
                  </a:cubicBezTo>
                  <a:cubicBezTo>
                    <a:pt x="17141" y="13579"/>
                    <a:pt x="17746" y="13579"/>
                    <a:pt x="18318" y="13545"/>
                  </a:cubicBezTo>
                  <a:cubicBezTo>
                    <a:pt x="18990" y="13545"/>
                    <a:pt x="19628" y="13478"/>
                    <a:pt x="20233" y="13411"/>
                  </a:cubicBezTo>
                  <a:cubicBezTo>
                    <a:pt x="21006" y="13343"/>
                    <a:pt x="21712" y="13242"/>
                    <a:pt x="22452" y="13108"/>
                  </a:cubicBezTo>
                  <a:cubicBezTo>
                    <a:pt x="23561" y="12906"/>
                    <a:pt x="24670" y="12638"/>
                    <a:pt x="25712" y="12301"/>
                  </a:cubicBezTo>
                  <a:cubicBezTo>
                    <a:pt x="27090" y="11865"/>
                    <a:pt x="28367" y="11293"/>
                    <a:pt x="29509" y="10655"/>
                  </a:cubicBezTo>
                  <a:cubicBezTo>
                    <a:pt x="29577" y="10587"/>
                    <a:pt x="29644" y="10554"/>
                    <a:pt x="29711" y="10520"/>
                  </a:cubicBezTo>
                  <a:cubicBezTo>
                    <a:pt x="30551" y="10016"/>
                    <a:pt x="31291" y="9478"/>
                    <a:pt x="31896" y="8907"/>
                  </a:cubicBezTo>
                  <a:cubicBezTo>
                    <a:pt x="32299" y="8504"/>
                    <a:pt x="32669" y="8134"/>
                    <a:pt x="32971" y="7731"/>
                  </a:cubicBezTo>
                  <a:cubicBezTo>
                    <a:pt x="33240" y="7395"/>
                    <a:pt x="33475" y="7058"/>
                    <a:pt x="33677" y="6722"/>
                  </a:cubicBezTo>
                  <a:cubicBezTo>
                    <a:pt x="33845" y="6386"/>
                    <a:pt x="34013" y="6050"/>
                    <a:pt x="34114" y="5714"/>
                  </a:cubicBezTo>
                  <a:cubicBezTo>
                    <a:pt x="34248" y="5412"/>
                    <a:pt x="34349" y="5076"/>
                    <a:pt x="34416" y="4739"/>
                  </a:cubicBezTo>
                  <a:cubicBezTo>
                    <a:pt x="34483" y="4437"/>
                    <a:pt x="34517" y="4101"/>
                    <a:pt x="34517" y="3765"/>
                  </a:cubicBezTo>
                  <a:cubicBezTo>
                    <a:pt x="34517" y="3731"/>
                    <a:pt x="34517" y="3664"/>
                    <a:pt x="34517" y="3630"/>
                  </a:cubicBezTo>
                  <a:lnTo>
                    <a:pt x="34517" y="101"/>
                  </a:lnTo>
                  <a:cubicBezTo>
                    <a:pt x="34517" y="135"/>
                    <a:pt x="34517" y="202"/>
                    <a:pt x="34517" y="236"/>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25" name="Google Shape;3120;p49"/>
            <p:cNvSpPr/>
            <p:nvPr/>
          </p:nvSpPr>
          <p:spPr>
            <a:xfrm>
              <a:off x="-24914900" y="11901150"/>
              <a:ext cx="948625" cy="548700"/>
            </a:xfrm>
            <a:custGeom>
              <a:avLst/>
              <a:gdLst/>
              <a:ahLst/>
              <a:cxnLst/>
              <a:rect l="l" t="t" r="r" b="b"/>
              <a:pathLst>
                <a:path w="37945" h="21948" extrusionOk="0">
                  <a:moveTo>
                    <a:pt x="31156" y="3899"/>
                  </a:moveTo>
                  <a:cubicBezTo>
                    <a:pt x="37911" y="7798"/>
                    <a:pt x="37945" y="14150"/>
                    <a:pt x="31223" y="18049"/>
                  </a:cubicBezTo>
                  <a:cubicBezTo>
                    <a:pt x="24502" y="21947"/>
                    <a:pt x="13579" y="21947"/>
                    <a:pt x="6823" y="18049"/>
                  </a:cubicBezTo>
                  <a:cubicBezTo>
                    <a:pt x="35" y="14150"/>
                    <a:pt x="1" y="7798"/>
                    <a:pt x="6723" y="3899"/>
                  </a:cubicBezTo>
                  <a:cubicBezTo>
                    <a:pt x="13444" y="1"/>
                    <a:pt x="24367" y="1"/>
                    <a:pt x="31156" y="389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26" name="Google Shape;3121;p49"/>
            <p:cNvSpPr/>
            <p:nvPr/>
          </p:nvSpPr>
          <p:spPr>
            <a:xfrm>
              <a:off x="-24855225" y="11935600"/>
              <a:ext cx="829300" cy="479800"/>
            </a:xfrm>
            <a:custGeom>
              <a:avLst/>
              <a:gdLst/>
              <a:ahLst/>
              <a:cxnLst/>
              <a:rect l="l" t="t" r="r" b="b"/>
              <a:pathLst>
                <a:path w="33172" h="19192" extrusionOk="0">
                  <a:moveTo>
                    <a:pt x="27223" y="3429"/>
                  </a:moveTo>
                  <a:cubicBezTo>
                    <a:pt x="33138" y="6823"/>
                    <a:pt x="33172" y="12369"/>
                    <a:pt x="27290" y="15797"/>
                  </a:cubicBezTo>
                  <a:cubicBezTo>
                    <a:pt x="21409" y="19191"/>
                    <a:pt x="11864" y="19191"/>
                    <a:pt x="5949" y="15797"/>
                  </a:cubicBezTo>
                  <a:cubicBezTo>
                    <a:pt x="34" y="12369"/>
                    <a:pt x="0" y="6823"/>
                    <a:pt x="5882" y="3429"/>
                  </a:cubicBezTo>
                  <a:cubicBezTo>
                    <a:pt x="11763" y="1"/>
                    <a:pt x="21308" y="1"/>
                    <a:pt x="27223" y="342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27" name="Google Shape;3122;p49"/>
            <p:cNvSpPr/>
            <p:nvPr/>
          </p:nvSpPr>
          <p:spPr>
            <a:xfrm>
              <a:off x="-24625850" y="12047350"/>
              <a:ext cx="364675" cy="227725"/>
            </a:xfrm>
            <a:custGeom>
              <a:avLst/>
              <a:gdLst/>
              <a:ahLst/>
              <a:cxnLst/>
              <a:rect l="l" t="t" r="r" b="b"/>
              <a:pathLst>
                <a:path w="14587" h="9109" extrusionOk="0">
                  <a:moveTo>
                    <a:pt x="12772" y="7227"/>
                  </a:moveTo>
                  <a:lnTo>
                    <a:pt x="14385" y="8134"/>
                  </a:lnTo>
                  <a:lnTo>
                    <a:pt x="13511" y="8638"/>
                  </a:lnTo>
                  <a:lnTo>
                    <a:pt x="11898" y="7697"/>
                  </a:lnTo>
                  <a:cubicBezTo>
                    <a:pt x="11192" y="8067"/>
                    <a:pt x="10385" y="8369"/>
                    <a:pt x="9512" y="8605"/>
                  </a:cubicBezTo>
                  <a:cubicBezTo>
                    <a:pt x="8638" y="8840"/>
                    <a:pt x="7764" y="9008"/>
                    <a:pt x="6890" y="9109"/>
                  </a:cubicBezTo>
                  <a:lnTo>
                    <a:pt x="6050" y="7596"/>
                  </a:lnTo>
                  <a:cubicBezTo>
                    <a:pt x="6184" y="7596"/>
                    <a:pt x="6453" y="7596"/>
                    <a:pt x="6756" y="7563"/>
                  </a:cubicBezTo>
                  <a:cubicBezTo>
                    <a:pt x="7058" y="7495"/>
                    <a:pt x="7394" y="7462"/>
                    <a:pt x="7797" y="7361"/>
                  </a:cubicBezTo>
                  <a:cubicBezTo>
                    <a:pt x="8167" y="7294"/>
                    <a:pt x="8604" y="7193"/>
                    <a:pt x="9007" y="7059"/>
                  </a:cubicBezTo>
                  <a:cubicBezTo>
                    <a:pt x="9444" y="6924"/>
                    <a:pt x="9848" y="6790"/>
                    <a:pt x="10251" y="6588"/>
                  </a:cubicBezTo>
                  <a:lnTo>
                    <a:pt x="7730" y="5143"/>
                  </a:lnTo>
                  <a:cubicBezTo>
                    <a:pt x="7629" y="5210"/>
                    <a:pt x="7529" y="5244"/>
                    <a:pt x="7428" y="5277"/>
                  </a:cubicBezTo>
                  <a:cubicBezTo>
                    <a:pt x="7293" y="5311"/>
                    <a:pt x="7193" y="5345"/>
                    <a:pt x="7058" y="5378"/>
                  </a:cubicBezTo>
                  <a:cubicBezTo>
                    <a:pt x="6453" y="5580"/>
                    <a:pt x="5882" y="5748"/>
                    <a:pt x="5344" y="5849"/>
                  </a:cubicBezTo>
                  <a:cubicBezTo>
                    <a:pt x="4840" y="5983"/>
                    <a:pt x="4336" y="6050"/>
                    <a:pt x="3899" y="6050"/>
                  </a:cubicBezTo>
                  <a:cubicBezTo>
                    <a:pt x="3428" y="6084"/>
                    <a:pt x="2991" y="6017"/>
                    <a:pt x="2588" y="5949"/>
                  </a:cubicBezTo>
                  <a:cubicBezTo>
                    <a:pt x="2185" y="5849"/>
                    <a:pt x="1782" y="5681"/>
                    <a:pt x="1378" y="5445"/>
                  </a:cubicBezTo>
                  <a:cubicBezTo>
                    <a:pt x="908" y="5176"/>
                    <a:pt x="572" y="4874"/>
                    <a:pt x="336" y="4572"/>
                  </a:cubicBezTo>
                  <a:cubicBezTo>
                    <a:pt x="135" y="4235"/>
                    <a:pt x="34" y="3899"/>
                    <a:pt x="68" y="3597"/>
                  </a:cubicBezTo>
                  <a:cubicBezTo>
                    <a:pt x="68" y="3261"/>
                    <a:pt x="202" y="2925"/>
                    <a:pt x="471" y="2622"/>
                  </a:cubicBezTo>
                  <a:cubicBezTo>
                    <a:pt x="706" y="2286"/>
                    <a:pt x="1042" y="1984"/>
                    <a:pt x="1479" y="1681"/>
                  </a:cubicBezTo>
                  <a:lnTo>
                    <a:pt x="0" y="841"/>
                  </a:lnTo>
                  <a:lnTo>
                    <a:pt x="841" y="337"/>
                  </a:lnTo>
                  <a:lnTo>
                    <a:pt x="2319" y="1177"/>
                  </a:lnTo>
                  <a:cubicBezTo>
                    <a:pt x="2991" y="841"/>
                    <a:pt x="3731" y="572"/>
                    <a:pt x="4470" y="370"/>
                  </a:cubicBezTo>
                  <a:cubicBezTo>
                    <a:pt x="5210" y="202"/>
                    <a:pt x="5915" y="68"/>
                    <a:pt x="6621" y="1"/>
                  </a:cubicBezTo>
                  <a:lnTo>
                    <a:pt x="7361" y="1446"/>
                  </a:lnTo>
                  <a:cubicBezTo>
                    <a:pt x="7226" y="1446"/>
                    <a:pt x="7058" y="1446"/>
                    <a:pt x="6789" y="1480"/>
                  </a:cubicBezTo>
                  <a:cubicBezTo>
                    <a:pt x="6520" y="1513"/>
                    <a:pt x="6251" y="1580"/>
                    <a:pt x="5915" y="1648"/>
                  </a:cubicBezTo>
                  <a:cubicBezTo>
                    <a:pt x="5613" y="1715"/>
                    <a:pt x="5277" y="1816"/>
                    <a:pt x="4941" y="1916"/>
                  </a:cubicBezTo>
                  <a:cubicBezTo>
                    <a:pt x="4605" y="2017"/>
                    <a:pt x="4269" y="2118"/>
                    <a:pt x="3966" y="2286"/>
                  </a:cubicBezTo>
                  <a:lnTo>
                    <a:pt x="6453" y="3731"/>
                  </a:lnTo>
                  <a:lnTo>
                    <a:pt x="6924" y="3563"/>
                  </a:lnTo>
                  <a:cubicBezTo>
                    <a:pt x="7562" y="3362"/>
                    <a:pt x="8167" y="3160"/>
                    <a:pt x="8705" y="3026"/>
                  </a:cubicBezTo>
                  <a:cubicBezTo>
                    <a:pt x="9276" y="2857"/>
                    <a:pt x="9814" y="2790"/>
                    <a:pt x="10318" y="2757"/>
                  </a:cubicBezTo>
                  <a:cubicBezTo>
                    <a:pt x="10856" y="2723"/>
                    <a:pt x="11360" y="2757"/>
                    <a:pt x="11831" y="2857"/>
                  </a:cubicBezTo>
                  <a:cubicBezTo>
                    <a:pt x="12301" y="2958"/>
                    <a:pt x="12772" y="3126"/>
                    <a:pt x="13242" y="3429"/>
                  </a:cubicBezTo>
                  <a:cubicBezTo>
                    <a:pt x="13780" y="3731"/>
                    <a:pt x="14150" y="4034"/>
                    <a:pt x="14351" y="4370"/>
                  </a:cubicBezTo>
                  <a:cubicBezTo>
                    <a:pt x="14519" y="4706"/>
                    <a:pt x="14586" y="5008"/>
                    <a:pt x="14486" y="5345"/>
                  </a:cubicBezTo>
                  <a:cubicBezTo>
                    <a:pt x="14418" y="5681"/>
                    <a:pt x="14217" y="5983"/>
                    <a:pt x="13914" y="6319"/>
                  </a:cubicBezTo>
                  <a:cubicBezTo>
                    <a:pt x="13612" y="6622"/>
                    <a:pt x="13242" y="6924"/>
                    <a:pt x="12772" y="7227"/>
                  </a:cubicBezTo>
                  <a:close/>
                  <a:moveTo>
                    <a:pt x="8537" y="4908"/>
                  </a:moveTo>
                  <a:lnTo>
                    <a:pt x="10856" y="6252"/>
                  </a:lnTo>
                  <a:cubicBezTo>
                    <a:pt x="11864" y="5647"/>
                    <a:pt x="12032" y="5143"/>
                    <a:pt x="11326" y="4773"/>
                  </a:cubicBezTo>
                  <a:cubicBezTo>
                    <a:pt x="11024" y="4572"/>
                    <a:pt x="10621" y="4504"/>
                    <a:pt x="10184" y="4538"/>
                  </a:cubicBezTo>
                  <a:cubicBezTo>
                    <a:pt x="9713" y="4605"/>
                    <a:pt x="9175" y="4740"/>
                    <a:pt x="8537" y="4908"/>
                  </a:cubicBezTo>
                  <a:close/>
                  <a:moveTo>
                    <a:pt x="4201" y="4303"/>
                  </a:moveTo>
                  <a:cubicBezTo>
                    <a:pt x="4605" y="4269"/>
                    <a:pt x="5109" y="4168"/>
                    <a:pt x="5680" y="3967"/>
                  </a:cubicBezTo>
                  <a:lnTo>
                    <a:pt x="3328" y="2622"/>
                  </a:lnTo>
                  <a:cubicBezTo>
                    <a:pt x="2487" y="3194"/>
                    <a:pt x="2420" y="3664"/>
                    <a:pt x="3126" y="4067"/>
                  </a:cubicBezTo>
                  <a:cubicBezTo>
                    <a:pt x="3462" y="4269"/>
                    <a:pt x="3798" y="4336"/>
                    <a:pt x="4201" y="4303"/>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28" name="Google Shape;3123;p49"/>
            <p:cNvSpPr/>
            <p:nvPr/>
          </p:nvSpPr>
          <p:spPr>
            <a:xfrm>
              <a:off x="-24854400" y="121834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29" name="Google Shape;3124;p49"/>
            <p:cNvSpPr/>
            <p:nvPr/>
          </p:nvSpPr>
          <p:spPr>
            <a:xfrm>
              <a:off x="-24830025" y="12226325"/>
              <a:ext cx="25" cy="215125"/>
            </a:xfrm>
            <a:custGeom>
              <a:avLst/>
              <a:gdLst/>
              <a:ahLst/>
              <a:cxnLst/>
              <a:rect l="l" t="t" r="r" b="b"/>
              <a:pathLst>
                <a:path w="1" h="8605"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30" name="Google Shape;3125;p49"/>
            <p:cNvSpPr/>
            <p:nvPr/>
          </p:nvSpPr>
          <p:spPr>
            <a:xfrm>
              <a:off x="-24805650" y="12268325"/>
              <a:ext cx="0" cy="215975"/>
            </a:xfrm>
            <a:custGeom>
              <a:avLst/>
              <a:gdLst/>
              <a:ahLst/>
              <a:cxnLst/>
              <a:rect l="l" t="t" r="r" b="b"/>
              <a:pathLst>
                <a:path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31" name="Google Shape;3126;p49"/>
            <p:cNvSpPr/>
            <p:nvPr/>
          </p:nvSpPr>
          <p:spPr>
            <a:xfrm>
              <a:off x="-24782125" y="123111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32" name="Google Shape;3127;p49"/>
            <p:cNvSpPr/>
            <p:nvPr/>
          </p:nvSpPr>
          <p:spPr>
            <a:xfrm>
              <a:off x="-24757775" y="123061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33" name="Google Shape;3128;p49"/>
            <p:cNvSpPr/>
            <p:nvPr/>
          </p:nvSpPr>
          <p:spPr>
            <a:xfrm>
              <a:off x="-24724150" y="123179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34" name="Google Shape;3129;p49"/>
            <p:cNvSpPr/>
            <p:nvPr/>
          </p:nvSpPr>
          <p:spPr>
            <a:xfrm>
              <a:off x="-24691400" y="123288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35" name="Google Shape;3130;p49"/>
            <p:cNvSpPr/>
            <p:nvPr/>
          </p:nvSpPr>
          <p:spPr>
            <a:xfrm>
              <a:off x="-24657775" y="123406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36" name="Google Shape;3131;p49"/>
            <p:cNvSpPr/>
            <p:nvPr/>
          </p:nvSpPr>
          <p:spPr>
            <a:xfrm>
              <a:off x="-24624175" y="123523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37" name="Google Shape;3132;p49"/>
            <p:cNvSpPr/>
            <p:nvPr/>
          </p:nvSpPr>
          <p:spPr>
            <a:xfrm>
              <a:off x="-24591400" y="12363275"/>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38" name="Google Shape;3133;p49"/>
            <p:cNvSpPr/>
            <p:nvPr/>
          </p:nvSpPr>
          <p:spPr>
            <a:xfrm>
              <a:off x="-24557800" y="123750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39" name="Google Shape;3134;p49"/>
            <p:cNvSpPr/>
            <p:nvPr/>
          </p:nvSpPr>
          <p:spPr>
            <a:xfrm>
              <a:off x="-24525025" y="123868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40" name="Google Shape;3135;p49"/>
            <p:cNvSpPr/>
            <p:nvPr/>
          </p:nvSpPr>
          <p:spPr>
            <a:xfrm>
              <a:off x="-24491425" y="12398575"/>
              <a:ext cx="25" cy="215100"/>
            </a:xfrm>
            <a:custGeom>
              <a:avLst/>
              <a:gdLst/>
              <a:ahLst/>
              <a:cxnLst/>
              <a:rect l="l" t="t" r="r" b="b"/>
              <a:pathLst>
                <a:path w="1" h="8604"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41" name="Google Shape;3136;p49"/>
            <p:cNvSpPr/>
            <p:nvPr/>
          </p:nvSpPr>
          <p:spPr>
            <a:xfrm>
              <a:off x="-24458650" y="124095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42" name="Google Shape;3137;p49"/>
            <p:cNvSpPr/>
            <p:nvPr/>
          </p:nvSpPr>
          <p:spPr>
            <a:xfrm>
              <a:off x="-24425050" y="123901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43" name="Google Shape;3138;p49"/>
            <p:cNvSpPr/>
            <p:nvPr/>
          </p:nvSpPr>
          <p:spPr>
            <a:xfrm>
              <a:off x="-24393125" y="123868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44" name="Google Shape;3139;p49"/>
            <p:cNvSpPr/>
            <p:nvPr/>
          </p:nvSpPr>
          <p:spPr>
            <a:xfrm>
              <a:off x="-24360350" y="123834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45" name="Google Shape;3140;p49"/>
            <p:cNvSpPr/>
            <p:nvPr/>
          </p:nvSpPr>
          <p:spPr>
            <a:xfrm>
              <a:off x="-24328425" y="1238007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46" name="Google Shape;3141;p49"/>
            <p:cNvSpPr/>
            <p:nvPr/>
          </p:nvSpPr>
          <p:spPr>
            <a:xfrm>
              <a:off x="-24295650" y="123767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47" name="Google Shape;3142;p49"/>
            <p:cNvSpPr/>
            <p:nvPr/>
          </p:nvSpPr>
          <p:spPr>
            <a:xfrm>
              <a:off x="-24263725" y="123733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48" name="Google Shape;3143;p49"/>
            <p:cNvSpPr/>
            <p:nvPr/>
          </p:nvSpPr>
          <p:spPr>
            <a:xfrm>
              <a:off x="-24231800" y="12370850"/>
              <a:ext cx="25" cy="215100"/>
            </a:xfrm>
            <a:custGeom>
              <a:avLst/>
              <a:gdLst/>
              <a:ahLst/>
              <a:cxnLst/>
              <a:rect l="l" t="t" r="r" b="b"/>
              <a:pathLst>
                <a:path w="1" h="8604"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49" name="Google Shape;3144;p49"/>
            <p:cNvSpPr/>
            <p:nvPr/>
          </p:nvSpPr>
          <p:spPr>
            <a:xfrm>
              <a:off x="-24199025" y="123674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50" name="Google Shape;3145;p49"/>
            <p:cNvSpPr/>
            <p:nvPr/>
          </p:nvSpPr>
          <p:spPr>
            <a:xfrm>
              <a:off x="-24167100" y="123120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51" name="Google Shape;3146;p49"/>
            <p:cNvSpPr/>
            <p:nvPr/>
          </p:nvSpPr>
          <p:spPr>
            <a:xfrm>
              <a:off x="-24136000" y="122574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52" name="Google Shape;3147;p49"/>
            <p:cNvSpPr/>
            <p:nvPr/>
          </p:nvSpPr>
          <p:spPr>
            <a:xfrm>
              <a:off x="-24104075" y="12228850"/>
              <a:ext cx="25" cy="215100"/>
            </a:xfrm>
            <a:custGeom>
              <a:avLst/>
              <a:gdLst/>
              <a:ahLst/>
              <a:cxnLst/>
              <a:rect l="l" t="t" r="r" b="b"/>
              <a:pathLst>
                <a:path w="1" h="8604"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53" name="Google Shape;3148;p49"/>
            <p:cNvSpPr/>
            <p:nvPr/>
          </p:nvSpPr>
          <p:spPr>
            <a:xfrm>
              <a:off x="-24072150" y="122355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54" name="Google Shape;3149;p49"/>
            <p:cNvSpPr/>
            <p:nvPr/>
          </p:nvSpPr>
          <p:spPr>
            <a:xfrm>
              <a:off x="-24039375" y="12243125"/>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55" name="Google Shape;3150;p49"/>
            <p:cNvSpPr/>
            <p:nvPr/>
          </p:nvSpPr>
          <p:spPr>
            <a:xfrm>
              <a:off x="-24014175" y="121868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56" name="Google Shape;3151;p49"/>
            <p:cNvSpPr/>
            <p:nvPr/>
          </p:nvSpPr>
          <p:spPr>
            <a:xfrm>
              <a:off x="-24872050" y="11987700"/>
              <a:ext cx="862925" cy="339475"/>
            </a:xfrm>
            <a:custGeom>
              <a:avLst/>
              <a:gdLst/>
              <a:ahLst/>
              <a:cxnLst/>
              <a:rect l="l" t="t" r="r" b="b"/>
              <a:pathLst>
                <a:path w="34517" h="13579" extrusionOk="0">
                  <a:moveTo>
                    <a:pt x="34517" y="236"/>
                  </a:moveTo>
                  <a:cubicBezTo>
                    <a:pt x="34517" y="572"/>
                    <a:pt x="34483" y="908"/>
                    <a:pt x="34416" y="1244"/>
                  </a:cubicBezTo>
                  <a:cubicBezTo>
                    <a:pt x="34349" y="1580"/>
                    <a:pt x="34248" y="1883"/>
                    <a:pt x="34147" y="2219"/>
                  </a:cubicBezTo>
                  <a:cubicBezTo>
                    <a:pt x="34013" y="2555"/>
                    <a:pt x="33845" y="2857"/>
                    <a:pt x="33677" y="3193"/>
                  </a:cubicBezTo>
                  <a:cubicBezTo>
                    <a:pt x="33475" y="3529"/>
                    <a:pt x="33240" y="3899"/>
                    <a:pt x="32971" y="4235"/>
                  </a:cubicBezTo>
                  <a:cubicBezTo>
                    <a:pt x="32669" y="4605"/>
                    <a:pt x="32299" y="5008"/>
                    <a:pt x="31896" y="5378"/>
                  </a:cubicBezTo>
                  <a:cubicBezTo>
                    <a:pt x="31291" y="5949"/>
                    <a:pt x="30551" y="6487"/>
                    <a:pt x="29711" y="6991"/>
                  </a:cubicBezTo>
                  <a:cubicBezTo>
                    <a:pt x="29644" y="7025"/>
                    <a:pt x="29577" y="7092"/>
                    <a:pt x="29509" y="7126"/>
                  </a:cubicBezTo>
                  <a:cubicBezTo>
                    <a:pt x="28367" y="7798"/>
                    <a:pt x="27090" y="8335"/>
                    <a:pt x="25712" y="8772"/>
                  </a:cubicBezTo>
                  <a:cubicBezTo>
                    <a:pt x="24670" y="9142"/>
                    <a:pt x="23594" y="9411"/>
                    <a:pt x="22452" y="9613"/>
                  </a:cubicBezTo>
                  <a:cubicBezTo>
                    <a:pt x="21746" y="9747"/>
                    <a:pt x="21006" y="9848"/>
                    <a:pt x="20267" y="9915"/>
                  </a:cubicBezTo>
                  <a:cubicBezTo>
                    <a:pt x="19628" y="9982"/>
                    <a:pt x="18990" y="10016"/>
                    <a:pt x="18351" y="10050"/>
                  </a:cubicBezTo>
                  <a:cubicBezTo>
                    <a:pt x="17746" y="10050"/>
                    <a:pt x="17175" y="10050"/>
                    <a:pt x="16570" y="10050"/>
                  </a:cubicBezTo>
                  <a:cubicBezTo>
                    <a:pt x="15999" y="10016"/>
                    <a:pt x="15427" y="9982"/>
                    <a:pt x="14856" y="9949"/>
                  </a:cubicBezTo>
                  <a:cubicBezTo>
                    <a:pt x="14318" y="9915"/>
                    <a:pt x="13747" y="9848"/>
                    <a:pt x="13209" y="9747"/>
                  </a:cubicBezTo>
                  <a:cubicBezTo>
                    <a:pt x="12604" y="9680"/>
                    <a:pt x="12033" y="9579"/>
                    <a:pt x="11495" y="9478"/>
                  </a:cubicBezTo>
                  <a:cubicBezTo>
                    <a:pt x="10890" y="9344"/>
                    <a:pt x="10285" y="9176"/>
                    <a:pt x="9680" y="9008"/>
                  </a:cubicBezTo>
                  <a:cubicBezTo>
                    <a:pt x="8974" y="8806"/>
                    <a:pt x="8269" y="8571"/>
                    <a:pt x="7597" y="8302"/>
                  </a:cubicBezTo>
                  <a:cubicBezTo>
                    <a:pt x="6723" y="7966"/>
                    <a:pt x="5882" y="7562"/>
                    <a:pt x="5109" y="7126"/>
                  </a:cubicBezTo>
                  <a:cubicBezTo>
                    <a:pt x="1681" y="5143"/>
                    <a:pt x="1" y="2588"/>
                    <a:pt x="1" y="1"/>
                  </a:cubicBezTo>
                  <a:lnTo>
                    <a:pt x="1" y="3529"/>
                  </a:lnTo>
                  <a:cubicBezTo>
                    <a:pt x="1" y="6084"/>
                    <a:pt x="1681" y="8672"/>
                    <a:pt x="5076" y="10654"/>
                  </a:cubicBezTo>
                  <a:cubicBezTo>
                    <a:pt x="5882" y="11091"/>
                    <a:pt x="6689" y="11495"/>
                    <a:pt x="7597" y="11831"/>
                  </a:cubicBezTo>
                  <a:cubicBezTo>
                    <a:pt x="8269" y="12100"/>
                    <a:pt x="8974" y="12335"/>
                    <a:pt x="9680" y="12537"/>
                  </a:cubicBezTo>
                  <a:cubicBezTo>
                    <a:pt x="10252" y="12705"/>
                    <a:pt x="10857" y="12839"/>
                    <a:pt x="11462" y="12973"/>
                  </a:cubicBezTo>
                  <a:cubicBezTo>
                    <a:pt x="12033" y="13108"/>
                    <a:pt x="12604" y="13209"/>
                    <a:pt x="13176" y="13276"/>
                  </a:cubicBezTo>
                  <a:cubicBezTo>
                    <a:pt x="13747" y="13343"/>
                    <a:pt x="14285" y="13410"/>
                    <a:pt x="14856" y="13478"/>
                  </a:cubicBezTo>
                  <a:cubicBezTo>
                    <a:pt x="15427" y="13511"/>
                    <a:pt x="15999" y="13545"/>
                    <a:pt x="16570" y="13545"/>
                  </a:cubicBezTo>
                  <a:cubicBezTo>
                    <a:pt x="17141" y="13578"/>
                    <a:pt x="17746" y="13578"/>
                    <a:pt x="18318" y="13545"/>
                  </a:cubicBezTo>
                  <a:cubicBezTo>
                    <a:pt x="18990" y="13545"/>
                    <a:pt x="19628" y="13478"/>
                    <a:pt x="20233" y="13410"/>
                  </a:cubicBezTo>
                  <a:cubicBezTo>
                    <a:pt x="21006" y="13343"/>
                    <a:pt x="21712" y="13242"/>
                    <a:pt x="22452" y="13108"/>
                  </a:cubicBezTo>
                  <a:cubicBezTo>
                    <a:pt x="23561" y="12906"/>
                    <a:pt x="24670" y="12637"/>
                    <a:pt x="25712" y="12301"/>
                  </a:cubicBezTo>
                  <a:cubicBezTo>
                    <a:pt x="27090" y="11864"/>
                    <a:pt x="28367" y="11293"/>
                    <a:pt x="29509" y="10654"/>
                  </a:cubicBezTo>
                  <a:cubicBezTo>
                    <a:pt x="29577" y="10587"/>
                    <a:pt x="29644" y="10554"/>
                    <a:pt x="29711" y="10520"/>
                  </a:cubicBezTo>
                  <a:cubicBezTo>
                    <a:pt x="30551" y="10016"/>
                    <a:pt x="31291" y="9478"/>
                    <a:pt x="31896" y="8907"/>
                  </a:cubicBezTo>
                  <a:cubicBezTo>
                    <a:pt x="32299" y="8504"/>
                    <a:pt x="32669" y="8134"/>
                    <a:pt x="32971" y="7731"/>
                  </a:cubicBezTo>
                  <a:cubicBezTo>
                    <a:pt x="33240" y="7394"/>
                    <a:pt x="33475" y="7058"/>
                    <a:pt x="33677" y="6722"/>
                  </a:cubicBezTo>
                  <a:cubicBezTo>
                    <a:pt x="33845" y="6386"/>
                    <a:pt x="34013" y="6050"/>
                    <a:pt x="34114" y="5714"/>
                  </a:cubicBezTo>
                  <a:cubicBezTo>
                    <a:pt x="34248" y="5412"/>
                    <a:pt x="34349" y="5075"/>
                    <a:pt x="34416" y="4739"/>
                  </a:cubicBezTo>
                  <a:cubicBezTo>
                    <a:pt x="34483" y="4437"/>
                    <a:pt x="34517" y="4101"/>
                    <a:pt x="34517" y="3765"/>
                  </a:cubicBezTo>
                  <a:cubicBezTo>
                    <a:pt x="34517" y="3731"/>
                    <a:pt x="34517" y="3664"/>
                    <a:pt x="34517" y="3630"/>
                  </a:cubicBezTo>
                  <a:lnTo>
                    <a:pt x="34517" y="101"/>
                  </a:lnTo>
                  <a:cubicBezTo>
                    <a:pt x="34517" y="135"/>
                    <a:pt x="34517" y="202"/>
                    <a:pt x="34517" y="236"/>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57" name="Google Shape;3152;p49"/>
            <p:cNvSpPr/>
            <p:nvPr/>
          </p:nvSpPr>
          <p:spPr>
            <a:xfrm>
              <a:off x="-24914900" y="11714625"/>
              <a:ext cx="948625" cy="548700"/>
            </a:xfrm>
            <a:custGeom>
              <a:avLst/>
              <a:gdLst/>
              <a:ahLst/>
              <a:cxnLst/>
              <a:rect l="l" t="t" r="r" b="b"/>
              <a:pathLst>
                <a:path w="37945" h="21948" extrusionOk="0">
                  <a:moveTo>
                    <a:pt x="31156" y="3899"/>
                  </a:moveTo>
                  <a:cubicBezTo>
                    <a:pt x="37911" y="7798"/>
                    <a:pt x="37945" y="14116"/>
                    <a:pt x="31223" y="18049"/>
                  </a:cubicBezTo>
                  <a:cubicBezTo>
                    <a:pt x="24502" y="21947"/>
                    <a:pt x="13579" y="21947"/>
                    <a:pt x="6823" y="18049"/>
                  </a:cubicBezTo>
                  <a:cubicBezTo>
                    <a:pt x="35" y="14150"/>
                    <a:pt x="1" y="7798"/>
                    <a:pt x="6723" y="3899"/>
                  </a:cubicBezTo>
                  <a:cubicBezTo>
                    <a:pt x="13444" y="1"/>
                    <a:pt x="24367" y="1"/>
                    <a:pt x="31156" y="389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58" name="Google Shape;3153;p49"/>
            <p:cNvSpPr/>
            <p:nvPr/>
          </p:nvSpPr>
          <p:spPr>
            <a:xfrm>
              <a:off x="-24855225" y="11749075"/>
              <a:ext cx="829300" cy="479800"/>
            </a:xfrm>
            <a:custGeom>
              <a:avLst/>
              <a:gdLst/>
              <a:ahLst/>
              <a:cxnLst/>
              <a:rect l="l" t="t" r="r" b="b"/>
              <a:pathLst>
                <a:path w="33172" h="19192" extrusionOk="0">
                  <a:moveTo>
                    <a:pt x="27223" y="3395"/>
                  </a:moveTo>
                  <a:cubicBezTo>
                    <a:pt x="33138" y="6823"/>
                    <a:pt x="33172" y="12369"/>
                    <a:pt x="27290" y="15763"/>
                  </a:cubicBezTo>
                  <a:cubicBezTo>
                    <a:pt x="21409" y="19191"/>
                    <a:pt x="11864" y="19191"/>
                    <a:pt x="5949" y="15797"/>
                  </a:cubicBezTo>
                  <a:cubicBezTo>
                    <a:pt x="34" y="12369"/>
                    <a:pt x="0" y="6823"/>
                    <a:pt x="5882" y="3395"/>
                  </a:cubicBezTo>
                  <a:cubicBezTo>
                    <a:pt x="11763" y="1"/>
                    <a:pt x="21308" y="1"/>
                    <a:pt x="27223" y="3395"/>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59" name="Google Shape;3154;p49"/>
            <p:cNvSpPr/>
            <p:nvPr/>
          </p:nvSpPr>
          <p:spPr>
            <a:xfrm>
              <a:off x="-24625850" y="11860825"/>
              <a:ext cx="364675" cy="227725"/>
            </a:xfrm>
            <a:custGeom>
              <a:avLst/>
              <a:gdLst/>
              <a:ahLst/>
              <a:cxnLst/>
              <a:rect l="l" t="t" r="r" b="b"/>
              <a:pathLst>
                <a:path w="14587" h="9109" extrusionOk="0">
                  <a:moveTo>
                    <a:pt x="12772" y="7226"/>
                  </a:moveTo>
                  <a:lnTo>
                    <a:pt x="14385" y="8134"/>
                  </a:lnTo>
                  <a:lnTo>
                    <a:pt x="13511" y="8638"/>
                  </a:lnTo>
                  <a:lnTo>
                    <a:pt x="11898" y="7697"/>
                  </a:lnTo>
                  <a:cubicBezTo>
                    <a:pt x="11192" y="8067"/>
                    <a:pt x="10385" y="8369"/>
                    <a:pt x="9512" y="8604"/>
                  </a:cubicBezTo>
                  <a:cubicBezTo>
                    <a:pt x="8638" y="8840"/>
                    <a:pt x="7764" y="9008"/>
                    <a:pt x="6890" y="9109"/>
                  </a:cubicBezTo>
                  <a:lnTo>
                    <a:pt x="6050" y="7596"/>
                  </a:lnTo>
                  <a:cubicBezTo>
                    <a:pt x="6184" y="7596"/>
                    <a:pt x="6453" y="7596"/>
                    <a:pt x="6756" y="7563"/>
                  </a:cubicBezTo>
                  <a:cubicBezTo>
                    <a:pt x="7058" y="7495"/>
                    <a:pt x="7394" y="7462"/>
                    <a:pt x="7797" y="7361"/>
                  </a:cubicBezTo>
                  <a:cubicBezTo>
                    <a:pt x="8167" y="7294"/>
                    <a:pt x="8604" y="7193"/>
                    <a:pt x="9007" y="7058"/>
                  </a:cubicBezTo>
                  <a:cubicBezTo>
                    <a:pt x="9444" y="6924"/>
                    <a:pt x="9848" y="6790"/>
                    <a:pt x="10251" y="6588"/>
                  </a:cubicBezTo>
                  <a:lnTo>
                    <a:pt x="7730" y="5143"/>
                  </a:lnTo>
                  <a:cubicBezTo>
                    <a:pt x="7629" y="5210"/>
                    <a:pt x="7529" y="5244"/>
                    <a:pt x="7428" y="5277"/>
                  </a:cubicBezTo>
                  <a:cubicBezTo>
                    <a:pt x="7293" y="5311"/>
                    <a:pt x="7193" y="5344"/>
                    <a:pt x="7058" y="5378"/>
                  </a:cubicBezTo>
                  <a:cubicBezTo>
                    <a:pt x="6453" y="5580"/>
                    <a:pt x="5882" y="5748"/>
                    <a:pt x="5344" y="5849"/>
                  </a:cubicBezTo>
                  <a:cubicBezTo>
                    <a:pt x="4840" y="5983"/>
                    <a:pt x="4336" y="6050"/>
                    <a:pt x="3899" y="6050"/>
                  </a:cubicBezTo>
                  <a:cubicBezTo>
                    <a:pt x="3428" y="6084"/>
                    <a:pt x="2991" y="6017"/>
                    <a:pt x="2588" y="5949"/>
                  </a:cubicBezTo>
                  <a:cubicBezTo>
                    <a:pt x="2185" y="5849"/>
                    <a:pt x="1782" y="5680"/>
                    <a:pt x="1378" y="5445"/>
                  </a:cubicBezTo>
                  <a:cubicBezTo>
                    <a:pt x="908" y="5176"/>
                    <a:pt x="572" y="4874"/>
                    <a:pt x="336" y="4571"/>
                  </a:cubicBezTo>
                  <a:cubicBezTo>
                    <a:pt x="135" y="4235"/>
                    <a:pt x="34" y="3899"/>
                    <a:pt x="68" y="3597"/>
                  </a:cubicBezTo>
                  <a:cubicBezTo>
                    <a:pt x="68" y="3261"/>
                    <a:pt x="202" y="2925"/>
                    <a:pt x="471" y="2622"/>
                  </a:cubicBezTo>
                  <a:cubicBezTo>
                    <a:pt x="706" y="2286"/>
                    <a:pt x="1042" y="1984"/>
                    <a:pt x="1479" y="1681"/>
                  </a:cubicBezTo>
                  <a:lnTo>
                    <a:pt x="0" y="841"/>
                  </a:lnTo>
                  <a:lnTo>
                    <a:pt x="841" y="337"/>
                  </a:lnTo>
                  <a:lnTo>
                    <a:pt x="2319" y="1177"/>
                  </a:lnTo>
                  <a:cubicBezTo>
                    <a:pt x="2991" y="841"/>
                    <a:pt x="3731" y="572"/>
                    <a:pt x="4470" y="370"/>
                  </a:cubicBezTo>
                  <a:cubicBezTo>
                    <a:pt x="5210" y="202"/>
                    <a:pt x="5915" y="68"/>
                    <a:pt x="6621" y="1"/>
                  </a:cubicBezTo>
                  <a:lnTo>
                    <a:pt x="7361" y="1446"/>
                  </a:lnTo>
                  <a:cubicBezTo>
                    <a:pt x="7226" y="1446"/>
                    <a:pt x="7058" y="1446"/>
                    <a:pt x="6789" y="1479"/>
                  </a:cubicBezTo>
                  <a:cubicBezTo>
                    <a:pt x="6520" y="1513"/>
                    <a:pt x="6251" y="1580"/>
                    <a:pt x="5915" y="1647"/>
                  </a:cubicBezTo>
                  <a:cubicBezTo>
                    <a:pt x="5613" y="1715"/>
                    <a:pt x="5277" y="1815"/>
                    <a:pt x="4941" y="1916"/>
                  </a:cubicBezTo>
                  <a:cubicBezTo>
                    <a:pt x="4605" y="2017"/>
                    <a:pt x="4269" y="2118"/>
                    <a:pt x="3966" y="2286"/>
                  </a:cubicBezTo>
                  <a:lnTo>
                    <a:pt x="6453" y="3731"/>
                  </a:lnTo>
                  <a:lnTo>
                    <a:pt x="6924" y="3563"/>
                  </a:lnTo>
                  <a:cubicBezTo>
                    <a:pt x="7562" y="3361"/>
                    <a:pt x="8167" y="3160"/>
                    <a:pt x="8705" y="3025"/>
                  </a:cubicBezTo>
                  <a:cubicBezTo>
                    <a:pt x="9276" y="2891"/>
                    <a:pt x="9814" y="2790"/>
                    <a:pt x="10318" y="2757"/>
                  </a:cubicBezTo>
                  <a:cubicBezTo>
                    <a:pt x="10856" y="2723"/>
                    <a:pt x="11360" y="2757"/>
                    <a:pt x="11831" y="2857"/>
                  </a:cubicBezTo>
                  <a:cubicBezTo>
                    <a:pt x="12301" y="2958"/>
                    <a:pt x="12772" y="3126"/>
                    <a:pt x="13242" y="3429"/>
                  </a:cubicBezTo>
                  <a:cubicBezTo>
                    <a:pt x="13780" y="3731"/>
                    <a:pt x="14150" y="4034"/>
                    <a:pt x="14351" y="4370"/>
                  </a:cubicBezTo>
                  <a:cubicBezTo>
                    <a:pt x="14519" y="4706"/>
                    <a:pt x="14586" y="5008"/>
                    <a:pt x="14486" y="5344"/>
                  </a:cubicBezTo>
                  <a:cubicBezTo>
                    <a:pt x="14418" y="5680"/>
                    <a:pt x="14217" y="5983"/>
                    <a:pt x="13914" y="6319"/>
                  </a:cubicBezTo>
                  <a:cubicBezTo>
                    <a:pt x="13612" y="6622"/>
                    <a:pt x="13242" y="6924"/>
                    <a:pt x="12772" y="7226"/>
                  </a:cubicBezTo>
                  <a:close/>
                  <a:moveTo>
                    <a:pt x="8537" y="4907"/>
                  </a:moveTo>
                  <a:lnTo>
                    <a:pt x="10856" y="6252"/>
                  </a:lnTo>
                  <a:cubicBezTo>
                    <a:pt x="11864" y="5647"/>
                    <a:pt x="12032" y="5143"/>
                    <a:pt x="11326" y="4773"/>
                  </a:cubicBezTo>
                  <a:cubicBezTo>
                    <a:pt x="11024" y="4571"/>
                    <a:pt x="10621" y="4504"/>
                    <a:pt x="10184" y="4538"/>
                  </a:cubicBezTo>
                  <a:cubicBezTo>
                    <a:pt x="9713" y="4605"/>
                    <a:pt x="9175" y="4706"/>
                    <a:pt x="8537" y="4907"/>
                  </a:cubicBezTo>
                  <a:close/>
                  <a:moveTo>
                    <a:pt x="4201" y="4303"/>
                  </a:moveTo>
                  <a:cubicBezTo>
                    <a:pt x="4605" y="4269"/>
                    <a:pt x="5109" y="4168"/>
                    <a:pt x="5680" y="3966"/>
                  </a:cubicBezTo>
                  <a:lnTo>
                    <a:pt x="3328" y="2622"/>
                  </a:lnTo>
                  <a:cubicBezTo>
                    <a:pt x="2487" y="3193"/>
                    <a:pt x="2420" y="3664"/>
                    <a:pt x="3126" y="4067"/>
                  </a:cubicBezTo>
                  <a:cubicBezTo>
                    <a:pt x="3462" y="4269"/>
                    <a:pt x="3798" y="4336"/>
                    <a:pt x="4201" y="4303"/>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60" name="Google Shape;3155;p49"/>
            <p:cNvSpPr/>
            <p:nvPr/>
          </p:nvSpPr>
          <p:spPr>
            <a:xfrm>
              <a:off x="-24854400" y="119969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61" name="Google Shape;3156;p49"/>
            <p:cNvSpPr/>
            <p:nvPr/>
          </p:nvSpPr>
          <p:spPr>
            <a:xfrm>
              <a:off x="-24830025" y="12039800"/>
              <a:ext cx="25" cy="215125"/>
            </a:xfrm>
            <a:custGeom>
              <a:avLst/>
              <a:gdLst/>
              <a:ahLst/>
              <a:cxnLst/>
              <a:rect l="l" t="t" r="r" b="b"/>
              <a:pathLst>
                <a:path w="1" h="8605"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62" name="Google Shape;3157;p49"/>
            <p:cNvSpPr/>
            <p:nvPr/>
          </p:nvSpPr>
          <p:spPr>
            <a:xfrm>
              <a:off x="-24805650" y="12081800"/>
              <a:ext cx="0" cy="215975"/>
            </a:xfrm>
            <a:custGeom>
              <a:avLst/>
              <a:gdLst/>
              <a:ahLst/>
              <a:cxnLst/>
              <a:rect l="l" t="t" r="r" b="b"/>
              <a:pathLst>
                <a:path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63" name="Google Shape;3158;p49"/>
            <p:cNvSpPr/>
            <p:nvPr/>
          </p:nvSpPr>
          <p:spPr>
            <a:xfrm>
              <a:off x="-24782125" y="121246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64" name="Google Shape;3159;p49"/>
            <p:cNvSpPr/>
            <p:nvPr/>
          </p:nvSpPr>
          <p:spPr>
            <a:xfrm>
              <a:off x="-24757775" y="121196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65" name="Google Shape;3160;p49"/>
            <p:cNvSpPr/>
            <p:nvPr/>
          </p:nvSpPr>
          <p:spPr>
            <a:xfrm>
              <a:off x="-24724150" y="121313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66" name="Google Shape;3161;p49"/>
            <p:cNvSpPr/>
            <p:nvPr/>
          </p:nvSpPr>
          <p:spPr>
            <a:xfrm>
              <a:off x="-24691400" y="12142300"/>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67" name="Google Shape;3162;p49"/>
            <p:cNvSpPr/>
            <p:nvPr/>
          </p:nvSpPr>
          <p:spPr>
            <a:xfrm>
              <a:off x="-24657775" y="12154075"/>
              <a:ext cx="25" cy="215950"/>
            </a:xfrm>
            <a:custGeom>
              <a:avLst/>
              <a:gdLst/>
              <a:ahLst/>
              <a:cxnLst/>
              <a:rect l="l" t="t" r="r" b="b"/>
              <a:pathLst>
                <a:path w="1" h="8638" fill="none" extrusionOk="0">
                  <a:moveTo>
                    <a:pt x="0" y="0"/>
                  </a:moveTo>
                  <a:lnTo>
                    <a:pt x="0"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68" name="Google Shape;3163;p49"/>
            <p:cNvSpPr/>
            <p:nvPr/>
          </p:nvSpPr>
          <p:spPr>
            <a:xfrm>
              <a:off x="-24624175" y="12165825"/>
              <a:ext cx="25" cy="215125"/>
            </a:xfrm>
            <a:custGeom>
              <a:avLst/>
              <a:gdLst/>
              <a:ahLst/>
              <a:cxnLst/>
              <a:rect l="l" t="t" r="r" b="b"/>
              <a:pathLst>
                <a:path w="1" h="8605" fill="none" extrusionOk="0">
                  <a:moveTo>
                    <a:pt x="1" y="1"/>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69" name="Google Shape;3164;p49"/>
            <p:cNvSpPr/>
            <p:nvPr/>
          </p:nvSpPr>
          <p:spPr>
            <a:xfrm>
              <a:off x="-24591400" y="1217675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70" name="Google Shape;3165;p49"/>
            <p:cNvSpPr/>
            <p:nvPr/>
          </p:nvSpPr>
          <p:spPr>
            <a:xfrm>
              <a:off x="-24557800" y="121885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71" name="Google Shape;3166;p49"/>
            <p:cNvSpPr/>
            <p:nvPr/>
          </p:nvSpPr>
          <p:spPr>
            <a:xfrm>
              <a:off x="-24525025" y="12200275"/>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72" name="Google Shape;3167;p49"/>
            <p:cNvSpPr/>
            <p:nvPr/>
          </p:nvSpPr>
          <p:spPr>
            <a:xfrm>
              <a:off x="-24491425" y="122112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73" name="Google Shape;3168;p49"/>
            <p:cNvSpPr/>
            <p:nvPr/>
          </p:nvSpPr>
          <p:spPr>
            <a:xfrm>
              <a:off x="-24458650" y="122229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74" name="Google Shape;3169;p49"/>
            <p:cNvSpPr/>
            <p:nvPr/>
          </p:nvSpPr>
          <p:spPr>
            <a:xfrm>
              <a:off x="-24425050" y="122028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75" name="Google Shape;3170;p49"/>
            <p:cNvSpPr/>
            <p:nvPr/>
          </p:nvSpPr>
          <p:spPr>
            <a:xfrm>
              <a:off x="-24393125" y="12200275"/>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76" name="Google Shape;3171;p49"/>
            <p:cNvSpPr/>
            <p:nvPr/>
          </p:nvSpPr>
          <p:spPr>
            <a:xfrm>
              <a:off x="-24360350" y="121969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77" name="Google Shape;3172;p49"/>
            <p:cNvSpPr/>
            <p:nvPr/>
          </p:nvSpPr>
          <p:spPr>
            <a:xfrm>
              <a:off x="-24328425" y="121935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78" name="Google Shape;3173;p49"/>
            <p:cNvSpPr/>
            <p:nvPr/>
          </p:nvSpPr>
          <p:spPr>
            <a:xfrm>
              <a:off x="-24295650" y="121902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79" name="Google Shape;3174;p49"/>
            <p:cNvSpPr/>
            <p:nvPr/>
          </p:nvSpPr>
          <p:spPr>
            <a:xfrm>
              <a:off x="-24263725" y="121868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80" name="Google Shape;3175;p49"/>
            <p:cNvSpPr/>
            <p:nvPr/>
          </p:nvSpPr>
          <p:spPr>
            <a:xfrm>
              <a:off x="-24231800" y="12184300"/>
              <a:ext cx="25" cy="215125"/>
            </a:xfrm>
            <a:custGeom>
              <a:avLst/>
              <a:gdLst/>
              <a:ahLst/>
              <a:cxnLst/>
              <a:rect l="l" t="t" r="r" b="b"/>
              <a:pathLst>
                <a:path w="1" h="8605" fill="none" extrusionOk="0">
                  <a:moveTo>
                    <a:pt x="1" y="1"/>
                  </a:moveTo>
                  <a:lnTo>
                    <a:pt x="1"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81" name="Google Shape;3176;p49"/>
            <p:cNvSpPr/>
            <p:nvPr/>
          </p:nvSpPr>
          <p:spPr>
            <a:xfrm>
              <a:off x="-24199025" y="12180950"/>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82" name="Google Shape;3177;p49"/>
            <p:cNvSpPr/>
            <p:nvPr/>
          </p:nvSpPr>
          <p:spPr>
            <a:xfrm>
              <a:off x="-24167100" y="121255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83" name="Google Shape;3178;p49"/>
            <p:cNvSpPr/>
            <p:nvPr/>
          </p:nvSpPr>
          <p:spPr>
            <a:xfrm>
              <a:off x="-24136000" y="120708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84" name="Google Shape;3179;p49"/>
            <p:cNvSpPr/>
            <p:nvPr/>
          </p:nvSpPr>
          <p:spPr>
            <a:xfrm>
              <a:off x="-24104075" y="12042325"/>
              <a:ext cx="25" cy="215100"/>
            </a:xfrm>
            <a:custGeom>
              <a:avLst/>
              <a:gdLst/>
              <a:ahLst/>
              <a:cxnLst/>
              <a:rect l="l" t="t" r="r" b="b"/>
              <a:pathLst>
                <a:path w="1" h="8604"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85" name="Google Shape;3180;p49"/>
            <p:cNvSpPr/>
            <p:nvPr/>
          </p:nvSpPr>
          <p:spPr>
            <a:xfrm>
              <a:off x="-24072150" y="120490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86" name="Google Shape;3181;p49"/>
            <p:cNvSpPr/>
            <p:nvPr/>
          </p:nvSpPr>
          <p:spPr>
            <a:xfrm>
              <a:off x="-24039375" y="120566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87" name="Google Shape;3182;p49"/>
            <p:cNvSpPr/>
            <p:nvPr/>
          </p:nvSpPr>
          <p:spPr>
            <a:xfrm>
              <a:off x="-24014175" y="12000300"/>
              <a:ext cx="25" cy="215125"/>
            </a:xfrm>
            <a:custGeom>
              <a:avLst/>
              <a:gdLst/>
              <a:ahLst/>
              <a:cxnLst/>
              <a:rect l="l" t="t" r="r" b="b"/>
              <a:pathLst>
                <a:path w="1" h="8605" fill="none" extrusionOk="0">
                  <a:moveTo>
                    <a:pt x="0" y="1"/>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88" name="Google Shape;3183;p49"/>
            <p:cNvSpPr/>
            <p:nvPr/>
          </p:nvSpPr>
          <p:spPr>
            <a:xfrm>
              <a:off x="-24872050" y="11783525"/>
              <a:ext cx="862925" cy="339475"/>
            </a:xfrm>
            <a:custGeom>
              <a:avLst/>
              <a:gdLst/>
              <a:ahLst/>
              <a:cxnLst/>
              <a:rect l="l" t="t" r="r" b="b"/>
              <a:pathLst>
                <a:path w="34517" h="13579" extrusionOk="0">
                  <a:moveTo>
                    <a:pt x="34517" y="269"/>
                  </a:moveTo>
                  <a:cubicBezTo>
                    <a:pt x="34517" y="572"/>
                    <a:pt x="34483" y="908"/>
                    <a:pt x="34416" y="1244"/>
                  </a:cubicBezTo>
                  <a:cubicBezTo>
                    <a:pt x="34349" y="1580"/>
                    <a:pt x="34248" y="1883"/>
                    <a:pt x="34147" y="2219"/>
                  </a:cubicBezTo>
                  <a:cubicBezTo>
                    <a:pt x="34013" y="2555"/>
                    <a:pt x="33845" y="2857"/>
                    <a:pt x="33677" y="3193"/>
                  </a:cubicBezTo>
                  <a:cubicBezTo>
                    <a:pt x="33475" y="3530"/>
                    <a:pt x="33240" y="3899"/>
                    <a:pt x="32971" y="4235"/>
                  </a:cubicBezTo>
                  <a:cubicBezTo>
                    <a:pt x="32669" y="4639"/>
                    <a:pt x="32299" y="5008"/>
                    <a:pt x="31896" y="5378"/>
                  </a:cubicBezTo>
                  <a:cubicBezTo>
                    <a:pt x="31291" y="5949"/>
                    <a:pt x="30551" y="6487"/>
                    <a:pt x="29711" y="6991"/>
                  </a:cubicBezTo>
                  <a:cubicBezTo>
                    <a:pt x="29644" y="7058"/>
                    <a:pt x="29577" y="7092"/>
                    <a:pt x="29509" y="7126"/>
                  </a:cubicBezTo>
                  <a:cubicBezTo>
                    <a:pt x="28367" y="7798"/>
                    <a:pt x="27090" y="8369"/>
                    <a:pt x="25712" y="8806"/>
                  </a:cubicBezTo>
                  <a:cubicBezTo>
                    <a:pt x="24670" y="9142"/>
                    <a:pt x="23594" y="9411"/>
                    <a:pt x="22452" y="9613"/>
                  </a:cubicBezTo>
                  <a:cubicBezTo>
                    <a:pt x="21746" y="9747"/>
                    <a:pt x="21006" y="9848"/>
                    <a:pt x="20267" y="9915"/>
                  </a:cubicBezTo>
                  <a:cubicBezTo>
                    <a:pt x="19628" y="9982"/>
                    <a:pt x="18990" y="10016"/>
                    <a:pt x="18351" y="10050"/>
                  </a:cubicBezTo>
                  <a:cubicBezTo>
                    <a:pt x="17746" y="10050"/>
                    <a:pt x="17175" y="10050"/>
                    <a:pt x="16570" y="10050"/>
                  </a:cubicBezTo>
                  <a:cubicBezTo>
                    <a:pt x="15999" y="10050"/>
                    <a:pt x="15427" y="10016"/>
                    <a:pt x="14856" y="9949"/>
                  </a:cubicBezTo>
                  <a:cubicBezTo>
                    <a:pt x="14318" y="9915"/>
                    <a:pt x="13747" y="9848"/>
                    <a:pt x="13209" y="9781"/>
                  </a:cubicBezTo>
                  <a:cubicBezTo>
                    <a:pt x="12604" y="9680"/>
                    <a:pt x="12033" y="9579"/>
                    <a:pt x="11495" y="9478"/>
                  </a:cubicBezTo>
                  <a:cubicBezTo>
                    <a:pt x="10890" y="9344"/>
                    <a:pt x="10285" y="9209"/>
                    <a:pt x="9680" y="9041"/>
                  </a:cubicBezTo>
                  <a:cubicBezTo>
                    <a:pt x="8974" y="8806"/>
                    <a:pt x="8269" y="8571"/>
                    <a:pt x="7597" y="8336"/>
                  </a:cubicBezTo>
                  <a:cubicBezTo>
                    <a:pt x="6723" y="7966"/>
                    <a:pt x="5882" y="7563"/>
                    <a:pt x="5109" y="7126"/>
                  </a:cubicBezTo>
                  <a:cubicBezTo>
                    <a:pt x="1681" y="5176"/>
                    <a:pt x="1" y="2588"/>
                    <a:pt x="1" y="1"/>
                  </a:cubicBezTo>
                  <a:lnTo>
                    <a:pt x="1" y="3530"/>
                  </a:lnTo>
                  <a:cubicBezTo>
                    <a:pt x="1" y="6084"/>
                    <a:pt x="1681" y="8672"/>
                    <a:pt x="5076" y="10655"/>
                  </a:cubicBezTo>
                  <a:cubicBezTo>
                    <a:pt x="5882" y="11091"/>
                    <a:pt x="6689" y="11495"/>
                    <a:pt x="7597" y="11831"/>
                  </a:cubicBezTo>
                  <a:cubicBezTo>
                    <a:pt x="8269" y="12100"/>
                    <a:pt x="8974" y="12335"/>
                    <a:pt x="9680" y="12537"/>
                  </a:cubicBezTo>
                  <a:cubicBezTo>
                    <a:pt x="10252" y="12705"/>
                    <a:pt x="10857" y="12873"/>
                    <a:pt x="11462" y="12974"/>
                  </a:cubicBezTo>
                  <a:cubicBezTo>
                    <a:pt x="12033" y="13108"/>
                    <a:pt x="12604" y="13209"/>
                    <a:pt x="13176" y="13276"/>
                  </a:cubicBezTo>
                  <a:cubicBezTo>
                    <a:pt x="13747" y="13377"/>
                    <a:pt x="14285" y="13410"/>
                    <a:pt x="14856" y="13478"/>
                  </a:cubicBezTo>
                  <a:cubicBezTo>
                    <a:pt x="15427" y="13511"/>
                    <a:pt x="15999" y="13545"/>
                    <a:pt x="16570" y="13579"/>
                  </a:cubicBezTo>
                  <a:cubicBezTo>
                    <a:pt x="17141" y="13579"/>
                    <a:pt x="17746" y="13579"/>
                    <a:pt x="18318" y="13545"/>
                  </a:cubicBezTo>
                  <a:cubicBezTo>
                    <a:pt x="18990" y="13545"/>
                    <a:pt x="19628" y="13478"/>
                    <a:pt x="20233" y="13444"/>
                  </a:cubicBezTo>
                  <a:cubicBezTo>
                    <a:pt x="21006" y="13343"/>
                    <a:pt x="21712" y="13242"/>
                    <a:pt x="22452" y="13108"/>
                  </a:cubicBezTo>
                  <a:cubicBezTo>
                    <a:pt x="23561" y="12906"/>
                    <a:pt x="24670" y="12637"/>
                    <a:pt x="25712" y="12301"/>
                  </a:cubicBezTo>
                  <a:cubicBezTo>
                    <a:pt x="27090" y="11864"/>
                    <a:pt x="28367" y="11327"/>
                    <a:pt x="29509" y="10655"/>
                  </a:cubicBezTo>
                  <a:cubicBezTo>
                    <a:pt x="29577" y="10587"/>
                    <a:pt x="29644" y="10554"/>
                    <a:pt x="29711" y="10520"/>
                  </a:cubicBezTo>
                  <a:cubicBezTo>
                    <a:pt x="30551" y="10016"/>
                    <a:pt x="31291" y="9478"/>
                    <a:pt x="31896" y="8907"/>
                  </a:cubicBezTo>
                  <a:cubicBezTo>
                    <a:pt x="32299" y="8537"/>
                    <a:pt x="32669" y="8134"/>
                    <a:pt x="32971" y="7731"/>
                  </a:cubicBezTo>
                  <a:cubicBezTo>
                    <a:pt x="33240" y="7395"/>
                    <a:pt x="33475" y="7058"/>
                    <a:pt x="33677" y="6722"/>
                  </a:cubicBezTo>
                  <a:cubicBezTo>
                    <a:pt x="33845" y="6386"/>
                    <a:pt x="34013" y="6050"/>
                    <a:pt x="34114" y="5714"/>
                  </a:cubicBezTo>
                  <a:cubicBezTo>
                    <a:pt x="34248" y="5412"/>
                    <a:pt x="34349" y="5076"/>
                    <a:pt x="34416" y="4773"/>
                  </a:cubicBezTo>
                  <a:cubicBezTo>
                    <a:pt x="34483" y="4437"/>
                    <a:pt x="34517" y="4101"/>
                    <a:pt x="34517" y="3765"/>
                  </a:cubicBezTo>
                  <a:cubicBezTo>
                    <a:pt x="34517" y="3731"/>
                    <a:pt x="34517" y="3664"/>
                    <a:pt x="34517" y="3630"/>
                  </a:cubicBezTo>
                  <a:lnTo>
                    <a:pt x="34517" y="101"/>
                  </a:lnTo>
                  <a:cubicBezTo>
                    <a:pt x="34517" y="135"/>
                    <a:pt x="34517" y="202"/>
                    <a:pt x="34517" y="26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89" name="Google Shape;3184;p49"/>
            <p:cNvSpPr/>
            <p:nvPr/>
          </p:nvSpPr>
          <p:spPr>
            <a:xfrm>
              <a:off x="-24914900" y="11510450"/>
              <a:ext cx="948625" cy="548700"/>
            </a:xfrm>
            <a:custGeom>
              <a:avLst/>
              <a:gdLst/>
              <a:ahLst/>
              <a:cxnLst/>
              <a:rect l="l" t="t" r="r" b="b"/>
              <a:pathLst>
                <a:path w="37945" h="21948" extrusionOk="0">
                  <a:moveTo>
                    <a:pt x="31156" y="3899"/>
                  </a:moveTo>
                  <a:cubicBezTo>
                    <a:pt x="37911" y="7798"/>
                    <a:pt x="37945" y="14150"/>
                    <a:pt x="31223" y="18049"/>
                  </a:cubicBezTo>
                  <a:cubicBezTo>
                    <a:pt x="24502" y="21947"/>
                    <a:pt x="13579" y="21947"/>
                    <a:pt x="6823" y="18049"/>
                  </a:cubicBezTo>
                  <a:cubicBezTo>
                    <a:pt x="35" y="14150"/>
                    <a:pt x="1" y="7798"/>
                    <a:pt x="6723" y="3899"/>
                  </a:cubicBezTo>
                  <a:cubicBezTo>
                    <a:pt x="13444" y="1"/>
                    <a:pt x="24367" y="1"/>
                    <a:pt x="31156" y="389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90" name="Google Shape;3185;p49"/>
            <p:cNvSpPr/>
            <p:nvPr/>
          </p:nvSpPr>
          <p:spPr>
            <a:xfrm>
              <a:off x="-24855225" y="11544900"/>
              <a:ext cx="829300" cy="479800"/>
            </a:xfrm>
            <a:custGeom>
              <a:avLst/>
              <a:gdLst/>
              <a:ahLst/>
              <a:cxnLst/>
              <a:rect l="l" t="t" r="r" b="b"/>
              <a:pathLst>
                <a:path w="33172" h="19192" extrusionOk="0">
                  <a:moveTo>
                    <a:pt x="27223" y="3429"/>
                  </a:moveTo>
                  <a:cubicBezTo>
                    <a:pt x="33138" y="6823"/>
                    <a:pt x="33172" y="12369"/>
                    <a:pt x="27290" y="15797"/>
                  </a:cubicBezTo>
                  <a:cubicBezTo>
                    <a:pt x="21409" y="19191"/>
                    <a:pt x="11864" y="19191"/>
                    <a:pt x="5949" y="15797"/>
                  </a:cubicBezTo>
                  <a:cubicBezTo>
                    <a:pt x="34" y="12369"/>
                    <a:pt x="0" y="6823"/>
                    <a:pt x="5882" y="3429"/>
                  </a:cubicBezTo>
                  <a:cubicBezTo>
                    <a:pt x="11763" y="1"/>
                    <a:pt x="21308" y="1"/>
                    <a:pt x="27223" y="342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91" name="Google Shape;3186;p49"/>
            <p:cNvSpPr/>
            <p:nvPr/>
          </p:nvSpPr>
          <p:spPr>
            <a:xfrm>
              <a:off x="-24625850" y="11656650"/>
              <a:ext cx="364675" cy="227725"/>
            </a:xfrm>
            <a:custGeom>
              <a:avLst/>
              <a:gdLst/>
              <a:ahLst/>
              <a:cxnLst/>
              <a:rect l="l" t="t" r="r" b="b"/>
              <a:pathLst>
                <a:path w="14587" h="9109" extrusionOk="0">
                  <a:moveTo>
                    <a:pt x="12772" y="7227"/>
                  </a:moveTo>
                  <a:lnTo>
                    <a:pt x="14385" y="8134"/>
                  </a:lnTo>
                  <a:lnTo>
                    <a:pt x="13511" y="8638"/>
                  </a:lnTo>
                  <a:lnTo>
                    <a:pt x="11898" y="7697"/>
                  </a:lnTo>
                  <a:cubicBezTo>
                    <a:pt x="11192" y="8067"/>
                    <a:pt x="10385" y="8369"/>
                    <a:pt x="9512" y="8605"/>
                  </a:cubicBezTo>
                  <a:cubicBezTo>
                    <a:pt x="8638" y="8840"/>
                    <a:pt x="7764" y="9008"/>
                    <a:pt x="6890" y="9109"/>
                  </a:cubicBezTo>
                  <a:lnTo>
                    <a:pt x="6050" y="7596"/>
                  </a:lnTo>
                  <a:cubicBezTo>
                    <a:pt x="6184" y="7596"/>
                    <a:pt x="6453" y="7596"/>
                    <a:pt x="6756" y="7563"/>
                  </a:cubicBezTo>
                  <a:cubicBezTo>
                    <a:pt x="7058" y="7495"/>
                    <a:pt x="7394" y="7462"/>
                    <a:pt x="7797" y="7361"/>
                  </a:cubicBezTo>
                  <a:cubicBezTo>
                    <a:pt x="8167" y="7294"/>
                    <a:pt x="8604" y="7193"/>
                    <a:pt x="9007" y="7059"/>
                  </a:cubicBezTo>
                  <a:cubicBezTo>
                    <a:pt x="9444" y="6924"/>
                    <a:pt x="9848" y="6790"/>
                    <a:pt x="10251" y="6588"/>
                  </a:cubicBezTo>
                  <a:lnTo>
                    <a:pt x="7730" y="5143"/>
                  </a:lnTo>
                  <a:cubicBezTo>
                    <a:pt x="7629" y="5210"/>
                    <a:pt x="7529" y="5244"/>
                    <a:pt x="7428" y="5277"/>
                  </a:cubicBezTo>
                  <a:cubicBezTo>
                    <a:pt x="7293" y="5311"/>
                    <a:pt x="7193" y="5344"/>
                    <a:pt x="7058" y="5378"/>
                  </a:cubicBezTo>
                  <a:cubicBezTo>
                    <a:pt x="6453" y="5580"/>
                    <a:pt x="5882" y="5748"/>
                    <a:pt x="5344" y="5849"/>
                  </a:cubicBezTo>
                  <a:cubicBezTo>
                    <a:pt x="4840" y="5983"/>
                    <a:pt x="4336" y="6050"/>
                    <a:pt x="3899" y="6050"/>
                  </a:cubicBezTo>
                  <a:cubicBezTo>
                    <a:pt x="3428" y="6084"/>
                    <a:pt x="2991" y="6017"/>
                    <a:pt x="2588" y="5949"/>
                  </a:cubicBezTo>
                  <a:cubicBezTo>
                    <a:pt x="2185" y="5849"/>
                    <a:pt x="1782" y="5681"/>
                    <a:pt x="1378" y="5445"/>
                  </a:cubicBezTo>
                  <a:cubicBezTo>
                    <a:pt x="908" y="5176"/>
                    <a:pt x="572" y="4874"/>
                    <a:pt x="336" y="4571"/>
                  </a:cubicBezTo>
                  <a:cubicBezTo>
                    <a:pt x="135" y="4235"/>
                    <a:pt x="34" y="3899"/>
                    <a:pt x="68" y="3597"/>
                  </a:cubicBezTo>
                  <a:cubicBezTo>
                    <a:pt x="68" y="3261"/>
                    <a:pt x="202" y="2925"/>
                    <a:pt x="471" y="2622"/>
                  </a:cubicBezTo>
                  <a:cubicBezTo>
                    <a:pt x="706" y="2286"/>
                    <a:pt x="1042" y="1984"/>
                    <a:pt x="1479" y="1681"/>
                  </a:cubicBezTo>
                  <a:lnTo>
                    <a:pt x="0" y="841"/>
                  </a:lnTo>
                  <a:lnTo>
                    <a:pt x="841" y="337"/>
                  </a:lnTo>
                  <a:lnTo>
                    <a:pt x="2319" y="1177"/>
                  </a:lnTo>
                  <a:cubicBezTo>
                    <a:pt x="2991" y="841"/>
                    <a:pt x="3731" y="572"/>
                    <a:pt x="4470" y="370"/>
                  </a:cubicBezTo>
                  <a:cubicBezTo>
                    <a:pt x="5210" y="202"/>
                    <a:pt x="5915" y="68"/>
                    <a:pt x="6621" y="1"/>
                  </a:cubicBezTo>
                  <a:lnTo>
                    <a:pt x="7361" y="1446"/>
                  </a:lnTo>
                  <a:cubicBezTo>
                    <a:pt x="7226" y="1446"/>
                    <a:pt x="7058" y="1446"/>
                    <a:pt x="6789" y="1479"/>
                  </a:cubicBezTo>
                  <a:cubicBezTo>
                    <a:pt x="6520" y="1513"/>
                    <a:pt x="6251" y="1580"/>
                    <a:pt x="5915" y="1648"/>
                  </a:cubicBezTo>
                  <a:cubicBezTo>
                    <a:pt x="5613" y="1715"/>
                    <a:pt x="5277" y="1816"/>
                    <a:pt x="4941" y="1916"/>
                  </a:cubicBezTo>
                  <a:cubicBezTo>
                    <a:pt x="4605" y="2017"/>
                    <a:pt x="4269" y="2118"/>
                    <a:pt x="3966" y="2286"/>
                  </a:cubicBezTo>
                  <a:lnTo>
                    <a:pt x="6453" y="3731"/>
                  </a:lnTo>
                  <a:lnTo>
                    <a:pt x="6924" y="3563"/>
                  </a:lnTo>
                  <a:cubicBezTo>
                    <a:pt x="7562" y="3362"/>
                    <a:pt x="8167" y="3160"/>
                    <a:pt x="8705" y="3025"/>
                  </a:cubicBezTo>
                  <a:cubicBezTo>
                    <a:pt x="9276" y="2891"/>
                    <a:pt x="9814" y="2790"/>
                    <a:pt x="10318" y="2757"/>
                  </a:cubicBezTo>
                  <a:cubicBezTo>
                    <a:pt x="10856" y="2723"/>
                    <a:pt x="11360" y="2757"/>
                    <a:pt x="11831" y="2857"/>
                  </a:cubicBezTo>
                  <a:cubicBezTo>
                    <a:pt x="12301" y="2958"/>
                    <a:pt x="12772" y="3126"/>
                    <a:pt x="13242" y="3429"/>
                  </a:cubicBezTo>
                  <a:cubicBezTo>
                    <a:pt x="13780" y="3731"/>
                    <a:pt x="14150" y="4034"/>
                    <a:pt x="14351" y="4370"/>
                  </a:cubicBezTo>
                  <a:cubicBezTo>
                    <a:pt x="14519" y="4706"/>
                    <a:pt x="14586" y="5008"/>
                    <a:pt x="14486" y="5344"/>
                  </a:cubicBezTo>
                  <a:cubicBezTo>
                    <a:pt x="14418" y="5681"/>
                    <a:pt x="14217" y="5983"/>
                    <a:pt x="13914" y="6319"/>
                  </a:cubicBezTo>
                  <a:cubicBezTo>
                    <a:pt x="13612" y="6622"/>
                    <a:pt x="13242" y="6924"/>
                    <a:pt x="12772" y="7227"/>
                  </a:cubicBezTo>
                  <a:close/>
                  <a:moveTo>
                    <a:pt x="8537" y="4908"/>
                  </a:moveTo>
                  <a:lnTo>
                    <a:pt x="10856" y="6252"/>
                  </a:lnTo>
                  <a:cubicBezTo>
                    <a:pt x="11864" y="5647"/>
                    <a:pt x="12032" y="5143"/>
                    <a:pt x="11326" y="4773"/>
                  </a:cubicBezTo>
                  <a:cubicBezTo>
                    <a:pt x="11024" y="4571"/>
                    <a:pt x="10621" y="4504"/>
                    <a:pt x="10184" y="4538"/>
                  </a:cubicBezTo>
                  <a:cubicBezTo>
                    <a:pt x="9713" y="4605"/>
                    <a:pt x="9175" y="4740"/>
                    <a:pt x="8537" y="4908"/>
                  </a:cubicBezTo>
                  <a:close/>
                  <a:moveTo>
                    <a:pt x="4201" y="4303"/>
                  </a:moveTo>
                  <a:cubicBezTo>
                    <a:pt x="4605" y="4269"/>
                    <a:pt x="5109" y="4168"/>
                    <a:pt x="5680" y="3967"/>
                  </a:cubicBezTo>
                  <a:lnTo>
                    <a:pt x="3328" y="2622"/>
                  </a:lnTo>
                  <a:cubicBezTo>
                    <a:pt x="2487" y="3194"/>
                    <a:pt x="2420" y="3664"/>
                    <a:pt x="3126" y="4067"/>
                  </a:cubicBezTo>
                  <a:cubicBezTo>
                    <a:pt x="3462" y="4269"/>
                    <a:pt x="3798" y="4336"/>
                    <a:pt x="4201" y="4303"/>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92" name="Google Shape;3187;p49"/>
            <p:cNvSpPr/>
            <p:nvPr/>
          </p:nvSpPr>
          <p:spPr>
            <a:xfrm>
              <a:off x="-24854400" y="117927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93" name="Google Shape;3188;p49"/>
            <p:cNvSpPr/>
            <p:nvPr/>
          </p:nvSpPr>
          <p:spPr>
            <a:xfrm>
              <a:off x="-24830025" y="118356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94" name="Google Shape;3189;p49"/>
            <p:cNvSpPr/>
            <p:nvPr/>
          </p:nvSpPr>
          <p:spPr>
            <a:xfrm>
              <a:off x="-24805650" y="11877625"/>
              <a:ext cx="0" cy="215975"/>
            </a:xfrm>
            <a:custGeom>
              <a:avLst/>
              <a:gdLst/>
              <a:ahLst/>
              <a:cxnLst/>
              <a:rect l="l" t="t" r="r" b="b"/>
              <a:pathLst>
                <a:path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95" name="Google Shape;3190;p49"/>
            <p:cNvSpPr/>
            <p:nvPr/>
          </p:nvSpPr>
          <p:spPr>
            <a:xfrm>
              <a:off x="-24782125" y="119204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96" name="Google Shape;3191;p49"/>
            <p:cNvSpPr/>
            <p:nvPr/>
          </p:nvSpPr>
          <p:spPr>
            <a:xfrm>
              <a:off x="-24757775" y="119154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97" name="Google Shape;3192;p49"/>
            <p:cNvSpPr/>
            <p:nvPr/>
          </p:nvSpPr>
          <p:spPr>
            <a:xfrm>
              <a:off x="-24724150" y="11927200"/>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98" name="Google Shape;3193;p49"/>
            <p:cNvSpPr/>
            <p:nvPr/>
          </p:nvSpPr>
          <p:spPr>
            <a:xfrm>
              <a:off x="-24691400" y="119381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699" name="Google Shape;3194;p49"/>
            <p:cNvSpPr/>
            <p:nvPr/>
          </p:nvSpPr>
          <p:spPr>
            <a:xfrm>
              <a:off x="-24657775" y="119499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00" name="Google Shape;3195;p49"/>
            <p:cNvSpPr/>
            <p:nvPr/>
          </p:nvSpPr>
          <p:spPr>
            <a:xfrm>
              <a:off x="-24624175" y="119616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01" name="Google Shape;3196;p49"/>
            <p:cNvSpPr/>
            <p:nvPr/>
          </p:nvSpPr>
          <p:spPr>
            <a:xfrm>
              <a:off x="-24591400" y="11972575"/>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02" name="Google Shape;3197;p49"/>
            <p:cNvSpPr/>
            <p:nvPr/>
          </p:nvSpPr>
          <p:spPr>
            <a:xfrm>
              <a:off x="-24557800" y="119843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03" name="Google Shape;3198;p49"/>
            <p:cNvSpPr/>
            <p:nvPr/>
          </p:nvSpPr>
          <p:spPr>
            <a:xfrm>
              <a:off x="-24525025" y="119961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04" name="Google Shape;3199;p49"/>
            <p:cNvSpPr/>
            <p:nvPr/>
          </p:nvSpPr>
          <p:spPr>
            <a:xfrm>
              <a:off x="-24491425" y="12007025"/>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05" name="Google Shape;3200;p49"/>
            <p:cNvSpPr/>
            <p:nvPr/>
          </p:nvSpPr>
          <p:spPr>
            <a:xfrm>
              <a:off x="-24458650" y="12018800"/>
              <a:ext cx="25" cy="215950"/>
            </a:xfrm>
            <a:custGeom>
              <a:avLst/>
              <a:gdLst/>
              <a:ahLst/>
              <a:cxnLst/>
              <a:rect l="l" t="t" r="r" b="b"/>
              <a:pathLst>
                <a:path w="1" h="8638" fill="none" extrusionOk="0">
                  <a:moveTo>
                    <a:pt x="0" y="0"/>
                  </a:moveTo>
                  <a:lnTo>
                    <a:pt x="0"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06" name="Google Shape;3201;p49"/>
            <p:cNvSpPr/>
            <p:nvPr/>
          </p:nvSpPr>
          <p:spPr>
            <a:xfrm>
              <a:off x="-24425050" y="11999475"/>
              <a:ext cx="25" cy="215100"/>
            </a:xfrm>
            <a:custGeom>
              <a:avLst/>
              <a:gdLst/>
              <a:ahLst/>
              <a:cxnLst/>
              <a:rect l="l" t="t" r="r" b="b"/>
              <a:pathLst>
                <a:path w="1" h="8604"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07" name="Google Shape;3202;p49"/>
            <p:cNvSpPr/>
            <p:nvPr/>
          </p:nvSpPr>
          <p:spPr>
            <a:xfrm>
              <a:off x="-24393125" y="119961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08" name="Google Shape;3203;p49"/>
            <p:cNvSpPr/>
            <p:nvPr/>
          </p:nvSpPr>
          <p:spPr>
            <a:xfrm>
              <a:off x="-24360350" y="119927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09" name="Google Shape;3204;p49"/>
            <p:cNvSpPr/>
            <p:nvPr/>
          </p:nvSpPr>
          <p:spPr>
            <a:xfrm>
              <a:off x="-24328425" y="1198937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10" name="Google Shape;3205;p49"/>
            <p:cNvSpPr/>
            <p:nvPr/>
          </p:nvSpPr>
          <p:spPr>
            <a:xfrm>
              <a:off x="-24295650" y="119860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11" name="Google Shape;3206;p49"/>
            <p:cNvSpPr/>
            <p:nvPr/>
          </p:nvSpPr>
          <p:spPr>
            <a:xfrm>
              <a:off x="-24263725" y="11983500"/>
              <a:ext cx="25" cy="215125"/>
            </a:xfrm>
            <a:custGeom>
              <a:avLst/>
              <a:gdLst/>
              <a:ahLst/>
              <a:cxnLst/>
              <a:rect l="l" t="t" r="r" b="b"/>
              <a:pathLst>
                <a:path w="1" h="8605"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12" name="Google Shape;3207;p49"/>
            <p:cNvSpPr/>
            <p:nvPr/>
          </p:nvSpPr>
          <p:spPr>
            <a:xfrm>
              <a:off x="-24231800" y="11980150"/>
              <a:ext cx="25" cy="215950"/>
            </a:xfrm>
            <a:custGeom>
              <a:avLst/>
              <a:gdLst/>
              <a:ahLst/>
              <a:cxnLst/>
              <a:rect l="l" t="t" r="r" b="b"/>
              <a:pathLst>
                <a:path w="1" h="8638" fill="none" extrusionOk="0">
                  <a:moveTo>
                    <a:pt x="1" y="0"/>
                  </a:moveTo>
                  <a:lnTo>
                    <a:pt x="1"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13" name="Google Shape;3208;p49"/>
            <p:cNvSpPr/>
            <p:nvPr/>
          </p:nvSpPr>
          <p:spPr>
            <a:xfrm>
              <a:off x="-24199025" y="119767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14" name="Google Shape;3209;p49"/>
            <p:cNvSpPr/>
            <p:nvPr/>
          </p:nvSpPr>
          <p:spPr>
            <a:xfrm>
              <a:off x="-24167100" y="119213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15" name="Google Shape;3210;p49"/>
            <p:cNvSpPr/>
            <p:nvPr/>
          </p:nvSpPr>
          <p:spPr>
            <a:xfrm>
              <a:off x="-24136000" y="118667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16" name="Google Shape;3211;p49"/>
            <p:cNvSpPr/>
            <p:nvPr/>
          </p:nvSpPr>
          <p:spPr>
            <a:xfrm>
              <a:off x="-24104075" y="11837300"/>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17" name="Google Shape;3212;p49"/>
            <p:cNvSpPr/>
            <p:nvPr/>
          </p:nvSpPr>
          <p:spPr>
            <a:xfrm>
              <a:off x="-24072150" y="11845700"/>
              <a:ext cx="25" cy="215125"/>
            </a:xfrm>
            <a:custGeom>
              <a:avLst/>
              <a:gdLst/>
              <a:ahLst/>
              <a:cxnLst/>
              <a:rect l="l" t="t" r="r" b="b"/>
              <a:pathLst>
                <a:path w="1" h="8605" fill="none" extrusionOk="0">
                  <a:moveTo>
                    <a:pt x="0" y="1"/>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18" name="Google Shape;3213;p49"/>
            <p:cNvSpPr/>
            <p:nvPr/>
          </p:nvSpPr>
          <p:spPr>
            <a:xfrm>
              <a:off x="-24039375" y="11853275"/>
              <a:ext cx="25" cy="215100"/>
            </a:xfrm>
            <a:custGeom>
              <a:avLst/>
              <a:gdLst/>
              <a:ahLst/>
              <a:cxnLst/>
              <a:rect l="l" t="t" r="r" b="b"/>
              <a:pathLst>
                <a:path w="1" h="8604"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19" name="Google Shape;3214;p49"/>
            <p:cNvSpPr/>
            <p:nvPr/>
          </p:nvSpPr>
          <p:spPr>
            <a:xfrm>
              <a:off x="-24014175" y="117961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20" name="Google Shape;3215;p49"/>
            <p:cNvSpPr/>
            <p:nvPr/>
          </p:nvSpPr>
          <p:spPr>
            <a:xfrm>
              <a:off x="-24872050" y="11569275"/>
              <a:ext cx="862925" cy="339475"/>
            </a:xfrm>
            <a:custGeom>
              <a:avLst/>
              <a:gdLst/>
              <a:ahLst/>
              <a:cxnLst/>
              <a:rect l="l" t="t" r="r" b="b"/>
              <a:pathLst>
                <a:path w="34517" h="13579" extrusionOk="0">
                  <a:moveTo>
                    <a:pt x="34517" y="236"/>
                  </a:moveTo>
                  <a:cubicBezTo>
                    <a:pt x="34517" y="572"/>
                    <a:pt x="34483" y="908"/>
                    <a:pt x="34416" y="1244"/>
                  </a:cubicBezTo>
                  <a:cubicBezTo>
                    <a:pt x="34349" y="1546"/>
                    <a:pt x="34248" y="1882"/>
                    <a:pt x="34147" y="2185"/>
                  </a:cubicBezTo>
                  <a:cubicBezTo>
                    <a:pt x="34013" y="2521"/>
                    <a:pt x="33845" y="2857"/>
                    <a:pt x="33677" y="3193"/>
                  </a:cubicBezTo>
                  <a:cubicBezTo>
                    <a:pt x="33475" y="3529"/>
                    <a:pt x="33240" y="3865"/>
                    <a:pt x="32971" y="4201"/>
                  </a:cubicBezTo>
                  <a:cubicBezTo>
                    <a:pt x="32669" y="4605"/>
                    <a:pt x="32299" y="4974"/>
                    <a:pt x="31896" y="5378"/>
                  </a:cubicBezTo>
                  <a:cubicBezTo>
                    <a:pt x="31291" y="5949"/>
                    <a:pt x="30551" y="6487"/>
                    <a:pt x="29711" y="6991"/>
                  </a:cubicBezTo>
                  <a:cubicBezTo>
                    <a:pt x="29644" y="7025"/>
                    <a:pt x="29577" y="7058"/>
                    <a:pt x="29509" y="7125"/>
                  </a:cubicBezTo>
                  <a:cubicBezTo>
                    <a:pt x="28367" y="7764"/>
                    <a:pt x="27090" y="8335"/>
                    <a:pt x="25712" y="8772"/>
                  </a:cubicBezTo>
                  <a:cubicBezTo>
                    <a:pt x="24670" y="9108"/>
                    <a:pt x="23594" y="9377"/>
                    <a:pt x="22452" y="9579"/>
                  </a:cubicBezTo>
                  <a:cubicBezTo>
                    <a:pt x="21746" y="9713"/>
                    <a:pt x="21006" y="9814"/>
                    <a:pt x="20267" y="9881"/>
                  </a:cubicBezTo>
                  <a:cubicBezTo>
                    <a:pt x="19628" y="9949"/>
                    <a:pt x="18990" y="10016"/>
                    <a:pt x="18351" y="10016"/>
                  </a:cubicBezTo>
                  <a:cubicBezTo>
                    <a:pt x="17746" y="10049"/>
                    <a:pt x="17175" y="10049"/>
                    <a:pt x="16570" y="10016"/>
                  </a:cubicBezTo>
                  <a:cubicBezTo>
                    <a:pt x="15999" y="10016"/>
                    <a:pt x="15427" y="9982"/>
                    <a:pt x="14856" y="9949"/>
                  </a:cubicBezTo>
                  <a:cubicBezTo>
                    <a:pt x="14318" y="9881"/>
                    <a:pt x="13747" y="9814"/>
                    <a:pt x="13209" y="9747"/>
                  </a:cubicBezTo>
                  <a:cubicBezTo>
                    <a:pt x="12604" y="9680"/>
                    <a:pt x="12033" y="9579"/>
                    <a:pt x="11495" y="9444"/>
                  </a:cubicBezTo>
                  <a:cubicBezTo>
                    <a:pt x="10890" y="9310"/>
                    <a:pt x="10285" y="9176"/>
                    <a:pt x="9680" y="9008"/>
                  </a:cubicBezTo>
                  <a:cubicBezTo>
                    <a:pt x="8974" y="8806"/>
                    <a:pt x="8269" y="8571"/>
                    <a:pt x="7597" y="8302"/>
                  </a:cubicBezTo>
                  <a:cubicBezTo>
                    <a:pt x="6723" y="7966"/>
                    <a:pt x="5882" y="7562"/>
                    <a:pt x="5109" y="7125"/>
                  </a:cubicBezTo>
                  <a:cubicBezTo>
                    <a:pt x="1681" y="5143"/>
                    <a:pt x="1" y="2555"/>
                    <a:pt x="1" y="0"/>
                  </a:cubicBezTo>
                  <a:lnTo>
                    <a:pt x="1" y="3496"/>
                  </a:lnTo>
                  <a:cubicBezTo>
                    <a:pt x="1" y="6084"/>
                    <a:pt x="1681" y="8671"/>
                    <a:pt x="5076" y="10621"/>
                  </a:cubicBezTo>
                  <a:cubicBezTo>
                    <a:pt x="5882" y="11091"/>
                    <a:pt x="6689" y="11495"/>
                    <a:pt x="7597" y="11831"/>
                  </a:cubicBezTo>
                  <a:cubicBezTo>
                    <a:pt x="8269" y="12100"/>
                    <a:pt x="8974" y="12335"/>
                    <a:pt x="9680" y="12536"/>
                  </a:cubicBezTo>
                  <a:cubicBezTo>
                    <a:pt x="10252" y="12704"/>
                    <a:pt x="10857" y="12839"/>
                    <a:pt x="11462" y="12973"/>
                  </a:cubicBezTo>
                  <a:cubicBezTo>
                    <a:pt x="12033" y="13074"/>
                    <a:pt x="12604" y="13175"/>
                    <a:pt x="13176" y="13276"/>
                  </a:cubicBezTo>
                  <a:cubicBezTo>
                    <a:pt x="13747" y="13343"/>
                    <a:pt x="14285" y="13410"/>
                    <a:pt x="14856" y="13444"/>
                  </a:cubicBezTo>
                  <a:cubicBezTo>
                    <a:pt x="15427" y="13511"/>
                    <a:pt x="15999" y="13545"/>
                    <a:pt x="16570" y="13545"/>
                  </a:cubicBezTo>
                  <a:cubicBezTo>
                    <a:pt x="17141" y="13578"/>
                    <a:pt x="17746" y="13578"/>
                    <a:pt x="18318" y="13545"/>
                  </a:cubicBezTo>
                  <a:cubicBezTo>
                    <a:pt x="18990" y="13511"/>
                    <a:pt x="19628" y="13477"/>
                    <a:pt x="20233" y="13410"/>
                  </a:cubicBezTo>
                  <a:cubicBezTo>
                    <a:pt x="21006" y="13343"/>
                    <a:pt x="21712" y="13242"/>
                    <a:pt x="22452" y="13108"/>
                  </a:cubicBezTo>
                  <a:cubicBezTo>
                    <a:pt x="23561" y="12906"/>
                    <a:pt x="24670" y="12637"/>
                    <a:pt x="25712" y="12301"/>
                  </a:cubicBezTo>
                  <a:cubicBezTo>
                    <a:pt x="27090" y="11864"/>
                    <a:pt x="28367" y="11293"/>
                    <a:pt x="29509" y="10621"/>
                  </a:cubicBezTo>
                  <a:cubicBezTo>
                    <a:pt x="29577" y="10587"/>
                    <a:pt x="29644" y="10554"/>
                    <a:pt x="29711" y="10520"/>
                  </a:cubicBezTo>
                  <a:cubicBezTo>
                    <a:pt x="30551" y="10016"/>
                    <a:pt x="31291" y="9444"/>
                    <a:pt x="31896" y="8873"/>
                  </a:cubicBezTo>
                  <a:cubicBezTo>
                    <a:pt x="32299" y="8503"/>
                    <a:pt x="32669" y="8134"/>
                    <a:pt x="32971" y="7730"/>
                  </a:cubicBezTo>
                  <a:cubicBezTo>
                    <a:pt x="33240" y="7394"/>
                    <a:pt x="33475" y="7058"/>
                    <a:pt x="33677" y="6689"/>
                  </a:cubicBezTo>
                  <a:cubicBezTo>
                    <a:pt x="33845" y="6386"/>
                    <a:pt x="34013" y="6050"/>
                    <a:pt x="34114" y="5714"/>
                  </a:cubicBezTo>
                  <a:cubicBezTo>
                    <a:pt x="34248" y="5411"/>
                    <a:pt x="34349" y="5075"/>
                    <a:pt x="34416" y="4739"/>
                  </a:cubicBezTo>
                  <a:cubicBezTo>
                    <a:pt x="34483" y="4437"/>
                    <a:pt x="34517" y="4101"/>
                    <a:pt x="34517" y="3765"/>
                  </a:cubicBezTo>
                  <a:cubicBezTo>
                    <a:pt x="34517" y="3697"/>
                    <a:pt x="34517" y="3664"/>
                    <a:pt x="34517" y="3597"/>
                  </a:cubicBezTo>
                  <a:lnTo>
                    <a:pt x="34517" y="101"/>
                  </a:lnTo>
                  <a:cubicBezTo>
                    <a:pt x="34517" y="135"/>
                    <a:pt x="34517" y="202"/>
                    <a:pt x="34517" y="236"/>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21" name="Google Shape;3216;p49"/>
            <p:cNvSpPr/>
            <p:nvPr/>
          </p:nvSpPr>
          <p:spPr>
            <a:xfrm>
              <a:off x="-24914900" y="11295350"/>
              <a:ext cx="948625" cy="549550"/>
            </a:xfrm>
            <a:custGeom>
              <a:avLst/>
              <a:gdLst/>
              <a:ahLst/>
              <a:cxnLst/>
              <a:rect l="l" t="t" r="r" b="b"/>
              <a:pathLst>
                <a:path w="37945" h="21982" extrusionOk="0">
                  <a:moveTo>
                    <a:pt x="31156" y="3933"/>
                  </a:moveTo>
                  <a:cubicBezTo>
                    <a:pt x="37911" y="7832"/>
                    <a:pt x="37945" y="14150"/>
                    <a:pt x="31223" y="18082"/>
                  </a:cubicBezTo>
                  <a:cubicBezTo>
                    <a:pt x="24502" y="21981"/>
                    <a:pt x="13579" y="21981"/>
                    <a:pt x="6823" y="18082"/>
                  </a:cubicBezTo>
                  <a:cubicBezTo>
                    <a:pt x="35" y="14150"/>
                    <a:pt x="1" y="7832"/>
                    <a:pt x="6723" y="3933"/>
                  </a:cubicBezTo>
                  <a:cubicBezTo>
                    <a:pt x="13444" y="1"/>
                    <a:pt x="24367" y="1"/>
                    <a:pt x="31156" y="3933"/>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22" name="Google Shape;3217;p49"/>
            <p:cNvSpPr/>
            <p:nvPr/>
          </p:nvSpPr>
          <p:spPr>
            <a:xfrm>
              <a:off x="-24855225" y="11329800"/>
              <a:ext cx="829300" cy="480650"/>
            </a:xfrm>
            <a:custGeom>
              <a:avLst/>
              <a:gdLst/>
              <a:ahLst/>
              <a:cxnLst/>
              <a:rect l="l" t="t" r="r" b="b"/>
              <a:pathLst>
                <a:path w="33172" h="19226" extrusionOk="0">
                  <a:moveTo>
                    <a:pt x="27223" y="3429"/>
                  </a:moveTo>
                  <a:cubicBezTo>
                    <a:pt x="33138" y="6857"/>
                    <a:pt x="33172" y="12403"/>
                    <a:pt x="27290" y="15797"/>
                  </a:cubicBezTo>
                  <a:cubicBezTo>
                    <a:pt x="21409" y="19225"/>
                    <a:pt x="11864" y="19225"/>
                    <a:pt x="5949" y="15797"/>
                  </a:cubicBezTo>
                  <a:cubicBezTo>
                    <a:pt x="34" y="12403"/>
                    <a:pt x="0" y="6857"/>
                    <a:pt x="5882" y="3429"/>
                  </a:cubicBezTo>
                  <a:cubicBezTo>
                    <a:pt x="11763" y="1"/>
                    <a:pt x="21308" y="1"/>
                    <a:pt x="27223" y="342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23" name="Google Shape;3218;p49"/>
            <p:cNvSpPr/>
            <p:nvPr/>
          </p:nvSpPr>
          <p:spPr>
            <a:xfrm>
              <a:off x="-24625850" y="11442400"/>
              <a:ext cx="364675" cy="227725"/>
            </a:xfrm>
            <a:custGeom>
              <a:avLst/>
              <a:gdLst/>
              <a:ahLst/>
              <a:cxnLst/>
              <a:rect l="l" t="t" r="r" b="b"/>
              <a:pathLst>
                <a:path w="14587" h="9109" extrusionOk="0">
                  <a:moveTo>
                    <a:pt x="12772" y="7193"/>
                  </a:moveTo>
                  <a:lnTo>
                    <a:pt x="14385" y="8134"/>
                  </a:lnTo>
                  <a:lnTo>
                    <a:pt x="13511" y="8638"/>
                  </a:lnTo>
                  <a:lnTo>
                    <a:pt x="11898" y="7697"/>
                  </a:lnTo>
                  <a:cubicBezTo>
                    <a:pt x="11192" y="8067"/>
                    <a:pt x="10385" y="8369"/>
                    <a:pt x="9512" y="8604"/>
                  </a:cubicBezTo>
                  <a:cubicBezTo>
                    <a:pt x="8638" y="8840"/>
                    <a:pt x="7764" y="9008"/>
                    <a:pt x="6890" y="9108"/>
                  </a:cubicBezTo>
                  <a:lnTo>
                    <a:pt x="6050" y="7596"/>
                  </a:lnTo>
                  <a:cubicBezTo>
                    <a:pt x="6184" y="7596"/>
                    <a:pt x="6453" y="7562"/>
                    <a:pt x="6756" y="7529"/>
                  </a:cubicBezTo>
                  <a:cubicBezTo>
                    <a:pt x="7058" y="7495"/>
                    <a:pt x="7394" y="7428"/>
                    <a:pt x="7797" y="7361"/>
                  </a:cubicBezTo>
                  <a:cubicBezTo>
                    <a:pt x="8167" y="7260"/>
                    <a:pt x="8604" y="7159"/>
                    <a:pt x="9007" y="7058"/>
                  </a:cubicBezTo>
                  <a:cubicBezTo>
                    <a:pt x="9444" y="6924"/>
                    <a:pt x="9848" y="6756"/>
                    <a:pt x="10251" y="6588"/>
                  </a:cubicBezTo>
                  <a:lnTo>
                    <a:pt x="7730" y="5143"/>
                  </a:lnTo>
                  <a:cubicBezTo>
                    <a:pt x="7629" y="5176"/>
                    <a:pt x="7529" y="5210"/>
                    <a:pt x="7428" y="5243"/>
                  </a:cubicBezTo>
                  <a:cubicBezTo>
                    <a:pt x="7293" y="5277"/>
                    <a:pt x="7193" y="5311"/>
                    <a:pt x="7058" y="5378"/>
                  </a:cubicBezTo>
                  <a:cubicBezTo>
                    <a:pt x="6453" y="5580"/>
                    <a:pt x="5882" y="5748"/>
                    <a:pt x="5344" y="5848"/>
                  </a:cubicBezTo>
                  <a:cubicBezTo>
                    <a:pt x="4840" y="5983"/>
                    <a:pt x="4336" y="6016"/>
                    <a:pt x="3899" y="6050"/>
                  </a:cubicBezTo>
                  <a:cubicBezTo>
                    <a:pt x="3428" y="6050"/>
                    <a:pt x="2991" y="6016"/>
                    <a:pt x="2588" y="5916"/>
                  </a:cubicBezTo>
                  <a:cubicBezTo>
                    <a:pt x="2185" y="5815"/>
                    <a:pt x="1782" y="5680"/>
                    <a:pt x="1378" y="5445"/>
                  </a:cubicBezTo>
                  <a:cubicBezTo>
                    <a:pt x="908" y="5176"/>
                    <a:pt x="572" y="4874"/>
                    <a:pt x="336" y="4538"/>
                  </a:cubicBezTo>
                  <a:cubicBezTo>
                    <a:pt x="135" y="4235"/>
                    <a:pt x="34" y="3899"/>
                    <a:pt x="68" y="3563"/>
                  </a:cubicBezTo>
                  <a:cubicBezTo>
                    <a:pt x="68" y="3261"/>
                    <a:pt x="202" y="2924"/>
                    <a:pt x="471" y="2588"/>
                  </a:cubicBezTo>
                  <a:cubicBezTo>
                    <a:pt x="706" y="2286"/>
                    <a:pt x="1042" y="1983"/>
                    <a:pt x="1479" y="1681"/>
                  </a:cubicBezTo>
                  <a:lnTo>
                    <a:pt x="0" y="841"/>
                  </a:lnTo>
                  <a:lnTo>
                    <a:pt x="841" y="337"/>
                  </a:lnTo>
                  <a:lnTo>
                    <a:pt x="2319" y="1177"/>
                  </a:lnTo>
                  <a:cubicBezTo>
                    <a:pt x="2991" y="841"/>
                    <a:pt x="3731" y="572"/>
                    <a:pt x="4470" y="370"/>
                  </a:cubicBezTo>
                  <a:cubicBezTo>
                    <a:pt x="5210" y="202"/>
                    <a:pt x="5915" y="68"/>
                    <a:pt x="6621" y="1"/>
                  </a:cubicBezTo>
                  <a:lnTo>
                    <a:pt x="7361" y="1446"/>
                  </a:lnTo>
                  <a:cubicBezTo>
                    <a:pt x="7226" y="1446"/>
                    <a:pt x="7058" y="1446"/>
                    <a:pt x="6789" y="1479"/>
                  </a:cubicBezTo>
                  <a:cubicBezTo>
                    <a:pt x="6520" y="1513"/>
                    <a:pt x="6251" y="1580"/>
                    <a:pt x="5915" y="1647"/>
                  </a:cubicBezTo>
                  <a:cubicBezTo>
                    <a:pt x="5613" y="1715"/>
                    <a:pt x="5277" y="1782"/>
                    <a:pt x="4941" y="1883"/>
                  </a:cubicBezTo>
                  <a:cubicBezTo>
                    <a:pt x="4605" y="1983"/>
                    <a:pt x="4269" y="2118"/>
                    <a:pt x="3966" y="2252"/>
                  </a:cubicBezTo>
                  <a:lnTo>
                    <a:pt x="6453" y="3731"/>
                  </a:lnTo>
                  <a:lnTo>
                    <a:pt x="6924" y="3563"/>
                  </a:lnTo>
                  <a:cubicBezTo>
                    <a:pt x="7562" y="3328"/>
                    <a:pt x="8167" y="3160"/>
                    <a:pt x="8705" y="3025"/>
                  </a:cubicBezTo>
                  <a:cubicBezTo>
                    <a:pt x="9276" y="2857"/>
                    <a:pt x="9814" y="2790"/>
                    <a:pt x="10318" y="2756"/>
                  </a:cubicBezTo>
                  <a:cubicBezTo>
                    <a:pt x="10856" y="2723"/>
                    <a:pt x="11360" y="2756"/>
                    <a:pt x="11831" y="2857"/>
                  </a:cubicBezTo>
                  <a:cubicBezTo>
                    <a:pt x="12301" y="2958"/>
                    <a:pt x="12772" y="3126"/>
                    <a:pt x="13242" y="3395"/>
                  </a:cubicBezTo>
                  <a:cubicBezTo>
                    <a:pt x="13780" y="3697"/>
                    <a:pt x="14150" y="4034"/>
                    <a:pt x="14351" y="4370"/>
                  </a:cubicBezTo>
                  <a:cubicBezTo>
                    <a:pt x="14519" y="4672"/>
                    <a:pt x="14586" y="5008"/>
                    <a:pt x="14486" y="5344"/>
                  </a:cubicBezTo>
                  <a:cubicBezTo>
                    <a:pt x="14418" y="5680"/>
                    <a:pt x="14217" y="5983"/>
                    <a:pt x="13914" y="6319"/>
                  </a:cubicBezTo>
                  <a:cubicBezTo>
                    <a:pt x="13612" y="6621"/>
                    <a:pt x="13242" y="6924"/>
                    <a:pt x="12772" y="7193"/>
                  </a:cubicBezTo>
                  <a:close/>
                  <a:moveTo>
                    <a:pt x="8537" y="4907"/>
                  </a:moveTo>
                  <a:lnTo>
                    <a:pt x="10856" y="6252"/>
                  </a:lnTo>
                  <a:cubicBezTo>
                    <a:pt x="11864" y="5647"/>
                    <a:pt x="12032" y="5143"/>
                    <a:pt x="11326" y="4739"/>
                  </a:cubicBezTo>
                  <a:cubicBezTo>
                    <a:pt x="11024" y="4571"/>
                    <a:pt x="10621" y="4470"/>
                    <a:pt x="10184" y="4538"/>
                  </a:cubicBezTo>
                  <a:cubicBezTo>
                    <a:pt x="9713" y="4605"/>
                    <a:pt x="9175" y="4706"/>
                    <a:pt x="8537" y="4907"/>
                  </a:cubicBezTo>
                  <a:close/>
                  <a:moveTo>
                    <a:pt x="4201" y="4302"/>
                  </a:moveTo>
                  <a:cubicBezTo>
                    <a:pt x="4605" y="4269"/>
                    <a:pt x="5109" y="4134"/>
                    <a:pt x="5680" y="3966"/>
                  </a:cubicBezTo>
                  <a:lnTo>
                    <a:pt x="3328" y="2588"/>
                  </a:lnTo>
                  <a:cubicBezTo>
                    <a:pt x="2487" y="3160"/>
                    <a:pt x="2420" y="3664"/>
                    <a:pt x="3126" y="4067"/>
                  </a:cubicBezTo>
                  <a:cubicBezTo>
                    <a:pt x="3462" y="4269"/>
                    <a:pt x="3798" y="4336"/>
                    <a:pt x="4201" y="4302"/>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24" name="Google Shape;3219;p49"/>
            <p:cNvSpPr/>
            <p:nvPr/>
          </p:nvSpPr>
          <p:spPr>
            <a:xfrm>
              <a:off x="-24854400" y="115785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25" name="Google Shape;3220;p49"/>
            <p:cNvSpPr/>
            <p:nvPr/>
          </p:nvSpPr>
          <p:spPr>
            <a:xfrm>
              <a:off x="-24830025" y="11620525"/>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26" name="Google Shape;3221;p49"/>
            <p:cNvSpPr/>
            <p:nvPr/>
          </p:nvSpPr>
          <p:spPr>
            <a:xfrm>
              <a:off x="-24805650" y="11663375"/>
              <a:ext cx="0" cy="215950"/>
            </a:xfrm>
            <a:custGeom>
              <a:avLst/>
              <a:gdLst/>
              <a:ahLst/>
              <a:cxnLst/>
              <a:rect l="l" t="t" r="r" b="b"/>
              <a:pathLst>
                <a:path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27" name="Google Shape;3222;p49"/>
            <p:cNvSpPr/>
            <p:nvPr/>
          </p:nvSpPr>
          <p:spPr>
            <a:xfrm>
              <a:off x="-24782125" y="11706225"/>
              <a:ext cx="25" cy="215125"/>
            </a:xfrm>
            <a:custGeom>
              <a:avLst/>
              <a:gdLst/>
              <a:ahLst/>
              <a:cxnLst/>
              <a:rect l="l" t="t" r="r" b="b"/>
              <a:pathLst>
                <a:path w="1" h="8605" fill="none" extrusionOk="0">
                  <a:moveTo>
                    <a:pt x="0" y="1"/>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28" name="Google Shape;3223;p49"/>
            <p:cNvSpPr/>
            <p:nvPr/>
          </p:nvSpPr>
          <p:spPr>
            <a:xfrm>
              <a:off x="-24757775" y="11701175"/>
              <a:ext cx="25" cy="215125"/>
            </a:xfrm>
            <a:custGeom>
              <a:avLst/>
              <a:gdLst/>
              <a:ahLst/>
              <a:cxnLst/>
              <a:rect l="l" t="t" r="r" b="b"/>
              <a:pathLst>
                <a:path w="1" h="8605" fill="none" extrusionOk="0">
                  <a:moveTo>
                    <a:pt x="1" y="1"/>
                  </a:moveTo>
                  <a:lnTo>
                    <a:pt x="1"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29" name="Google Shape;3224;p49"/>
            <p:cNvSpPr/>
            <p:nvPr/>
          </p:nvSpPr>
          <p:spPr>
            <a:xfrm>
              <a:off x="-24724150" y="117121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30" name="Google Shape;3225;p49"/>
            <p:cNvSpPr/>
            <p:nvPr/>
          </p:nvSpPr>
          <p:spPr>
            <a:xfrm>
              <a:off x="-24691400" y="117238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31" name="Google Shape;3226;p49"/>
            <p:cNvSpPr/>
            <p:nvPr/>
          </p:nvSpPr>
          <p:spPr>
            <a:xfrm>
              <a:off x="-24657775" y="11735625"/>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32" name="Google Shape;3227;p49"/>
            <p:cNvSpPr/>
            <p:nvPr/>
          </p:nvSpPr>
          <p:spPr>
            <a:xfrm>
              <a:off x="-24624175" y="117465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33" name="Google Shape;3228;p49"/>
            <p:cNvSpPr/>
            <p:nvPr/>
          </p:nvSpPr>
          <p:spPr>
            <a:xfrm>
              <a:off x="-24591400" y="117583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34" name="Google Shape;3229;p49"/>
            <p:cNvSpPr/>
            <p:nvPr/>
          </p:nvSpPr>
          <p:spPr>
            <a:xfrm>
              <a:off x="-24557800" y="1177007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35" name="Google Shape;3230;p49"/>
            <p:cNvSpPr/>
            <p:nvPr/>
          </p:nvSpPr>
          <p:spPr>
            <a:xfrm>
              <a:off x="-24525025" y="117810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36" name="Google Shape;3231;p49"/>
            <p:cNvSpPr/>
            <p:nvPr/>
          </p:nvSpPr>
          <p:spPr>
            <a:xfrm>
              <a:off x="-24491425" y="117927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37" name="Google Shape;3232;p49"/>
            <p:cNvSpPr/>
            <p:nvPr/>
          </p:nvSpPr>
          <p:spPr>
            <a:xfrm>
              <a:off x="-24458650" y="118045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38" name="Google Shape;3233;p49"/>
            <p:cNvSpPr/>
            <p:nvPr/>
          </p:nvSpPr>
          <p:spPr>
            <a:xfrm>
              <a:off x="-24425050" y="117843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39" name="Google Shape;3234;p49"/>
            <p:cNvSpPr/>
            <p:nvPr/>
          </p:nvSpPr>
          <p:spPr>
            <a:xfrm>
              <a:off x="-24393125" y="117810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40" name="Google Shape;3235;p49"/>
            <p:cNvSpPr/>
            <p:nvPr/>
          </p:nvSpPr>
          <p:spPr>
            <a:xfrm>
              <a:off x="-24360350" y="11778475"/>
              <a:ext cx="25" cy="215125"/>
            </a:xfrm>
            <a:custGeom>
              <a:avLst/>
              <a:gdLst/>
              <a:ahLst/>
              <a:cxnLst/>
              <a:rect l="l" t="t" r="r" b="b"/>
              <a:pathLst>
                <a:path w="1" h="8605" fill="none" extrusionOk="0">
                  <a:moveTo>
                    <a:pt x="1" y="1"/>
                  </a:moveTo>
                  <a:lnTo>
                    <a:pt x="1"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41" name="Google Shape;3236;p49"/>
            <p:cNvSpPr/>
            <p:nvPr/>
          </p:nvSpPr>
          <p:spPr>
            <a:xfrm>
              <a:off x="-24328425" y="11775125"/>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42" name="Google Shape;3237;p49"/>
            <p:cNvSpPr/>
            <p:nvPr/>
          </p:nvSpPr>
          <p:spPr>
            <a:xfrm>
              <a:off x="-24295650" y="117717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43" name="Google Shape;3238;p49"/>
            <p:cNvSpPr/>
            <p:nvPr/>
          </p:nvSpPr>
          <p:spPr>
            <a:xfrm>
              <a:off x="-24263725" y="117684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44" name="Google Shape;3239;p49"/>
            <p:cNvSpPr/>
            <p:nvPr/>
          </p:nvSpPr>
          <p:spPr>
            <a:xfrm>
              <a:off x="-24231800" y="117650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45" name="Google Shape;3240;p49"/>
            <p:cNvSpPr/>
            <p:nvPr/>
          </p:nvSpPr>
          <p:spPr>
            <a:xfrm>
              <a:off x="-24199025" y="117616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46" name="Google Shape;3241;p49"/>
            <p:cNvSpPr/>
            <p:nvPr/>
          </p:nvSpPr>
          <p:spPr>
            <a:xfrm>
              <a:off x="-24167100" y="117070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47" name="Google Shape;3242;p49"/>
            <p:cNvSpPr/>
            <p:nvPr/>
          </p:nvSpPr>
          <p:spPr>
            <a:xfrm>
              <a:off x="-24136000" y="11651625"/>
              <a:ext cx="25" cy="215950"/>
            </a:xfrm>
            <a:custGeom>
              <a:avLst/>
              <a:gdLst/>
              <a:ahLst/>
              <a:cxnLst/>
              <a:rect l="l" t="t" r="r" b="b"/>
              <a:pathLst>
                <a:path w="1" h="8638" fill="none" extrusionOk="0">
                  <a:moveTo>
                    <a:pt x="0" y="0"/>
                  </a:moveTo>
                  <a:lnTo>
                    <a:pt x="0"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48" name="Google Shape;3243;p49"/>
            <p:cNvSpPr/>
            <p:nvPr/>
          </p:nvSpPr>
          <p:spPr>
            <a:xfrm>
              <a:off x="-24104075" y="1162305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49" name="Google Shape;3244;p49"/>
            <p:cNvSpPr/>
            <p:nvPr/>
          </p:nvSpPr>
          <p:spPr>
            <a:xfrm>
              <a:off x="-24072150" y="116306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50" name="Google Shape;3245;p49"/>
            <p:cNvSpPr/>
            <p:nvPr/>
          </p:nvSpPr>
          <p:spPr>
            <a:xfrm>
              <a:off x="-24039375" y="116381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51" name="Google Shape;3246;p49"/>
            <p:cNvSpPr/>
            <p:nvPr/>
          </p:nvSpPr>
          <p:spPr>
            <a:xfrm>
              <a:off x="-24014175" y="115810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52" name="Google Shape;3247;p49"/>
            <p:cNvSpPr/>
            <p:nvPr/>
          </p:nvSpPr>
          <p:spPr>
            <a:xfrm>
              <a:off x="-25765175" y="13416075"/>
              <a:ext cx="863750" cy="338625"/>
            </a:xfrm>
            <a:custGeom>
              <a:avLst/>
              <a:gdLst/>
              <a:ahLst/>
              <a:cxnLst/>
              <a:rect l="l" t="t" r="r" b="b"/>
              <a:pathLst>
                <a:path w="34550" h="13545" extrusionOk="0">
                  <a:moveTo>
                    <a:pt x="34550" y="236"/>
                  </a:moveTo>
                  <a:cubicBezTo>
                    <a:pt x="34550" y="572"/>
                    <a:pt x="34516" y="908"/>
                    <a:pt x="34449" y="1210"/>
                  </a:cubicBezTo>
                  <a:cubicBezTo>
                    <a:pt x="34382" y="1546"/>
                    <a:pt x="34281" y="1882"/>
                    <a:pt x="34180" y="2185"/>
                  </a:cubicBezTo>
                  <a:cubicBezTo>
                    <a:pt x="34046" y="2521"/>
                    <a:pt x="33877" y="2857"/>
                    <a:pt x="33709" y="3193"/>
                  </a:cubicBezTo>
                  <a:cubicBezTo>
                    <a:pt x="33508" y="3529"/>
                    <a:pt x="33273" y="3865"/>
                    <a:pt x="33004" y="4201"/>
                  </a:cubicBezTo>
                  <a:cubicBezTo>
                    <a:pt x="32701" y="4605"/>
                    <a:pt x="32331" y="4974"/>
                    <a:pt x="31928" y="5378"/>
                  </a:cubicBezTo>
                  <a:cubicBezTo>
                    <a:pt x="31323" y="5949"/>
                    <a:pt x="30584" y="6487"/>
                    <a:pt x="29744" y="6991"/>
                  </a:cubicBezTo>
                  <a:cubicBezTo>
                    <a:pt x="29676" y="7024"/>
                    <a:pt x="29609" y="7058"/>
                    <a:pt x="29542" y="7125"/>
                  </a:cubicBezTo>
                  <a:cubicBezTo>
                    <a:pt x="28399" y="7764"/>
                    <a:pt x="27122" y="8335"/>
                    <a:pt x="25744" y="8772"/>
                  </a:cubicBezTo>
                  <a:cubicBezTo>
                    <a:pt x="24702" y="9108"/>
                    <a:pt x="23627" y="9377"/>
                    <a:pt x="22484" y="9579"/>
                  </a:cubicBezTo>
                  <a:cubicBezTo>
                    <a:pt x="21778" y="9713"/>
                    <a:pt x="21039" y="9814"/>
                    <a:pt x="20300" y="9881"/>
                  </a:cubicBezTo>
                  <a:cubicBezTo>
                    <a:pt x="19661" y="9948"/>
                    <a:pt x="19022" y="10016"/>
                    <a:pt x="18384" y="10016"/>
                  </a:cubicBezTo>
                  <a:cubicBezTo>
                    <a:pt x="17779" y="10049"/>
                    <a:pt x="17174" y="10049"/>
                    <a:pt x="16603" y="10016"/>
                  </a:cubicBezTo>
                  <a:cubicBezTo>
                    <a:pt x="16031" y="10016"/>
                    <a:pt x="15460" y="9982"/>
                    <a:pt x="14889" y="9948"/>
                  </a:cubicBezTo>
                  <a:cubicBezTo>
                    <a:pt x="14351" y="9881"/>
                    <a:pt x="13780" y="9814"/>
                    <a:pt x="13208" y="9747"/>
                  </a:cubicBezTo>
                  <a:cubicBezTo>
                    <a:pt x="12637" y="9680"/>
                    <a:pt x="12065" y="9579"/>
                    <a:pt x="11528" y="9444"/>
                  </a:cubicBezTo>
                  <a:cubicBezTo>
                    <a:pt x="10889" y="9310"/>
                    <a:pt x="10318" y="9175"/>
                    <a:pt x="9713" y="9007"/>
                  </a:cubicBezTo>
                  <a:cubicBezTo>
                    <a:pt x="9007" y="8806"/>
                    <a:pt x="8301" y="8570"/>
                    <a:pt x="7629" y="8302"/>
                  </a:cubicBezTo>
                  <a:cubicBezTo>
                    <a:pt x="6755" y="7966"/>
                    <a:pt x="5915" y="7562"/>
                    <a:pt x="5142" y="7125"/>
                  </a:cubicBezTo>
                  <a:cubicBezTo>
                    <a:pt x="1714" y="5142"/>
                    <a:pt x="34" y="2555"/>
                    <a:pt x="34" y="0"/>
                  </a:cubicBezTo>
                  <a:lnTo>
                    <a:pt x="34" y="3496"/>
                  </a:lnTo>
                  <a:cubicBezTo>
                    <a:pt x="0" y="6083"/>
                    <a:pt x="1714" y="8671"/>
                    <a:pt x="5109" y="10621"/>
                  </a:cubicBezTo>
                  <a:cubicBezTo>
                    <a:pt x="5882" y="11091"/>
                    <a:pt x="6722" y="11461"/>
                    <a:pt x="7596" y="11831"/>
                  </a:cubicBezTo>
                  <a:cubicBezTo>
                    <a:pt x="8301" y="12099"/>
                    <a:pt x="8974" y="12335"/>
                    <a:pt x="9713" y="12536"/>
                  </a:cubicBezTo>
                  <a:cubicBezTo>
                    <a:pt x="10284" y="12704"/>
                    <a:pt x="10889" y="12839"/>
                    <a:pt x="11494" y="12973"/>
                  </a:cubicBezTo>
                  <a:cubicBezTo>
                    <a:pt x="12065" y="13074"/>
                    <a:pt x="12637" y="13175"/>
                    <a:pt x="13208" y="13276"/>
                  </a:cubicBezTo>
                  <a:cubicBezTo>
                    <a:pt x="13780" y="13343"/>
                    <a:pt x="14317" y="13410"/>
                    <a:pt x="14889" y="13444"/>
                  </a:cubicBezTo>
                  <a:cubicBezTo>
                    <a:pt x="15460" y="13511"/>
                    <a:pt x="16031" y="13545"/>
                    <a:pt x="16603" y="13545"/>
                  </a:cubicBezTo>
                  <a:cubicBezTo>
                    <a:pt x="17174" y="13545"/>
                    <a:pt x="17779" y="13545"/>
                    <a:pt x="18350" y="13545"/>
                  </a:cubicBezTo>
                  <a:cubicBezTo>
                    <a:pt x="18989" y="13511"/>
                    <a:pt x="19627" y="13477"/>
                    <a:pt x="20266" y="13410"/>
                  </a:cubicBezTo>
                  <a:cubicBezTo>
                    <a:pt x="21005" y="13343"/>
                    <a:pt x="21745" y="13242"/>
                    <a:pt x="22484" y="13108"/>
                  </a:cubicBezTo>
                  <a:cubicBezTo>
                    <a:pt x="23593" y="12906"/>
                    <a:pt x="24702" y="12637"/>
                    <a:pt x="25744" y="12301"/>
                  </a:cubicBezTo>
                  <a:cubicBezTo>
                    <a:pt x="27089" y="11864"/>
                    <a:pt x="28366" y="11293"/>
                    <a:pt x="29542" y="10621"/>
                  </a:cubicBezTo>
                  <a:cubicBezTo>
                    <a:pt x="29609" y="10587"/>
                    <a:pt x="29676" y="10553"/>
                    <a:pt x="29744" y="10486"/>
                  </a:cubicBezTo>
                  <a:cubicBezTo>
                    <a:pt x="30584" y="9982"/>
                    <a:pt x="31323" y="9444"/>
                    <a:pt x="31928" y="8873"/>
                  </a:cubicBezTo>
                  <a:cubicBezTo>
                    <a:pt x="32331" y="8503"/>
                    <a:pt x="32701" y="8134"/>
                    <a:pt x="33004" y="7730"/>
                  </a:cubicBezTo>
                  <a:cubicBezTo>
                    <a:pt x="33273" y="7394"/>
                    <a:pt x="33508" y="7058"/>
                    <a:pt x="33709" y="6688"/>
                  </a:cubicBezTo>
                  <a:cubicBezTo>
                    <a:pt x="33877" y="6386"/>
                    <a:pt x="34046" y="6050"/>
                    <a:pt x="34146" y="5714"/>
                  </a:cubicBezTo>
                  <a:cubicBezTo>
                    <a:pt x="34281" y="5378"/>
                    <a:pt x="34382" y="5075"/>
                    <a:pt x="34415" y="4739"/>
                  </a:cubicBezTo>
                  <a:cubicBezTo>
                    <a:pt x="34482" y="4403"/>
                    <a:pt x="34550" y="4067"/>
                    <a:pt x="34550" y="3764"/>
                  </a:cubicBezTo>
                  <a:cubicBezTo>
                    <a:pt x="34550" y="3697"/>
                    <a:pt x="34550" y="3664"/>
                    <a:pt x="34550" y="3596"/>
                  </a:cubicBezTo>
                  <a:lnTo>
                    <a:pt x="34550" y="101"/>
                  </a:lnTo>
                  <a:cubicBezTo>
                    <a:pt x="34550" y="135"/>
                    <a:pt x="34550" y="202"/>
                    <a:pt x="34550" y="236"/>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53" name="Google Shape;3248;p49"/>
            <p:cNvSpPr/>
            <p:nvPr/>
          </p:nvSpPr>
          <p:spPr>
            <a:xfrm>
              <a:off x="-25807200" y="13143000"/>
              <a:ext cx="948625" cy="548675"/>
            </a:xfrm>
            <a:custGeom>
              <a:avLst/>
              <a:gdLst/>
              <a:ahLst/>
              <a:cxnLst/>
              <a:rect l="l" t="t" r="r" b="b"/>
              <a:pathLst>
                <a:path w="37945" h="21947" extrusionOk="0">
                  <a:moveTo>
                    <a:pt x="31156" y="3899"/>
                  </a:moveTo>
                  <a:cubicBezTo>
                    <a:pt x="37911" y="7798"/>
                    <a:pt x="37945" y="14116"/>
                    <a:pt x="31223" y="18048"/>
                  </a:cubicBezTo>
                  <a:cubicBezTo>
                    <a:pt x="24501" y="21947"/>
                    <a:pt x="13578" y="21947"/>
                    <a:pt x="6790" y="18048"/>
                  </a:cubicBezTo>
                  <a:cubicBezTo>
                    <a:pt x="34" y="14116"/>
                    <a:pt x="1" y="7798"/>
                    <a:pt x="6722" y="3899"/>
                  </a:cubicBezTo>
                  <a:cubicBezTo>
                    <a:pt x="13444" y="0"/>
                    <a:pt x="24367" y="0"/>
                    <a:pt x="31156" y="389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54" name="Google Shape;3249;p49"/>
            <p:cNvSpPr/>
            <p:nvPr/>
          </p:nvSpPr>
          <p:spPr>
            <a:xfrm>
              <a:off x="-25747550" y="13176600"/>
              <a:ext cx="829325" cy="480625"/>
            </a:xfrm>
            <a:custGeom>
              <a:avLst/>
              <a:gdLst/>
              <a:ahLst/>
              <a:cxnLst/>
              <a:rect l="l" t="t" r="r" b="b"/>
              <a:pathLst>
                <a:path w="33173" h="19225" extrusionOk="0">
                  <a:moveTo>
                    <a:pt x="27224" y="3429"/>
                  </a:moveTo>
                  <a:cubicBezTo>
                    <a:pt x="33139" y="6857"/>
                    <a:pt x="33172" y="12369"/>
                    <a:pt x="27291" y="15797"/>
                  </a:cubicBezTo>
                  <a:cubicBezTo>
                    <a:pt x="21409" y="19225"/>
                    <a:pt x="11865" y="19225"/>
                    <a:pt x="5950" y="15797"/>
                  </a:cubicBezTo>
                  <a:cubicBezTo>
                    <a:pt x="34" y="12402"/>
                    <a:pt x="1" y="6857"/>
                    <a:pt x="5882" y="3429"/>
                  </a:cubicBezTo>
                  <a:cubicBezTo>
                    <a:pt x="11764" y="1"/>
                    <a:pt x="21309" y="1"/>
                    <a:pt x="27224" y="342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55" name="Google Shape;3250;p49"/>
            <p:cNvSpPr/>
            <p:nvPr/>
          </p:nvSpPr>
          <p:spPr>
            <a:xfrm>
              <a:off x="-25518175" y="13288350"/>
              <a:ext cx="364700" cy="228575"/>
            </a:xfrm>
            <a:custGeom>
              <a:avLst/>
              <a:gdLst/>
              <a:ahLst/>
              <a:cxnLst/>
              <a:rect l="l" t="t" r="r" b="b"/>
              <a:pathLst>
                <a:path w="14588" h="9143" extrusionOk="0">
                  <a:moveTo>
                    <a:pt x="12772" y="7227"/>
                  </a:moveTo>
                  <a:lnTo>
                    <a:pt x="14385" y="8168"/>
                  </a:lnTo>
                  <a:lnTo>
                    <a:pt x="13512" y="8672"/>
                  </a:lnTo>
                  <a:lnTo>
                    <a:pt x="11898" y="7731"/>
                  </a:lnTo>
                  <a:cubicBezTo>
                    <a:pt x="11193" y="8100"/>
                    <a:pt x="10386" y="8403"/>
                    <a:pt x="9512" y="8638"/>
                  </a:cubicBezTo>
                  <a:cubicBezTo>
                    <a:pt x="8638" y="8873"/>
                    <a:pt x="7765" y="9041"/>
                    <a:pt x="6891" y="9142"/>
                  </a:cubicBezTo>
                  <a:lnTo>
                    <a:pt x="6050" y="7630"/>
                  </a:lnTo>
                  <a:cubicBezTo>
                    <a:pt x="6185" y="7630"/>
                    <a:pt x="6454" y="7596"/>
                    <a:pt x="6756" y="7563"/>
                  </a:cubicBezTo>
                  <a:cubicBezTo>
                    <a:pt x="7059" y="7529"/>
                    <a:pt x="7395" y="7462"/>
                    <a:pt x="7798" y="7395"/>
                  </a:cubicBezTo>
                  <a:cubicBezTo>
                    <a:pt x="8168" y="7294"/>
                    <a:pt x="8605" y="7193"/>
                    <a:pt x="9008" y="7092"/>
                  </a:cubicBezTo>
                  <a:cubicBezTo>
                    <a:pt x="9445" y="6958"/>
                    <a:pt x="9848" y="6790"/>
                    <a:pt x="10218" y="6622"/>
                  </a:cubicBezTo>
                  <a:lnTo>
                    <a:pt x="7731" y="5176"/>
                  </a:lnTo>
                  <a:cubicBezTo>
                    <a:pt x="7630" y="5210"/>
                    <a:pt x="7529" y="5244"/>
                    <a:pt x="7428" y="5277"/>
                  </a:cubicBezTo>
                  <a:cubicBezTo>
                    <a:pt x="7294" y="5311"/>
                    <a:pt x="7193" y="5345"/>
                    <a:pt x="7059" y="5412"/>
                  </a:cubicBezTo>
                  <a:cubicBezTo>
                    <a:pt x="6454" y="5613"/>
                    <a:pt x="5882" y="5781"/>
                    <a:pt x="5345" y="5882"/>
                  </a:cubicBezTo>
                  <a:cubicBezTo>
                    <a:pt x="4841" y="6017"/>
                    <a:pt x="4336" y="6050"/>
                    <a:pt x="3900" y="6084"/>
                  </a:cubicBezTo>
                  <a:cubicBezTo>
                    <a:pt x="3429" y="6084"/>
                    <a:pt x="2992" y="6050"/>
                    <a:pt x="2589" y="5949"/>
                  </a:cubicBezTo>
                  <a:cubicBezTo>
                    <a:pt x="2185" y="5849"/>
                    <a:pt x="1782" y="5714"/>
                    <a:pt x="1379" y="5479"/>
                  </a:cubicBezTo>
                  <a:cubicBezTo>
                    <a:pt x="908" y="5176"/>
                    <a:pt x="539" y="4908"/>
                    <a:pt x="337" y="4572"/>
                  </a:cubicBezTo>
                  <a:cubicBezTo>
                    <a:pt x="135" y="4269"/>
                    <a:pt x="35" y="3933"/>
                    <a:pt x="35" y="3597"/>
                  </a:cubicBezTo>
                  <a:cubicBezTo>
                    <a:pt x="68" y="3294"/>
                    <a:pt x="203" y="2958"/>
                    <a:pt x="471" y="2622"/>
                  </a:cubicBezTo>
                  <a:cubicBezTo>
                    <a:pt x="707" y="2320"/>
                    <a:pt x="1043" y="2017"/>
                    <a:pt x="1480" y="1715"/>
                  </a:cubicBezTo>
                  <a:lnTo>
                    <a:pt x="1" y="875"/>
                  </a:lnTo>
                  <a:lnTo>
                    <a:pt x="841" y="370"/>
                  </a:lnTo>
                  <a:lnTo>
                    <a:pt x="2320" y="1211"/>
                  </a:lnTo>
                  <a:cubicBezTo>
                    <a:pt x="2992" y="875"/>
                    <a:pt x="3731" y="606"/>
                    <a:pt x="4471" y="404"/>
                  </a:cubicBezTo>
                  <a:cubicBezTo>
                    <a:pt x="5210" y="236"/>
                    <a:pt x="5916" y="102"/>
                    <a:pt x="6622" y="1"/>
                  </a:cubicBezTo>
                  <a:lnTo>
                    <a:pt x="7361" y="1480"/>
                  </a:lnTo>
                  <a:cubicBezTo>
                    <a:pt x="7227" y="1480"/>
                    <a:pt x="7025" y="1480"/>
                    <a:pt x="6790" y="1513"/>
                  </a:cubicBezTo>
                  <a:cubicBezTo>
                    <a:pt x="6521" y="1547"/>
                    <a:pt x="6252" y="1614"/>
                    <a:pt x="5916" y="1681"/>
                  </a:cubicBezTo>
                  <a:cubicBezTo>
                    <a:pt x="5614" y="1748"/>
                    <a:pt x="5277" y="1816"/>
                    <a:pt x="4941" y="1916"/>
                  </a:cubicBezTo>
                  <a:cubicBezTo>
                    <a:pt x="4605" y="2017"/>
                    <a:pt x="4269" y="2152"/>
                    <a:pt x="3967" y="2286"/>
                  </a:cubicBezTo>
                  <a:lnTo>
                    <a:pt x="6454" y="3731"/>
                  </a:lnTo>
                  <a:lnTo>
                    <a:pt x="6924" y="3597"/>
                  </a:lnTo>
                  <a:cubicBezTo>
                    <a:pt x="7563" y="3362"/>
                    <a:pt x="8134" y="3194"/>
                    <a:pt x="8706" y="3059"/>
                  </a:cubicBezTo>
                  <a:cubicBezTo>
                    <a:pt x="9277" y="2891"/>
                    <a:pt x="9815" y="2824"/>
                    <a:pt x="10319" y="2790"/>
                  </a:cubicBezTo>
                  <a:cubicBezTo>
                    <a:pt x="10857" y="2757"/>
                    <a:pt x="11327" y="2790"/>
                    <a:pt x="11831" y="2891"/>
                  </a:cubicBezTo>
                  <a:cubicBezTo>
                    <a:pt x="12302" y="2958"/>
                    <a:pt x="12772" y="3160"/>
                    <a:pt x="13243" y="3429"/>
                  </a:cubicBezTo>
                  <a:cubicBezTo>
                    <a:pt x="13780" y="3731"/>
                    <a:pt x="14150" y="4067"/>
                    <a:pt x="14318" y="4403"/>
                  </a:cubicBezTo>
                  <a:cubicBezTo>
                    <a:pt x="14520" y="4706"/>
                    <a:pt x="14587" y="5042"/>
                    <a:pt x="14486" y="5378"/>
                  </a:cubicBezTo>
                  <a:cubicBezTo>
                    <a:pt x="14419" y="5681"/>
                    <a:pt x="14217" y="6017"/>
                    <a:pt x="13915" y="6319"/>
                  </a:cubicBezTo>
                  <a:cubicBezTo>
                    <a:pt x="13612" y="6655"/>
                    <a:pt x="13243" y="6958"/>
                    <a:pt x="12772" y="7227"/>
                  </a:cubicBezTo>
                  <a:close/>
                  <a:moveTo>
                    <a:pt x="8538" y="4941"/>
                  </a:moveTo>
                  <a:lnTo>
                    <a:pt x="10857" y="6286"/>
                  </a:lnTo>
                  <a:cubicBezTo>
                    <a:pt x="11865" y="5681"/>
                    <a:pt x="12033" y="5176"/>
                    <a:pt x="11327" y="4773"/>
                  </a:cubicBezTo>
                  <a:cubicBezTo>
                    <a:pt x="11025" y="4605"/>
                    <a:pt x="10621" y="4538"/>
                    <a:pt x="10184" y="4572"/>
                  </a:cubicBezTo>
                  <a:cubicBezTo>
                    <a:pt x="9714" y="4605"/>
                    <a:pt x="9176" y="4740"/>
                    <a:pt x="8538" y="4941"/>
                  </a:cubicBezTo>
                  <a:close/>
                  <a:moveTo>
                    <a:pt x="4202" y="4336"/>
                  </a:moveTo>
                  <a:cubicBezTo>
                    <a:pt x="4605" y="4303"/>
                    <a:pt x="5109" y="4168"/>
                    <a:pt x="5681" y="4000"/>
                  </a:cubicBezTo>
                  <a:lnTo>
                    <a:pt x="3328" y="2622"/>
                  </a:lnTo>
                  <a:cubicBezTo>
                    <a:pt x="2488" y="3194"/>
                    <a:pt x="2421" y="3698"/>
                    <a:pt x="3127" y="4101"/>
                  </a:cubicBezTo>
                  <a:cubicBezTo>
                    <a:pt x="3463" y="4269"/>
                    <a:pt x="3799" y="4370"/>
                    <a:pt x="4202" y="4336"/>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56" name="Google Shape;3251;p49"/>
            <p:cNvSpPr/>
            <p:nvPr/>
          </p:nvSpPr>
          <p:spPr>
            <a:xfrm>
              <a:off x="-25746700" y="13425300"/>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57" name="Google Shape;3252;p49"/>
            <p:cNvSpPr/>
            <p:nvPr/>
          </p:nvSpPr>
          <p:spPr>
            <a:xfrm>
              <a:off x="-25722325" y="13467325"/>
              <a:ext cx="0" cy="215950"/>
            </a:xfrm>
            <a:custGeom>
              <a:avLst/>
              <a:gdLst/>
              <a:ahLst/>
              <a:cxnLst/>
              <a:rect l="l" t="t" r="r" b="b"/>
              <a:pathLst>
                <a:path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58" name="Google Shape;3253;p49"/>
            <p:cNvSpPr/>
            <p:nvPr/>
          </p:nvSpPr>
          <p:spPr>
            <a:xfrm>
              <a:off x="-25697975" y="135101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59" name="Google Shape;3254;p49"/>
            <p:cNvSpPr/>
            <p:nvPr/>
          </p:nvSpPr>
          <p:spPr>
            <a:xfrm>
              <a:off x="-25674450" y="1355217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60" name="Google Shape;3255;p49"/>
            <p:cNvSpPr/>
            <p:nvPr/>
          </p:nvSpPr>
          <p:spPr>
            <a:xfrm>
              <a:off x="-25650075" y="1354715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61" name="Google Shape;3256;p49"/>
            <p:cNvSpPr/>
            <p:nvPr/>
          </p:nvSpPr>
          <p:spPr>
            <a:xfrm>
              <a:off x="-25616475" y="135589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62" name="Google Shape;3257;p49"/>
            <p:cNvSpPr/>
            <p:nvPr/>
          </p:nvSpPr>
          <p:spPr>
            <a:xfrm>
              <a:off x="-25583700" y="135706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63" name="Google Shape;3258;p49"/>
            <p:cNvSpPr/>
            <p:nvPr/>
          </p:nvSpPr>
          <p:spPr>
            <a:xfrm>
              <a:off x="-25550100" y="13582425"/>
              <a:ext cx="25" cy="215125"/>
            </a:xfrm>
            <a:custGeom>
              <a:avLst/>
              <a:gdLst/>
              <a:ahLst/>
              <a:cxnLst/>
              <a:rect l="l" t="t" r="r" b="b"/>
              <a:pathLst>
                <a:path w="1" h="8605" fill="none" extrusionOk="0">
                  <a:moveTo>
                    <a:pt x="1" y="1"/>
                  </a:moveTo>
                  <a:lnTo>
                    <a:pt x="1"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64" name="Google Shape;3259;p49"/>
            <p:cNvSpPr/>
            <p:nvPr/>
          </p:nvSpPr>
          <p:spPr>
            <a:xfrm>
              <a:off x="-25516475" y="135933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65" name="Google Shape;3260;p49"/>
            <p:cNvSpPr/>
            <p:nvPr/>
          </p:nvSpPr>
          <p:spPr>
            <a:xfrm>
              <a:off x="-25483725" y="136051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66" name="Google Shape;3261;p49"/>
            <p:cNvSpPr/>
            <p:nvPr/>
          </p:nvSpPr>
          <p:spPr>
            <a:xfrm>
              <a:off x="-25450100" y="13616875"/>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67" name="Google Shape;3262;p49"/>
            <p:cNvSpPr/>
            <p:nvPr/>
          </p:nvSpPr>
          <p:spPr>
            <a:xfrm>
              <a:off x="-25417350" y="136278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68" name="Google Shape;3263;p49"/>
            <p:cNvSpPr/>
            <p:nvPr/>
          </p:nvSpPr>
          <p:spPr>
            <a:xfrm>
              <a:off x="-25383725" y="136395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69" name="Google Shape;3264;p49"/>
            <p:cNvSpPr/>
            <p:nvPr/>
          </p:nvSpPr>
          <p:spPr>
            <a:xfrm>
              <a:off x="-25350950" y="13651325"/>
              <a:ext cx="0" cy="215975"/>
            </a:xfrm>
            <a:custGeom>
              <a:avLst/>
              <a:gdLst/>
              <a:ahLst/>
              <a:cxnLst/>
              <a:rect l="l" t="t" r="r" b="b"/>
              <a:pathLst>
                <a:path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70" name="Google Shape;3265;p49"/>
            <p:cNvSpPr/>
            <p:nvPr/>
          </p:nvSpPr>
          <p:spPr>
            <a:xfrm>
              <a:off x="-25317350" y="136311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71" name="Google Shape;3266;p49"/>
            <p:cNvSpPr/>
            <p:nvPr/>
          </p:nvSpPr>
          <p:spPr>
            <a:xfrm>
              <a:off x="-25285425" y="136278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72" name="Google Shape;3267;p49"/>
            <p:cNvSpPr/>
            <p:nvPr/>
          </p:nvSpPr>
          <p:spPr>
            <a:xfrm>
              <a:off x="-25252650" y="1362445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73" name="Google Shape;3268;p49"/>
            <p:cNvSpPr/>
            <p:nvPr/>
          </p:nvSpPr>
          <p:spPr>
            <a:xfrm>
              <a:off x="-25220725" y="13621925"/>
              <a:ext cx="25" cy="215125"/>
            </a:xfrm>
            <a:custGeom>
              <a:avLst/>
              <a:gdLst/>
              <a:ahLst/>
              <a:cxnLst/>
              <a:rect l="l" t="t" r="r" b="b"/>
              <a:pathLst>
                <a:path w="1" h="8605"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74" name="Google Shape;3269;p49"/>
            <p:cNvSpPr/>
            <p:nvPr/>
          </p:nvSpPr>
          <p:spPr>
            <a:xfrm>
              <a:off x="-25187950" y="136185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75" name="Google Shape;3270;p49"/>
            <p:cNvSpPr/>
            <p:nvPr/>
          </p:nvSpPr>
          <p:spPr>
            <a:xfrm>
              <a:off x="-25156025" y="13615200"/>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76" name="Google Shape;3271;p49"/>
            <p:cNvSpPr/>
            <p:nvPr/>
          </p:nvSpPr>
          <p:spPr>
            <a:xfrm>
              <a:off x="-25124100" y="1361185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77" name="Google Shape;3272;p49"/>
            <p:cNvSpPr/>
            <p:nvPr/>
          </p:nvSpPr>
          <p:spPr>
            <a:xfrm>
              <a:off x="-25091325" y="136084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78" name="Google Shape;3273;p49"/>
            <p:cNvSpPr/>
            <p:nvPr/>
          </p:nvSpPr>
          <p:spPr>
            <a:xfrm>
              <a:off x="-25060250" y="135538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79" name="Google Shape;3274;p49"/>
            <p:cNvSpPr/>
            <p:nvPr/>
          </p:nvSpPr>
          <p:spPr>
            <a:xfrm>
              <a:off x="-25028325" y="134984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80" name="Google Shape;3275;p49"/>
            <p:cNvSpPr/>
            <p:nvPr/>
          </p:nvSpPr>
          <p:spPr>
            <a:xfrm>
              <a:off x="-24996400" y="134698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81" name="Google Shape;3276;p49"/>
            <p:cNvSpPr/>
            <p:nvPr/>
          </p:nvSpPr>
          <p:spPr>
            <a:xfrm>
              <a:off x="-24963625" y="134774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82" name="Google Shape;3277;p49"/>
            <p:cNvSpPr/>
            <p:nvPr/>
          </p:nvSpPr>
          <p:spPr>
            <a:xfrm>
              <a:off x="-24931700" y="134849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83" name="Google Shape;3278;p49"/>
            <p:cNvSpPr/>
            <p:nvPr/>
          </p:nvSpPr>
          <p:spPr>
            <a:xfrm>
              <a:off x="-24906475" y="13427825"/>
              <a:ext cx="0" cy="215975"/>
            </a:xfrm>
            <a:custGeom>
              <a:avLst/>
              <a:gdLst/>
              <a:ahLst/>
              <a:cxnLst/>
              <a:rect l="l" t="t" r="r" b="b"/>
              <a:pathLst>
                <a:path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84" name="Google Shape;3279;p49"/>
            <p:cNvSpPr/>
            <p:nvPr/>
          </p:nvSpPr>
          <p:spPr>
            <a:xfrm>
              <a:off x="-25765175" y="13211900"/>
              <a:ext cx="863750" cy="339475"/>
            </a:xfrm>
            <a:custGeom>
              <a:avLst/>
              <a:gdLst/>
              <a:ahLst/>
              <a:cxnLst/>
              <a:rect l="l" t="t" r="r" b="b"/>
              <a:pathLst>
                <a:path w="34550" h="13579" extrusionOk="0">
                  <a:moveTo>
                    <a:pt x="34550" y="236"/>
                  </a:moveTo>
                  <a:cubicBezTo>
                    <a:pt x="34550" y="572"/>
                    <a:pt x="34516" y="908"/>
                    <a:pt x="34449" y="1244"/>
                  </a:cubicBezTo>
                  <a:cubicBezTo>
                    <a:pt x="34382" y="1546"/>
                    <a:pt x="34281" y="1882"/>
                    <a:pt x="34180" y="2185"/>
                  </a:cubicBezTo>
                  <a:cubicBezTo>
                    <a:pt x="34046" y="2521"/>
                    <a:pt x="33877" y="2857"/>
                    <a:pt x="33709" y="3193"/>
                  </a:cubicBezTo>
                  <a:cubicBezTo>
                    <a:pt x="33508" y="3529"/>
                    <a:pt x="33273" y="3865"/>
                    <a:pt x="33004" y="4201"/>
                  </a:cubicBezTo>
                  <a:cubicBezTo>
                    <a:pt x="32701" y="4605"/>
                    <a:pt x="32331" y="5008"/>
                    <a:pt x="31928" y="5378"/>
                  </a:cubicBezTo>
                  <a:cubicBezTo>
                    <a:pt x="31323" y="5949"/>
                    <a:pt x="30584" y="6487"/>
                    <a:pt x="29744" y="6991"/>
                  </a:cubicBezTo>
                  <a:cubicBezTo>
                    <a:pt x="29676" y="7025"/>
                    <a:pt x="29609" y="7058"/>
                    <a:pt x="29542" y="7125"/>
                  </a:cubicBezTo>
                  <a:cubicBezTo>
                    <a:pt x="28399" y="7798"/>
                    <a:pt x="27122" y="8335"/>
                    <a:pt x="25744" y="8772"/>
                  </a:cubicBezTo>
                  <a:cubicBezTo>
                    <a:pt x="24702" y="9108"/>
                    <a:pt x="23627" y="9377"/>
                    <a:pt x="22484" y="9579"/>
                  </a:cubicBezTo>
                  <a:cubicBezTo>
                    <a:pt x="21778" y="9713"/>
                    <a:pt x="21039" y="9814"/>
                    <a:pt x="20300" y="9915"/>
                  </a:cubicBezTo>
                  <a:cubicBezTo>
                    <a:pt x="19661" y="9949"/>
                    <a:pt x="19022" y="10016"/>
                    <a:pt x="18384" y="10016"/>
                  </a:cubicBezTo>
                  <a:cubicBezTo>
                    <a:pt x="17779" y="10049"/>
                    <a:pt x="17174" y="10049"/>
                    <a:pt x="16603" y="10049"/>
                  </a:cubicBezTo>
                  <a:cubicBezTo>
                    <a:pt x="16031" y="10016"/>
                    <a:pt x="15460" y="9982"/>
                    <a:pt x="14889" y="9949"/>
                  </a:cubicBezTo>
                  <a:cubicBezTo>
                    <a:pt x="14351" y="9881"/>
                    <a:pt x="13780" y="9848"/>
                    <a:pt x="13208" y="9747"/>
                  </a:cubicBezTo>
                  <a:cubicBezTo>
                    <a:pt x="12637" y="9680"/>
                    <a:pt x="12065" y="9579"/>
                    <a:pt x="11528" y="9444"/>
                  </a:cubicBezTo>
                  <a:cubicBezTo>
                    <a:pt x="10889" y="9344"/>
                    <a:pt x="10318" y="9176"/>
                    <a:pt x="9713" y="9007"/>
                  </a:cubicBezTo>
                  <a:cubicBezTo>
                    <a:pt x="9007" y="8806"/>
                    <a:pt x="8301" y="8571"/>
                    <a:pt x="7629" y="8302"/>
                  </a:cubicBezTo>
                  <a:cubicBezTo>
                    <a:pt x="6755" y="7966"/>
                    <a:pt x="5915" y="7562"/>
                    <a:pt x="5142" y="7125"/>
                  </a:cubicBezTo>
                  <a:cubicBezTo>
                    <a:pt x="1714" y="5142"/>
                    <a:pt x="34" y="2555"/>
                    <a:pt x="34" y="0"/>
                  </a:cubicBezTo>
                  <a:lnTo>
                    <a:pt x="34" y="3496"/>
                  </a:lnTo>
                  <a:cubicBezTo>
                    <a:pt x="0" y="6084"/>
                    <a:pt x="1714" y="8671"/>
                    <a:pt x="5109" y="10621"/>
                  </a:cubicBezTo>
                  <a:cubicBezTo>
                    <a:pt x="5882" y="11091"/>
                    <a:pt x="6722" y="11495"/>
                    <a:pt x="7596" y="11831"/>
                  </a:cubicBezTo>
                  <a:cubicBezTo>
                    <a:pt x="8301" y="12099"/>
                    <a:pt x="8974" y="12335"/>
                    <a:pt x="9713" y="12536"/>
                  </a:cubicBezTo>
                  <a:cubicBezTo>
                    <a:pt x="10284" y="12704"/>
                    <a:pt x="10889" y="12839"/>
                    <a:pt x="11494" y="12973"/>
                  </a:cubicBezTo>
                  <a:cubicBezTo>
                    <a:pt x="12065" y="13074"/>
                    <a:pt x="12637" y="13175"/>
                    <a:pt x="13208" y="13276"/>
                  </a:cubicBezTo>
                  <a:cubicBezTo>
                    <a:pt x="13780" y="13343"/>
                    <a:pt x="14317" y="13410"/>
                    <a:pt x="14889" y="13444"/>
                  </a:cubicBezTo>
                  <a:cubicBezTo>
                    <a:pt x="15460" y="13511"/>
                    <a:pt x="16031" y="13545"/>
                    <a:pt x="16603" y="13545"/>
                  </a:cubicBezTo>
                  <a:cubicBezTo>
                    <a:pt x="17174" y="13578"/>
                    <a:pt x="17779" y="13578"/>
                    <a:pt x="18350" y="13545"/>
                  </a:cubicBezTo>
                  <a:cubicBezTo>
                    <a:pt x="18989" y="13511"/>
                    <a:pt x="19627" y="13477"/>
                    <a:pt x="20266" y="13410"/>
                  </a:cubicBezTo>
                  <a:cubicBezTo>
                    <a:pt x="21005" y="13343"/>
                    <a:pt x="21745" y="13242"/>
                    <a:pt x="22484" y="13108"/>
                  </a:cubicBezTo>
                  <a:cubicBezTo>
                    <a:pt x="23593" y="12906"/>
                    <a:pt x="24702" y="12637"/>
                    <a:pt x="25744" y="12301"/>
                  </a:cubicBezTo>
                  <a:cubicBezTo>
                    <a:pt x="27089" y="11864"/>
                    <a:pt x="28366" y="11293"/>
                    <a:pt x="29542" y="10621"/>
                  </a:cubicBezTo>
                  <a:cubicBezTo>
                    <a:pt x="29609" y="10587"/>
                    <a:pt x="29676" y="10553"/>
                    <a:pt x="29744" y="10520"/>
                  </a:cubicBezTo>
                  <a:cubicBezTo>
                    <a:pt x="30584" y="10016"/>
                    <a:pt x="31323" y="9444"/>
                    <a:pt x="31928" y="8873"/>
                  </a:cubicBezTo>
                  <a:cubicBezTo>
                    <a:pt x="32331" y="8503"/>
                    <a:pt x="32701" y="8134"/>
                    <a:pt x="33004" y="7730"/>
                  </a:cubicBezTo>
                  <a:cubicBezTo>
                    <a:pt x="33273" y="7394"/>
                    <a:pt x="33508" y="7058"/>
                    <a:pt x="33709" y="6688"/>
                  </a:cubicBezTo>
                  <a:cubicBezTo>
                    <a:pt x="33877" y="6386"/>
                    <a:pt x="34046" y="6050"/>
                    <a:pt x="34146" y="5714"/>
                  </a:cubicBezTo>
                  <a:cubicBezTo>
                    <a:pt x="34281" y="5378"/>
                    <a:pt x="34382" y="5075"/>
                    <a:pt x="34415" y="4739"/>
                  </a:cubicBezTo>
                  <a:cubicBezTo>
                    <a:pt x="34482" y="4403"/>
                    <a:pt x="34550" y="4101"/>
                    <a:pt x="34550" y="3765"/>
                  </a:cubicBezTo>
                  <a:cubicBezTo>
                    <a:pt x="34550" y="3697"/>
                    <a:pt x="34550" y="3664"/>
                    <a:pt x="34550" y="3596"/>
                  </a:cubicBezTo>
                  <a:lnTo>
                    <a:pt x="34550" y="101"/>
                  </a:lnTo>
                  <a:cubicBezTo>
                    <a:pt x="34550" y="135"/>
                    <a:pt x="34550" y="202"/>
                    <a:pt x="34550" y="236"/>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85" name="Google Shape;3280;p49"/>
            <p:cNvSpPr/>
            <p:nvPr/>
          </p:nvSpPr>
          <p:spPr>
            <a:xfrm>
              <a:off x="-25807200" y="12938825"/>
              <a:ext cx="948625" cy="548675"/>
            </a:xfrm>
            <a:custGeom>
              <a:avLst/>
              <a:gdLst/>
              <a:ahLst/>
              <a:cxnLst/>
              <a:rect l="l" t="t" r="r" b="b"/>
              <a:pathLst>
                <a:path w="37945" h="21947" extrusionOk="0">
                  <a:moveTo>
                    <a:pt x="31156" y="3899"/>
                  </a:moveTo>
                  <a:cubicBezTo>
                    <a:pt x="37911" y="7798"/>
                    <a:pt x="37945" y="14116"/>
                    <a:pt x="31223" y="18048"/>
                  </a:cubicBezTo>
                  <a:cubicBezTo>
                    <a:pt x="24501" y="21947"/>
                    <a:pt x="13578" y="21947"/>
                    <a:pt x="6790" y="18048"/>
                  </a:cubicBezTo>
                  <a:cubicBezTo>
                    <a:pt x="34" y="14116"/>
                    <a:pt x="1" y="7798"/>
                    <a:pt x="6722" y="3899"/>
                  </a:cubicBezTo>
                  <a:cubicBezTo>
                    <a:pt x="13444" y="1"/>
                    <a:pt x="24367" y="1"/>
                    <a:pt x="31156" y="389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86" name="Google Shape;3281;p49"/>
            <p:cNvSpPr/>
            <p:nvPr/>
          </p:nvSpPr>
          <p:spPr>
            <a:xfrm>
              <a:off x="-25747550" y="12973275"/>
              <a:ext cx="829325" cy="479775"/>
            </a:xfrm>
            <a:custGeom>
              <a:avLst/>
              <a:gdLst/>
              <a:ahLst/>
              <a:cxnLst/>
              <a:rect l="l" t="t" r="r" b="b"/>
              <a:pathLst>
                <a:path w="33173" h="19191" extrusionOk="0">
                  <a:moveTo>
                    <a:pt x="27224" y="3395"/>
                  </a:moveTo>
                  <a:cubicBezTo>
                    <a:pt x="33139" y="6823"/>
                    <a:pt x="33172" y="12368"/>
                    <a:pt x="27291" y="15763"/>
                  </a:cubicBezTo>
                  <a:cubicBezTo>
                    <a:pt x="21409" y="19191"/>
                    <a:pt x="11865" y="19191"/>
                    <a:pt x="5950" y="15763"/>
                  </a:cubicBezTo>
                  <a:cubicBezTo>
                    <a:pt x="34" y="12368"/>
                    <a:pt x="1" y="6823"/>
                    <a:pt x="5882" y="3395"/>
                  </a:cubicBezTo>
                  <a:cubicBezTo>
                    <a:pt x="11764" y="0"/>
                    <a:pt x="21309" y="0"/>
                    <a:pt x="27224" y="3395"/>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87" name="Google Shape;3282;p49"/>
            <p:cNvSpPr/>
            <p:nvPr/>
          </p:nvSpPr>
          <p:spPr>
            <a:xfrm>
              <a:off x="-25518175" y="13085025"/>
              <a:ext cx="364700" cy="227725"/>
            </a:xfrm>
            <a:custGeom>
              <a:avLst/>
              <a:gdLst/>
              <a:ahLst/>
              <a:cxnLst/>
              <a:rect l="l" t="t" r="r" b="b"/>
              <a:pathLst>
                <a:path w="14588" h="9109" extrusionOk="0">
                  <a:moveTo>
                    <a:pt x="12772" y="7193"/>
                  </a:moveTo>
                  <a:lnTo>
                    <a:pt x="14385" y="8134"/>
                  </a:lnTo>
                  <a:lnTo>
                    <a:pt x="13512" y="8638"/>
                  </a:lnTo>
                  <a:lnTo>
                    <a:pt x="11898" y="7697"/>
                  </a:lnTo>
                  <a:cubicBezTo>
                    <a:pt x="11193" y="8067"/>
                    <a:pt x="10386" y="8369"/>
                    <a:pt x="9512" y="8604"/>
                  </a:cubicBezTo>
                  <a:cubicBezTo>
                    <a:pt x="8638" y="8840"/>
                    <a:pt x="7765" y="9008"/>
                    <a:pt x="6891" y="9108"/>
                  </a:cubicBezTo>
                  <a:lnTo>
                    <a:pt x="6050" y="7596"/>
                  </a:lnTo>
                  <a:cubicBezTo>
                    <a:pt x="6185" y="7596"/>
                    <a:pt x="6454" y="7562"/>
                    <a:pt x="6756" y="7529"/>
                  </a:cubicBezTo>
                  <a:cubicBezTo>
                    <a:pt x="7059" y="7495"/>
                    <a:pt x="7395" y="7428"/>
                    <a:pt x="7798" y="7361"/>
                  </a:cubicBezTo>
                  <a:cubicBezTo>
                    <a:pt x="8168" y="7260"/>
                    <a:pt x="8605" y="7159"/>
                    <a:pt x="9008" y="7058"/>
                  </a:cubicBezTo>
                  <a:cubicBezTo>
                    <a:pt x="9445" y="6924"/>
                    <a:pt x="9848" y="6756"/>
                    <a:pt x="10218" y="6588"/>
                  </a:cubicBezTo>
                  <a:lnTo>
                    <a:pt x="7731" y="5143"/>
                  </a:lnTo>
                  <a:cubicBezTo>
                    <a:pt x="7630" y="5176"/>
                    <a:pt x="7529" y="5210"/>
                    <a:pt x="7428" y="5243"/>
                  </a:cubicBezTo>
                  <a:cubicBezTo>
                    <a:pt x="7294" y="5277"/>
                    <a:pt x="7193" y="5311"/>
                    <a:pt x="7059" y="5378"/>
                  </a:cubicBezTo>
                  <a:cubicBezTo>
                    <a:pt x="6454" y="5579"/>
                    <a:pt x="5882" y="5748"/>
                    <a:pt x="5345" y="5848"/>
                  </a:cubicBezTo>
                  <a:cubicBezTo>
                    <a:pt x="4841" y="5983"/>
                    <a:pt x="4336" y="6016"/>
                    <a:pt x="3900" y="6050"/>
                  </a:cubicBezTo>
                  <a:cubicBezTo>
                    <a:pt x="3429" y="6050"/>
                    <a:pt x="2992" y="6016"/>
                    <a:pt x="2589" y="5916"/>
                  </a:cubicBezTo>
                  <a:cubicBezTo>
                    <a:pt x="2185" y="5815"/>
                    <a:pt x="1782" y="5680"/>
                    <a:pt x="1379" y="5445"/>
                  </a:cubicBezTo>
                  <a:cubicBezTo>
                    <a:pt x="908" y="5176"/>
                    <a:pt x="539" y="4874"/>
                    <a:pt x="337" y="4538"/>
                  </a:cubicBezTo>
                  <a:cubicBezTo>
                    <a:pt x="135" y="4235"/>
                    <a:pt x="35" y="3899"/>
                    <a:pt x="35" y="3563"/>
                  </a:cubicBezTo>
                  <a:cubicBezTo>
                    <a:pt x="68" y="3260"/>
                    <a:pt x="203" y="2924"/>
                    <a:pt x="471" y="2588"/>
                  </a:cubicBezTo>
                  <a:cubicBezTo>
                    <a:pt x="707" y="2286"/>
                    <a:pt x="1043" y="1983"/>
                    <a:pt x="1480" y="1681"/>
                  </a:cubicBezTo>
                  <a:lnTo>
                    <a:pt x="1" y="841"/>
                  </a:lnTo>
                  <a:lnTo>
                    <a:pt x="841" y="337"/>
                  </a:lnTo>
                  <a:lnTo>
                    <a:pt x="2320" y="1177"/>
                  </a:lnTo>
                  <a:cubicBezTo>
                    <a:pt x="2992" y="841"/>
                    <a:pt x="3731" y="572"/>
                    <a:pt x="4471" y="370"/>
                  </a:cubicBezTo>
                  <a:cubicBezTo>
                    <a:pt x="5210" y="202"/>
                    <a:pt x="5916" y="68"/>
                    <a:pt x="6622" y="0"/>
                  </a:cubicBezTo>
                  <a:lnTo>
                    <a:pt x="7361" y="1446"/>
                  </a:lnTo>
                  <a:cubicBezTo>
                    <a:pt x="7227" y="1446"/>
                    <a:pt x="7025" y="1446"/>
                    <a:pt x="6790" y="1479"/>
                  </a:cubicBezTo>
                  <a:cubicBezTo>
                    <a:pt x="6521" y="1513"/>
                    <a:pt x="6252" y="1580"/>
                    <a:pt x="5916" y="1647"/>
                  </a:cubicBezTo>
                  <a:cubicBezTo>
                    <a:pt x="5614" y="1714"/>
                    <a:pt x="5277" y="1782"/>
                    <a:pt x="4941" y="1883"/>
                  </a:cubicBezTo>
                  <a:cubicBezTo>
                    <a:pt x="4605" y="1983"/>
                    <a:pt x="4269" y="2118"/>
                    <a:pt x="3967" y="2252"/>
                  </a:cubicBezTo>
                  <a:lnTo>
                    <a:pt x="6454" y="3731"/>
                  </a:lnTo>
                  <a:lnTo>
                    <a:pt x="6924" y="3563"/>
                  </a:lnTo>
                  <a:cubicBezTo>
                    <a:pt x="7563" y="3328"/>
                    <a:pt x="8134" y="3160"/>
                    <a:pt x="8706" y="3025"/>
                  </a:cubicBezTo>
                  <a:cubicBezTo>
                    <a:pt x="9277" y="2857"/>
                    <a:pt x="9815" y="2790"/>
                    <a:pt x="10319" y="2756"/>
                  </a:cubicBezTo>
                  <a:cubicBezTo>
                    <a:pt x="10857" y="2723"/>
                    <a:pt x="11327" y="2756"/>
                    <a:pt x="11831" y="2857"/>
                  </a:cubicBezTo>
                  <a:cubicBezTo>
                    <a:pt x="12302" y="2958"/>
                    <a:pt x="12772" y="3126"/>
                    <a:pt x="13243" y="3395"/>
                  </a:cubicBezTo>
                  <a:cubicBezTo>
                    <a:pt x="13780" y="3697"/>
                    <a:pt x="14150" y="4033"/>
                    <a:pt x="14318" y="4370"/>
                  </a:cubicBezTo>
                  <a:cubicBezTo>
                    <a:pt x="14520" y="4672"/>
                    <a:pt x="14587" y="5008"/>
                    <a:pt x="14486" y="5344"/>
                  </a:cubicBezTo>
                  <a:cubicBezTo>
                    <a:pt x="14419" y="5680"/>
                    <a:pt x="14217" y="5983"/>
                    <a:pt x="13915" y="6319"/>
                  </a:cubicBezTo>
                  <a:cubicBezTo>
                    <a:pt x="13612" y="6621"/>
                    <a:pt x="13243" y="6924"/>
                    <a:pt x="12772" y="7193"/>
                  </a:cubicBezTo>
                  <a:close/>
                  <a:moveTo>
                    <a:pt x="8538" y="4907"/>
                  </a:moveTo>
                  <a:lnTo>
                    <a:pt x="10857" y="6252"/>
                  </a:lnTo>
                  <a:cubicBezTo>
                    <a:pt x="11865" y="5647"/>
                    <a:pt x="12033" y="5143"/>
                    <a:pt x="11327" y="4739"/>
                  </a:cubicBezTo>
                  <a:cubicBezTo>
                    <a:pt x="11025" y="4571"/>
                    <a:pt x="10621" y="4504"/>
                    <a:pt x="10184" y="4538"/>
                  </a:cubicBezTo>
                  <a:cubicBezTo>
                    <a:pt x="9714" y="4571"/>
                    <a:pt x="9176" y="4706"/>
                    <a:pt x="8538" y="4907"/>
                  </a:cubicBezTo>
                  <a:close/>
                  <a:moveTo>
                    <a:pt x="4202" y="4302"/>
                  </a:moveTo>
                  <a:cubicBezTo>
                    <a:pt x="4605" y="4269"/>
                    <a:pt x="5109" y="4168"/>
                    <a:pt x="5681" y="3966"/>
                  </a:cubicBezTo>
                  <a:lnTo>
                    <a:pt x="3328" y="2622"/>
                  </a:lnTo>
                  <a:cubicBezTo>
                    <a:pt x="2488" y="3160"/>
                    <a:pt x="2421" y="3664"/>
                    <a:pt x="3127" y="4067"/>
                  </a:cubicBezTo>
                  <a:cubicBezTo>
                    <a:pt x="3463" y="4269"/>
                    <a:pt x="3799" y="4336"/>
                    <a:pt x="4202" y="4302"/>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88" name="Google Shape;3283;p49"/>
            <p:cNvSpPr/>
            <p:nvPr/>
          </p:nvSpPr>
          <p:spPr>
            <a:xfrm>
              <a:off x="-25746700" y="13221150"/>
              <a:ext cx="25" cy="215950"/>
            </a:xfrm>
            <a:custGeom>
              <a:avLst/>
              <a:gdLst/>
              <a:ahLst/>
              <a:cxnLst/>
              <a:rect l="l" t="t" r="r" b="b"/>
              <a:pathLst>
                <a:path w="1" h="8638" fill="none" extrusionOk="0">
                  <a:moveTo>
                    <a:pt x="0" y="0"/>
                  </a:moveTo>
                  <a:lnTo>
                    <a:pt x="0"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89" name="Google Shape;3284;p49"/>
            <p:cNvSpPr/>
            <p:nvPr/>
          </p:nvSpPr>
          <p:spPr>
            <a:xfrm>
              <a:off x="-25722325" y="13263150"/>
              <a:ext cx="0" cy="215950"/>
            </a:xfrm>
            <a:custGeom>
              <a:avLst/>
              <a:gdLst/>
              <a:ahLst/>
              <a:cxnLst/>
              <a:rect l="l" t="t" r="r" b="b"/>
              <a:pathLst>
                <a:path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90" name="Google Shape;3285;p49"/>
            <p:cNvSpPr/>
            <p:nvPr/>
          </p:nvSpPr>
          <p:spPr>
            <a:xfrm>
              <a:off x="-25697975" y="13306000"/>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91" name="Google Shape;3286;p49"/>
            <p:cNvSpPr/>
            <p:nvPr/>
          </p:nvSpPr>
          <p:spPr>
            <a:xfrm>
              <a:off x="-25674450" y="13348850"/>
              <a:ext cx="25" cy="215125"/>
            </a:xfrm>
            <a:custGeom>
              <a:avLst/>
              <a:gdLst/>
              <a:ahLst/>
              <a:cxnLst/>
              <a:rect l="l" t="t" r="r" b="b"/>
              <a:pathLst>
                <a:path w="1" h="8605" fill="none" extrusionOk="0">
                  <a:moveTo>
                    <a:pt x="1" y="1"/>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92" name="Google Shape;3287;p49"/>
            <p:cNvSpPr/>
            <p:nvPr/>
          </p:nvSpPr>
          <p:spPr>
            <a:xfrm>
              <a:off x="-25650075" y="13343800"/>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93" name="Google Shape;3288;p49"/>
            <p:cNvSpPr/>
            <p:nvPr/>
          </p:nvSpPr>
          <p:spPr>
            <a:xfrm>
              <a:off x="-25616475" y="133547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94" name="Google Shape;3289;p49"/>
            <p:cNvSpPr/>
            <p:nvPr/>
          </p:nvSpPr>
          <p:spPr>
            <a:xfrm>
              <a:off x="-25583700" y="133665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95" name="Google Shape;3290;p49"/>
            <p:cNvSpPr/>
            <p:nvPr/>
          </p:nvSpPr>
          <p:spPr>
            <a:xfrm>
              <a:off x="-25550100" y="133782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96" name="Google Shape;3291;p49"/>
            <p:cNvSpPr/>
            <p:nvPr/>
          </p:nvSpPr>
          <p:spPr>
            <a:xfrm>
              <a:off x="-25516475" y="133891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97" name="Google Shape;3292;p49"/>
            <p:cNvSpPr/>
            <p:nvPr/>
          </p:nvSpPr>
          <p:spPr>
            <a:xfrm>
              <a:off x="-25483725" y="134009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98" name="Google Shape;3293;p49"/>
            <p:cNvSpPr/>
            <p:nvPr/>
          </p:nvSpPr>
          <p:spPr>
            <a:xfrm>
              <a:off x="-25450100" y="134127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799" name="Google Shape;3294;p49"/>
            <p:cNvSpPr/>
            <p:nvPr/>
          </p:nvSpPr>
          <p:spPr>
            <a:xfrm>
              <a:off x="-25417350" y="134236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00" name="Google Shape;3295;p49"/>
            <p:cNvSpPr/>
            <p:nvPr/>
          </p:nvSpPr>
          <p:spPr>
            <a:xfrm>
              <a:off x="-25383725" y="134354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01" name="Google Shape;3296;p49"/>
            <p:cNvSpPr/>
            <p:nvPr/>
          </p:nvSpPr>
          <p:spPr>
            <a:xfrm>
              <a:off x="-25350950" y="13447150"/>
              <a:ext cx="0" cy="215975"/>
            </a:xfrm>
            <a:custGeom>
              <a:avLst/>
              <a:gdLst/>
              <a:ahLst/>
              <a:cxnLst/>
              <a:rect l="l" t="t" r="r" b="b"/>
              <a:pathLst>
                <a:path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02" name="Google Shape;3297;p49"/>
            <p:cNvSpPr/>
            <p:nvPr/>
          </p:nvSpPr>
          <p:spPr>
            <a:xfrm>
              <a:off x="-25317350" y="134270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03" name="Google Shape;3298;p49"/>
            <p:cNvSpPr/>
            <p:nvPr/>
          </p:nvSpPr>
          <p:spPr>
            <a:xfrm>
              <a:off x="-25285425" y="134236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04" name="Google Shape;3299;p49"/>
            <p:cNvSpPr/>
            <p:nvPr/>
          </p:nvSpPr>
          <p:spPr>
            <a:xfrm>
              <a:off x="-25252650" y="13421100"/>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05" name="Google Shape;3300;p49"/>
            <p:cNvSpPr/>
            <p:nvPr/>
          </p:nvSpPr>
          <p:spPr>
            <a:xfrm>
              <a:off x="-25220725" y="1341775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06" name="Google Shape;3301;p49"/>
            <p:cNvSpPr/>
            <p:nvPr/>
          </p:nvSpPr>
          <p:spPr>
            <a:xfrm>
              <a:off x="-25187950" y="13414400"/>
              <a:ext cx="25" cy="215950"/>
            </a:xfrm>
            <a:custGeom>
              <a:avLst/>
              <a:gdLst/>
              <a:ahLst/>
              <a:cxnLst/>
              <a:rect l="l" t="t" r="r" b="b"/>
              <a:pathLst>
                <a:path w="1" h="8638" fill="none" extrusionOk="0">
                  <a:moveTo>
                    <a:pt x="0" y="0"/>
                  </a:moveTo>
                  <a:lnTo>
                    <a:pt x="0"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07" name="Google Shape;3302;p49"/>
            <p:cNvSpPr/>
            <p:nvPr/>
          </p:nvSpPr>
          <p:spPr>
            <a:xfrm>
              <a:off x="-25156025" y="13411025"/>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08" name="Google Shape;3303;p49"/>
            <p:cNvSpPr/>
            <p:nvPr/>
          </p:nvSpPr>
          <p:spPr>
            <a:xfrm>
              <a:off x="-25124100" y="134076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09" name="Google Shape;3304;p49"/>
            <p:cNvSpPr/>
            <p:nvPr/>
          </p:nvSpPr>
          <p:spPr>
            <a:xfrm>
              <a:off x="-25091325" y="13405150"/>
              <a:ext cx="25" cy="215125"/>
            </a:xfrm>
            <a:custGeom>
              <a:avLst/>
              <a:gdLst/>
              <a:ahLst/>
              <a:cxnLst/>
              <a:rect l="l" t="t" r="r" b="b"/>
              <a:pathLst>
                <a:path w="1" h="8605"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10" name="Google Shape;3305;p49"/>
            <p:cNvSpPr/>
            <p:nvPr/>
          </p:nvSpPr>
          <p:spPr>
            <a:xfrm>
              <a:off x="-25060250" y="133497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11" name="Google Shape;3306;p49"/>
            <p:cNvSpPr/>
            <p:nvPr/>
          </p:nvSpPr>
          <p:spPr>
            <a:xfrm>
              <a:off x="-25028325" y="13295075"/>
              <a:ext cx="25" cy="215125"/>
            </a:xfrm>
            <a:custGeom>
              <a:avLst/>
              <a:gdLst/>
              <a:ahLst/>
              <a:cxnLst/>
              <a:rect l="l" t="t" r="r" b="b"/>
              <a:pathLst>
                <a:path w="1" h="8605" fill="none" extrusionOk="0">
                  <a:moveTo>
                    <a:pt x="1" y="1"/>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12" name="Google Shape;3307;p49"/>
            <p:cNvSpPr/>
            <p:nvPr/>
          </p:nvSpPr>
          <p:spPr>
            <a:xfrm>
              <a:off x="-24996400" y="132656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13" name="Google Shape;3308;p49"/>
            <p:cNvSpPr/>
            <p:nvPr/>
          </p:nvSpPr>
          <p:spPr>
            <a:xfrm>
              <a:off x="-24963625" y="132732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14" name="Google Shape;3309;p49"/>
            <p:cNvSpPr/>
            <p:nvPr/>
          </p:nvSpPr>
          <p:spPr>
            <a:xfrm>
              <a:off x="-24931700" y="132808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15" name="Google Shape;3310;p49"/>
            <p:cNvSpPr/>
            <p:nvPr/>
          </p:nvSpPr>
          <p:spPr>
            <a:xfrm>
              <a:off x="-24906475" y="13223650"/>
              <a:ext cx="0" cy="215975"/>
            </a:xfrm>
            <a:custGeom>
              <a:avLst/>
              <a:gdLst/>
              <a:ahLst/>
              <a:cxnLst/>
              <a:rect l="l" t="t" r="r" b="b"/>
              <a:pathLst>
                <a:path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16" name="Google Shape;3311;p49"/>
            <p:cNvSpPr/>
            <p:nvPr/>
          </p:nvSpPr>
          <p:spPr>
            <a:xfrm>
              <a:off x="-25765175" y="12996800"/>
              <a:ext cx="863750" cy="339475"/>
            </a:xfrm>
            <a:custGeom>
              <a:avLst/>
              <a:gdLst/>
              <a:ahLst/>
              <a:cxnLst/>
              <a:rect l="l" t="t" r="r" b="b"/>
              <a:pathLst>
                <a:path w="34550" h="13579" extrusionOk="0">
                  <a:moveTo>
                    <a:pt x="34550" y="269"/>
                  </a:moveTo>
                  <a:cubicBezTo>
                    <a:pt x="34550" y="605"/>
                    <a:pt x="34516" y="908"/>
                    <a:pt x="34449" y="1244"/>
                  </a:cubicBezTo>
                  <a:cubicBezTo>
                    <a:pt x="34382" y="1580"/>
                    <a:pt x="34281" y="1916"/>
                    <a:pt x="34180" y="2219"/>
                  </a:cubicBezTo>
                  <a:cubicBezTo>
                    <a:pt x="34046" y="2555"/>
                    <a:pt x="33877" y="2891"/>
                    <a:pt x="33709" y="3193"/>
                  </a:cubicBezTo>
                  <a:cubicBezTo>
                    <a:pt x="33508" y="3563"/>
                    <a:pt x="33273" y="3899"/>
                    <a:pt x="33004" y="4235"/>
                  </a:cubicBezTo>
                  <a:cubicBezTo>
                    <a:pt x="32701" y="4639"/>
                    <a:pt x="32331" y="5008"/>
                    <a:pt x="31928" y="5378"/>
                  </a:cubicBezTo>
                  <a:cubicBezTo>
                    <a:pt x="31323" y="5949"/>
                    <a:pt x="30584" y="6487"/>
                    <a:pt x="29744" y="6991"/>
                  </a:cubicBezTo>
                  <a:cubicBezTo>
                    <a:pt x="29676" y="7058"/>
                    <a:pt x="29609" y="7092"/>
                    <a:pt x="29542" y="7126"/>
                  </a:cubicBezTo>
                  <a:cubicBezTo>
                    <a:pt x="28399" y="7798"/>
                    <a:pt x="27122" y="8369"/>
                    <a:pt x="25744" y="8806"/>
                  </a:cubicBezTo>
                  <a:cubicBezTo>
                    <a:pt x="24702" y="9142"/>
                    <a:pt x="23627" y="9411"/>
                    <a:pt x="22484" y="9613"/>
                  </a:cubicBezTo>
                  <a:cubicBezTo>
                    <a:pt x="21778" y="9747"/>
                    <a:pt x="21039" y="9848"/>
                    <a:pt x="20300" y="9915"/>
                  </a:cubicBezTo>
                  <a:cubicBezTo>
                    <a:pt x="19661" y="9982"/>
                    <a:pt x="19022" y="10016"/>
                    <a:pt x="18384" y="10050"/>
                  </a:cubicBezTo>
                  <a:cubicBezTo>
                    <a:pt x="17779" y="10050"/>
                    <a:pt x="17174" y="10050"/>
                    <a:pt x="16603" y="10050"/>
                  </a:cubicBezTo>
                  <a:cubicBezTo>
                    <a:pt x="16031" y="10050"/>
                    <a:pt x="15460" y="10016"/>
                    <a:pt x="14889" y="9949"/>
                  </a:cubicBezTo>
                  <a:cubicBezTo>
                    <a:pt x="14351" y="9915"/>
                    <a:pt x="13780" y="9848"/>
                    <a:pt x="13208" y="9781"/>
                  </a:cubicBezTo>
                  <a:cubicBezTo>
                    <a:pt x="12637" y="9680"/>
                    <a:pt x="12065" y="9579"/>
                    <a:pt x="11528" y="9478"/>
                  </a:cubicBezTo>
                  <a:cubicBezTo>
                    <a:pt x="10889" y="9344"/>
                    <a:pt x="10318" y="9209"/>
                    <a:pt x="9713" y="9041"/>
                  </a:cubicBezTo>
                  <a:cubicBezTo>
                    <a:pt x="9007" y="8840"/>
                    <a:pt x="8301" y="8604"/>
                    <a:pt x="7629" y="8335"/>
                  </a:cubicBezTo>
                  <a:cubicBezTo>
                    <a:pt x="6755" y="7966"/>
                    <a:pt x="5915" y="7596"/>
                    <a:pt x="5142" y="7126"/>
                  </a:cubicBezTo>
                  <a:cubicBezTo>
                    <a:pt x="1714" y="5176"/>
                    <a:pt x="34" y="2588"/>
                    <a:pt x="34" y="1"/>
                  </a:cubicBezTo>
                  <a:lnTo>
                    <a:pt x="34" y="3529"/>
                  </a:lnTo>
                  <a:cubicBezTo>
                    <a:pt x="0" y="6117"/>
                    <a:pt x="1714" y="8672"/>
                    <a:pt x="5109" y="10654"/>
                  </a:cubicBezTo>
                  <a:cubicBezTo>
                    <a:pt x="5882" y="11091"/>
                    <a:pt x="6722" y="11495"/>
                    <a:pt x="7596" y="11831"/>
                  </a:cubicBezTo>
                  <a:cubicBezTo>
                    <a:pt x="8301" y="12100"/>
                    <a:pt x="8974" y="12335"/>
                    <a:pt x="9713" y="12537"/>
                  </a:cubicBezTo>
                  <a:cubicBezTo>
                    <a:pt x="10284" y="12738"/>
                    <a:pt x="10889" y="12873"/>
                    <a:pt x="11494" y="13007"/>
                  </a:cubicBezTo>
                  <a:cubicBezTo>
                    <a:pt x="12065" y="13108"/>
                    <a:pt x="12637" y="13209"/>
                    <a:pt x="13208" y="13276"/>
                  </a:cubicBezTo>
                  <a:cubicBezTo>
                    <a:pt x="13780" y="13377"/>
                    <a:pt x="14317" y="13444"/>
                    <a:pt x="14889" y="13478"/>
                  </a:cubicBezTo>
                  <a:cubicBezTo>
                    <a:pt x="15460" y="13511"/>
                    <a:pt x="16031" y="13545"/>
                    <a:pt x="16603" y="13578"/>
                  </a:cubicBezTo>
                  <a:cubicBezTo>
                    <a:pt x="17174" y="13578"/>
                    <a:pt x="17779" y="13578"/>
                    <a:pt x="18350" y="13578"/>
                  </a:cubicBezTo>
                  <a:cubicBezTo>
                    <a:pt x="18989" y="13545"/>
                    <a:pt x="19627" y="13511"/>
                    <a:pt x="20266" y="13444"/>
                  </a:cubicBezTo>
                  <a:cubicBezTo>
                    <a:pt x="21005" y="13377"/>
                    <a:pt x="21745" y="13276"/>
                    <a:pt x="22484" y="13142"/>
                  </a:cubicBezTo>
                  <a:cubicBezTo>
                    <a:pt x="23593" y="12940"/>
                    <a:pt x="24702" y="12671"/>
                    <a:pt x="25744" y="12301"/>
                  </a:cubicBezTo>
                  <a:cubicBezTo>
                    <a:pt x="27089" y="11864"/>
                    <a:pt x="28366" y="11327"/>
                    <a:pt x="29542" y="10654"/>
                  </a:cubicBezTo>
                  <a:cubicBezTo>
                    <a:pt x="29609" y="10621"/>
                    <a:pt x="29676" y="10554"/>
                    <a:pt x="29744" y="10520"/>
                  </a:cubicBezTo>
                  <a:cubicBezTo>
                    <a:pt x="30584" y="10016"/>
                    <a:pt x="31323" y="9478"/>
                    <a:pt x="31928" y="8907"/>
                  </a:cubicBezTo>
                  <a:cubicBezTo>
                    <a:pt x="32331" y="8537"/>
                    <a:pt x="32701" y="8167"/>
                    <a:pt x="33004" y="7764"/>
                  </a:cubicBezTo>
                  <a:cubicBezTo>
                    <a:pt x="33273" y="7428"/>
                    <a:pt x="33508" y="7092"/>
                    <a:pt x="33709" y="6722"/>
                  </a:cubicBezTo>
                  <a:cubicBezTo>
                    <a:pt x="33877" y="6386"/>
                    <a:pt x="34046" y="6084"/>
                    <a:pt x="34146" y="5748"/>
                  </a:cubicBezTo>
                  <a:cubicBezTo>
                    <a:pt x="34281" y="5412"/>
                    <a:pt x="34382" y="5109"/>
                    <a:pt x="34415" y="4773"/>
                  </a:cubicBezTo>
                  <a:cubicBezTo>
                    <a:pt x="34482" y="4437"/>
                    <a:pt x="34550" y="4101"/>
                    <a:pt x="34550" y="3765"/>
                  </a:cubicBezTo>
                  <a:cubicBezTo>
                    <a:pt x="34550" y="3731"/>
                    <a:pt x="34550" y="3664"/>
                    <a:pt x="34550" y="3630"/>
                  </a:cubicBezTo>
                  <a:lnTo>
                    <a:pt x="34550" y="101"/>
                  </a:lnTo>
                  <a:cubicBezTo>
                    <a:pt x="34550" y="169"/>
                    <a:pt x="34550" y="202"/>
                    <a:pt x="34550" y="26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17" name="Google Shape;3312;p49"/>
            <p:cNvSpPr/>
            <p:nvPr/>
          </p:nvSpPr>
          <p:spPr>
            <a:xfrm>
              <a:off x="-25807200" y="12723725"/>
              <a:ext cx="948625" cy="548700"/>
            </a:xfrm>
            <a:custGeom>
              <a:avLst/>
              <a:gdLst/>
              <a:ahLst/>
              <a:cxnLst/>
              <a:rect l="l" t="t" r="r" b="b"/>
              <a:pathLst>
                <a:path w="37945" h="21948" extrusionOk="0">
                  <a:moveTo>
                    <a:pt x="31156" y="3899"/>
                  </a:moveTo>
                  <a:cubicBezTo>
                    <a:pt x="37911" y="7832"/>
                    <a:pt x="37945" y="14150"/>
                    <a:pt x="31223" y="18049"/>
                  </a:cubicBezTo>
                  <a:cubicBezTo>
                    <a:pt x="24501" y="21947"/>
                    <a:pt x="13578" y="21947"/>
                    <a:pt x="6790" y="18049"/>
                  </a:cubicBezTo>
                  <a:cubicBezTo>
                    <a:pt x="34" y="14150"/>
                    <a:pt x="1" y="7832"/>
                    <a:pt x="6722" y="3899"/>
                  </a:cubicBezTo>
                  <a:cubicBezTo>
                    <a:pt x="13444" y="1"/>
                    <a:pt x="24367" y="1"/>
                    <a:pt x="31156" y="389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18" name="Google Shape;3313;p49"/>
            <p:cNvSpPr/>
            <p:nvPr/>
          </p:nvSpPr>
          <p:spPr>
            <a:xfrm>
              <a:off x="-25747550" y="12758175"/>
              <a:ext cx="829325" cy="480625"/>
            </a:xfrm>
            <a:custGeom>
              <a:avLst/>
              <a:gdLst/>
              <a:ahLst/>
              <a:cxnLst/>
              <a:rect l="l" t="t" r="r" b="b"/>
              <a:pathLst>
                <a:path w="33173" h="19225" extrusionOk="0">
                  <a:moveTo>
                    <a:pt x="27224" y="3429"/>
                  </a:moveTo>
                  <a:cubicBezTo>
                    <a:pt x="33139" y="6823"/>
                    <a:pt x="33172" y="12369"/>
                    <a:pt x="27291" y="15797"/>
                  </a:cubicBezTo>
                  <a:cubicBezTo>
                    <a:pt x="21409" y="19191"/>
                    <a:pt x="11865" y="19225"/>
                    <a:pt x="5950" y="15797"/>
                  </a:cubicBezTo>
                  <a:cubicBezTo>
                    <a:pt x="34" y="12369"/>
                    <a:pt x="1" y="6823"/>
                    <a:pt x="5882" y="3429"/>
                  </a:cubicBezTo>
                  <a:cubicBezTo>
                    <a:pt x="11764" y="1"/>
                    <a:pt x="21309" y="1"/>
                    <a:pt x="27224" y="342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19" name="Google Shape;3314;p49"/>
            <p:cNvSpPr/>
            <p:nvPr/>
          </p:nvSpPr>
          <p:spPr>
            <a:xfrm>
              <a:off x="-25518175" y="12869925"/>
              <a:ext cx="364700" cy="227725"/>
            </a:xfrm>
            <a:custGeom>
              <a:avLst/>
              <a:gdLst/>
              <a:ahLst/>
              <a:cxnLst/>
              <a:rect l="l" t="t" r="r" b="b"/>
              <a:pathLst>
                <a:path w="14588" h="9109" extrusionOk="0">
                  <a:moveTo>
                    <a:pt x="12772" y="7226"/>
                  </a:moveTo>
                  <a:lnTo>
                    <a:pt x="14385" y="8134"/>
                  </a:lnTo>
                  <a:lnTo>
                    <a:pt x="13512" y="8638"/>
                  </a:lnTo>
                  <a:lnTo>
                    <a:pt x="11898" y="7731"/>
                  </a:lnTo>
                  <a:cubicBezTo>
                    <a:pt x="11193" y="8067"/>
                    <a:pt x="10386" y="8369"/>
                    <a:pt x="9512" y="8638"/>
                  </a:cubicBezTo>
                  <a:cubicBezTo>
                    <a:pt x="8638" y="8873"/>
                    <a:pt x="7765" y="9041"/>
                    <a:pt x="6891" y="9109"/>
                  </a:cubicBezTo>
                  <a:lnTo>
                    <a:pt x="6050" y="7596"/>
                  </a:lnTo>
                  <a:cubicBezTo>
                    <a:pt x="6185" y="7596"/>
                    <a:pt x="6454" y="7596"/>
                    <a:pt x="6756" y="7563"/>
                  </a:cubicBezTo>
                  <a:cubicBezTo>
                    <a:pt x="7059" y="7529"/>
                    <a:pt x="7395" y="7462"/>
                    <a:pt x="7798" y="7395"/>
                  </a:cubicBezTo>
                  <a:cubicBezTo>
                    <a:pt x="8168" y="7294"/>
                    <a:pt x="8605" y="7193"/>
                    <a:pt x="9008" y="7058"/>
                  </a:cubicBezTo>
                  <a:cubicBezTo>
                    <a:pt x="9445" y="6924"/>
                    <a:pt x="9848" y="6790"/>
                    <a:pt x="10218" y="6622"/>
                  </a:cubicBezTo>
                  <a:lnTo>
                    <a:pt x="7731" y="5176"/>
                  </a:lnTo>
                  <a:cubicBezTo>
                    <a:pt x="7630" y="5210"/>
                    <a:pt x="7529" y="5244"/>
                    <a:pt x="7428" y="5277"/>
                  </a:cubicBezTo>
                  <a:cubicBezTo>
                    <a:pt x="7294" y="5311"/>
                    <a:pt x="7193" y="5344"/>
                    <a:pt x="7059" y="5378"/>
                  </a:cubicBezTo>
                  <a:cubicBezTo>
                    <a:pt x="6454" y="5580"/>
                    <a:pt x="5882" y="5748"/>
                    <a:pt x="5345" y="5882"/>
                  </a:cubicBezTo>
                  <a:cubicBezTo>
                    <a:pt x="4841" y="5983"/>
                    <a:pt x="4336" y="6050"/>
                    <a:pt x="3900" y="6084"/>
                  </a:cubicBezTo>
                  <a:cubicBezTo>
                    <a:pt x="3429" y="6084"/>
                    <a:pt x="2992" y="6050"/>
                    <a:pt x="2589" y="5949"/>
                  </a:cubicBezTo>
                  <a:cubicBezTo>
                    <a:pt x="2185" y="5849"/>
                    <a:pt x="1782" y="5680"/>
                    <a:pt x="1379" y="5479"/>
                  </a:cubicBezTo>
                  <a:cubicBezTo>
                    <a:pt x="908" y="5176"/>
                    <a:pt x="539" y="4874"/>
                    <a:pt x="337" y="4571"/>
                  </a:cubicBezTo>
                  <a:cubicBezTo>
                    <a:pt x="135" y="4235"/>
                    <a:pt x="35" y="3933"/>
                    <a:pt x="35" y="3597"/>
                  </a:cubicBezTo>
                  <a:cubicBezTo>
                    <a:pt x="68" y="3261"/>
                    <a:pt x="203" y="2958"/>
                    <a:pt x="471" y="2622"/>
                  </a:cubicBezTo>
                  <a:cubicBezTo>
                    <a:pt x="707" y="2320"/>
                    <a:pt x="1043" y="1984"/>
                    <a:pt x="1480" y="1715"/>
                  </a:cubicBezTo>
                  <a:lnTo>
                    <a:pt x="1" y="841"/>
                  </a:lnTo>
                  <a:lnTo>
                    <a:pt x="841" y="337"/>
                  </a:lnTo>
                  <a:lnTo>
                    <a:pt x="2320" y="1177"/>
                  </a:lnTo>
                  <a:cubicBezTo>
                    <a:pt x="2992" y="841"/>
                    <a:pt x="3731" y="572"/>
                    <a:pt x="4471" y="404"/>
                  </a:cubicBezTo>
                  <a:cubicBezTo>
                    <a:pt x="5210" y="202"/>
                    <a:pt x="5916" y="101"/>
                    <a:pt x="6622" y="1"/>
                  </a:cubicBezTo>
                  <a:lnTo>
                    <a:pt x="7361" y="1446"/>
                  </a:lnTo>
                  <a:cubicBezTo>
                    <a:pt x="7227" y="1446"/>
                    <a:pt x="7025" y="1479"/>
                    <a:pt x="6790" y="1513"/>
                  </a:cubicBezTo>
                  <a:cubicBezTo>
                    <a:pt x="6521" y="1547"/>
                    <a:pt x="6252" y="1580"/>
                    <a:pt x="5916" y="1647"/>
                  </a:cubicBezTo>
                  <a:cubicBezTo>
                    <a:pt x="5614" y="1715"/>
                    <a:pt x="5277" y="1815"/>
                    <a:pt x="4941" y="1916"/>
                  </a:cubicBezTo>
                  <a:cubicBezTo>
                    <a:pt x="4605" y="2017"/>
                    <a:pt x="4269" y="2152"/>
                    <a:pt x="3967" y="2286"/>
                  </a:cubicBezTo>
                  <a:lnTo>
                    <a:pt x="6454" y="3731"/>
                  </a:lnTo>
                  <a:lnTo>
                    <a:pt x="6924" y="3563"/>
                  </a:lnTo>
                  <a:cubicBezTo>
                    <a:pt x="7563" y="3361"/>
                    <a:pt x="8134" y="3193"/>
                    <a:pt x="8706" y="3025"/>
                  </a:cubicBezTo>
                  <a:cubicBezTo>
                    <a:pt x="9277" y="2891"/>
                    <a:pt x="9815" y="2790"/>
                    <a:pt x="10319" y="2757"/>
                  </a:cubicBezTo>
                  <a:cubicBezTo>
                    <a:pt x="10857" y="2723"/>
                    <a:pt x="11327" y="2757"/>
                    <a:pt x="11831" y="2857"/>
                  </a:cubicBezTo>
                  <a:cubicBezTo>
                    <a:pt x="12302" y="2958"/>
                    <a:pt x="12772" y="3160"/>
                    <a:pt x="13243" y="3429"/>
                  </a:cubicBezTo>
                  <a:cubicBezTo>
                    <a:pt x="13780" y="3731"/>
                    <a:pt x="14150" y="4034"/>
                    <a:pt x="14318" y="4370"/>
                  </a:cubicBezTo>
                  <a:cubicBezTo>
                    <a:pt x="14520" y="4706"/>
                    <a:pt x="14587" y="5042"/>
                    <a:pt x="14486" y="5344"/>
                  </a:cubicBezTo>
                  <a:cubicBezTo>
                    <a:pt x="14419" y="5680"/>
                    <a:pt x="14217" y="6017"/>
                    <a:pt x="13915" y="6319"/>
                  </a:cubicBezTo>
                  <a:cubicBezTo>
                    <a:pt x="13612" y="6655"/>
                    <a:pt x="13243" y="6958"/>
                    <a:pt x="12772" y="7226"/>
                  </a:cubicBezTo>
                  <a:close/>
                  <a:moveTo>
                    <a:pt x="8538" y="4907"/>
                  </a:moveTo>
                  <a:lnTo>
                    <a:pt x="10857" y="6285"/>
                  </a:lnTo>
                  <a:cubicBezTo>
                    <a:pt x="11865" y="5647"/>
                    <a:pt x="12033" y="5176"/>
                    <a:pt x="11327" y="4773"/>
                  </a:cubicBezTo>
                  <a:cubicBezTo>
                    <a:pt x="11025" y="4571"/>
                    <a:pt x="10621" y="4504"/>
                    <a:pt x="10184" y="4571"/>
                  </a:cubicBezTo>
                  <a:cubicBezTo>
                    <a:pt x="9714" y="4605"/>
                    <a:pt x="9176" y="4739"/>
                    <a:pt x="8538" y="4907"/>
                  </a:cubicBezTo>
                  <a:close/>
                  <a:moveTo>
                    <a:pt x="4202" y="4303"/>
                  </a:moveTo>
                  <a:cubicBezTo>
                    <a:pt x="4605" y="4269"/>
                    <a:pt x="5109" y="4168"/>
                    <a:pt x="5681" y="3966"/>
                  </a:cubicBezTo>
                  <a:lnTo>
                    <a:pt x="3328" y="2622"/>
                  </a:lnTo>
                  <a:cubicBezTo>
                    <a:pt x="2488" y="3193"/>
                    <a:pt x="2421" y="3664"/>
                    <a:pt x="3127" y="4067"/>
                  </a:cubicBezTo>
                  <a:cubicBezTo>
                    <a:pt x="3463" y="4269"/>
                    <a:pt x="3799" y="4370"/>
                    <a:pt x="4202" y="4303"/>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20" name="Google Shape;3315;p49"/>
            <p:cNvSpPr/>
            <p:nvPr/>
          </p:nvSpPr>
          <p:spPr>
            <a:xfrm>
              <a:off x="-25746700" y="1300605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21" name="Google Shape;3316;p49"/>
            <p:cNvSpPr/>
            <p:nvPr/>
          </p:nvSpPr>
          <p:spPr>
            <a:xfrm>
              <a:off x="-25722325" y="13048900"/>
              <a:ext cx="0" cy="215950"/>
            </a:xfrm>
            <a:custGeom>
              <a:avLst/>
              <a:gdLst/>
              <a:ahLst/>
              <a:cxnLst/>
              <a:rect l="l" t="t" r="r" b="b"/>
              <a:pathLst>
                <a:path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22" name="Google Shape;3317;p49"/>
            <p:cNvSpPr/>
            <p:nvPr/>
          </p:nvSpPr>
          <p:spPr>
            <a:xfrm>
              <a:off x="-25697975" y="13091750"/>
              <a:ext cx="25" cy="215125"/>
            </a:xfrm>
            <a:custGeom>
              <a:avLst/>
              <a:gdLst/>
              <a:ahLst/>
              <a:cxnLst/>
              <a:rect l="l" t="t" r="r" b="b"/>
              <a:pathLst>
                <a:path w="1" h="8605"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23" name="Google Shape;3318;p49"/>
            <p:cNvSpPr/>
            <p:nvPr/>
          </p:nvSpPr>
          <p:spPr>
            <a:xfrm>
              <a:off x="-25674450" y="131337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24" name="Google Shape;3319;p49"/>
            <p:cNvSpPr/>
            <p:nvPr/>
          </p:nvSpPr>
          <p:spPr>
            <a:xfrm>
              <a:off x="-25650075" y="131287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25" name="Google Shape;3320;p49"/>
            <p:cNvSpPr/>
            <p:nvPr/>
          </p:nvSpPr>
          <p:spPr>
            <a:xfrm>
              <a:off x="-25616475" y="13140475"/>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26" name="Google Shape;3321;p49"/>
            <p:cNvSpPr/>
            <p:nvPr/>
          </p:nvSpPr>
          <p:spPr>
            <a:xfrm>
              <a:off x="-25583700" y="13152250"/>
              <a:ext cx="25" cy="215100"/>
            </a:xfrm>
            <a:custGeom>
              <a:avLst/>
              <a:gdLst/>
              <a:ahLst/>
              <a:cxnLst/>
              <a:rect l="l" t="t" r="r" b="b"/>
              <a:pathLst>
                <a:path w="1" h="8604"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27" name="Google Shape;3322;p49"/>
            <p:cNvSpPr/>
            <p:nvPr/>
          </p:nvSpPr>
          <p:spPr>
            <a:xfrm>
              <a:off x="-25550100" y="13163175"/>
              <a:ext cx="25" cy="215950"/>
            </a:xfrm>
            <a:custGeom>
              <a:avLst/>
              <a:gdLst/>
              <a:ahLst/>
              <a:cxnLst/>
              <a:rect l="l" t="t" r="r" b="b"/>
              <a:pathLst>
                <a:path w="1" h="8638" fill="none" extrusionOk="0">
                  <a:moveTo>
                    <a:pt x="1" y="0"/>
                  </a:moveTo>
                  <a:lnTo>
                    <a:pt x="1"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28" name="Google Shape;3323;p49"/>
            <p:cNvSpPr/>
            <p:nvPr/>
          </p:nvSpPr>
          <p:spPr>
            <a:xfrm>
              <a:off x="-25516475" y="13174925"/>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29" name="Google Shape;3324;p49"/>
            <p:cNvSpPr/>
            <p:nvPr/>
          </p:nvSpPr>
          <p:spPr>
            <a:xfrm>
              <a:off x="-25483725" y="131867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30" name="Google Shape;3325;p49"/>
            <p:cNvSpPr/>
            <p:nvPr/>
          </p:nvSpPr>
          <p:spPr>
            <a:xfrm>
              <a:off x="-25450100" y="13197625"/>
              <a:ext cx="25" cy="215950"/>
            </a:xfrm>
            <a:custGeom>
              <a:avLst/>
              <a:gdLst/>
              <a:ahLst/>
              <a:cxnLst/>
              <a:rect l="l" t="t" r="r" b="b"/>
              <a:pathLst>
                <a:path w="1" h="8638" fill="none" extrusionOk="0">
                  <a:moveTo>
                    <a:pt x="0" y="0"/>
                  </a:moveTo>
                  <a:lnTo>
                    <a:pt x="0"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31" name="Google Shape;3326;p49"/>
            <p:cNvSpPr/>
            <p:nvPr/>
          </p:nvSpPr>
          <p:spPr>
            <a:xfrm>
              <a:off x="-25417350" y="13209375"/>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32" name="Google Shape;3327;p49"/>
            <p:cNvSpPr/>
            <p:nvPr/>
          </p:nvSpPr>
          <p:spPr>
            <a:xfrm>
              <a:off x="-25383725" y="13221150"/>
              <a:ext cx="25" cy="215950"/>
            </a:xfrm>
            <a:custGeom>
              <a:avLst/>
              <a:gdLst/>
              <a:ahLst/>
              <a:cxnLst/>
              <a:rect l="l" t="t" r="r" b="b"/>
              <a:pathLst>
                <a:path w="1" h="8638" fill="none" extrusionOk="0">
                  <a:moveTo>
                    <a:pt x="0" y="0"/>
                  </a:moveTo>
                  <a:lnTo>
                    <a:pt x="0"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33" name="Google Shape;3328;p49"/>
            <p:cNvSpPr/>
            <p:nvPr/>
          </p:nvSpPr>
          <p:spPr>
            <a:xfrm>
              <a:off x="-25350950" y="13232050"/>
              <a:ext cx="0" cy="215975"/>
            </a:xfrm>
            <a:custGeom>
              <a:avLst/>
              <a:gdLst/>
              <a:ahLst/>
              <a:cxnLst/>
              <a:rect l="l" t="t" r="r" b="b"/>
              <a:pathLst>
                <a:path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34" name="Google Shape;3329;p49"/>
            <p:cNvSpPr/>
            <p:nvPr/>
          </p:nvSpPr>
          <p:spPr>
            <a:xfrm>
              <a:off x="-25317350" y="132127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35" name="Google Shape;3330;p49"/>
            <p:cNvSpPr/>
            <p:nvPr/>
          </p:nvSpPr>
          <p:spPr>
            <a:xfrm>
              <a:off x="-25285425" y="13209375"/>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36" name="Google Shape;3331;p49"/>
            <p:cNvSpPr/>
            <p:nvPr/>
          </p:nvSpPr>
          <p:spPr>
            <a:xfrm>
              <a:off x="-25252650" y="132060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37" name="Google Shape;3332;p49"/>
            <p:cNvSpPr/>
            <p:nvPr/>
          </p:nvSpPr>
          <p:spPr>
            <a:xfrm>
              <a:off x="-25220725" y="132026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38" name="Google Shape;3333;p49"/>
            <p:cNvSpPr/>
            <p:nvPr/>
          </p:nvSpPr>
          <p:spPr>
            <a:xfrm>
              <a:off x="-25187950" y="13200125"/>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39" name="Google Shape;3334;p49"/>
            <p:cNvSpPr/>
            <p:nvPr/>
          </p:nvSpPr>
          <p:spPr>
            <a:xfrm>
              <a:off x="-25156025" y="131967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40" name="Google Shape;3335;p49"/>
            <p:cNvSpPr/>
            <p:nvPr/>
          </p:nvSpPr>
          <p:spPr>
            <a:xfrm>
              <a:off x="-25124100" y="131934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41" name="Google Shape;3336;p49"/>
            <p:cNvSpPr/>
            <p:nvPr/>
          </p:nvSpPr>
          <p:spPr>
            <a:xfrm>
              <a:off x="-25091325" y="13190050"/>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42" name="Google Shape;3337;p49"/>
            <p:cNvSpPr/>
            <p:nvPr/>
          </p:nvSpPr>
          <p:spPr>
            <a:xfrm>
              <a:off x="-25060250" y="13135425"/>
              <a:ext cx="25" cy="215125"/>
            </a:xfrm>
            <a:custGeom>
              <a:avLst/>
              <a:gdLst/>
              <a:ahLst/>
              <a:cxnLst/>
              <a:rect l="l" t="t" r="r" b="b"/>
              <a:pathLst>
                <a:path w="1" h="8605" fill="none" extrusionOk="0">
                  <a:moveTo>
                    <a:pt x="1" y="1"/>
                  </a:moveTo>
                  <a:lnTo>
                    <a:pt x="1"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43" name="Google Shape;3338;p49"/>
            <p:cNvSpPr/>
            <p:nvPr/>
          </p:nvSpPr>
          <p:spPr>
            <a:xfrm>
              <a:off x="-25028325" y="1307997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44" name="Google Shape;3339;p49"/>
            <p:cNvSpPr/>
            <p:nvPr/>
          </p:nvSpPr>
          <p:spPr>
            <a:xfrm>
              <a:off x="-24996400" y="130514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45" name="Google Shape;3340;p49"/>
            <p:cNvSpPr/>
            <p:nvPr/>
          </p:nvSpPr>
          <p:spPr>
            <a:xfrm>
              <a:off x="-24963625" y="13058975"/>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46" name="Google Shape;3341;p49"/>
            <p:cNvSpPr/>
            <p:nvPr/>
          </p:nvSpPr>
          <p:spPr>
            <a:xfrm>
              <a:off x="-24931700" y="13066550"/>
              <a:ext cx="25" cy="215950"/>
            </a:xfrm>
            <a:custGeom>
              <a:avLst/>
              <a:gdLst/>
              <a:ahLst/>
              <a:cxnLst/>
              <a:rect l="l" t="t" r="r" b="b"/>
              <a:pathLst>
                <a:path w="1" h="8638" fill="none" extrusionOk="0">
                  <a:moveTo>
                    <a:pt x="1" y="0"/>
                  </a:moveTo>
                  <a:lnTo>
                    <a:pt x="1"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47" name="Google Shape;3342;p49"/>
            <p:cNvSpPr/>
            <p:nvPr/>
          </p:nvSpPr>
          <p:spPr>
            <a:xfrm>
              <a:off x="-24906475" y="13009400"/>
              <a:ext cx="0" cy="215975"/>
            </a:xfrm>
            <a:custGeom>
              <a:avLst/>
              <a:gdLst/>
              <a:ahLst/>
              <a:cxnLst/>
              <a:rect l="l" t="t" r="r" b="b"/>
              <a:pathLst>
                <a:path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48" name="Google Shape;3343;p49"/>
            <p:cNvSpPr/>
            <p:nvPr/>
          </p:nvSpPr>
          <p:spPr>
            <a:xfrm>
              <a:off x="-25765175" y="12810275"/>
              <a:ext cx="863750" cy="339475"/>
            </a:xfrm>
            <a:custGeom>
              <a:avLst/>
              <a:gdLst/>
              <a:ahLst/>
              <a:cxnLst/>
              <a:rect l="l" t="t" r="r" b="b"/>
              <a:pathLst>
                <a:path w="34550" h="13579" extrusionOk="0">
                  <a:moveTo>
                    <a:pt x="34550" y="269"/>
                  </a:moveTo>
                  <a:cubicBezTo>
                    <a:pt x="34550" y="605"/>
                    <a:pt x="34516" y="908"/>
                    <a:pt x="34449" y="1244"/>
                  </a:cubicBezTo>
                  <a:cubicBezTo>
                    <a:pt x="34382" y="1580"/>
                    <a:pt x="34281" y="1916"/>
                    <a:pt x="34180" y="2219"/>
                  </a:cubicBezTo>
                  <a:cubicBezTo>
                    <a:pt x="34046" y="2555"/>
                    <a:pt x="33877" y="2891"/>
                    <a:pt x="33709" y="3193"/>
                  </a:cubicBezTo>
                  <a:cubicBezTo>
                    <a:pt x="33508" y="3563"/>
                    <a:pt x="33273" y="3899"/>
                    <a:pt x="33004" y="4235"/>
                  </a:cubicBezTo>
                  <a:cubicBezTo>
                    <a:pt x="32701" y="4638"/>
                    <a:pt x="32331" y="5008"/>
                    <a:pt x="31928" y="5378"/>
                  </a:cubicBezTo>
                  <a:cubicBezTo>
                    <a:pt x="31323" y="5949"/>
                    <a:pt x="30584" y="6520"/>
                    <a:pt x="29744" y="6991"/>
                  </a:cubicBezTo>
                  <a:cubicBezTo>
                    <a:pt x="29676" y="7058"/>
                    <a:pt x="29609" y="7092"/>
                    <a:pt x="29542" y="7125"/>
                  </a:cubicBezTo>
                  <a:cubicBezTo>
                    <a:pt x="28399" y="7798"/>
                    <a:pt x="27122" y="8369"/>
                    <a:pt x="25744" y="8806"/>
                  </a:cubicBezTo>
                  <a:cubicBezTo>
                    <a:pt x="24702" y="9142"/>
                    <a:pt x="23627" y="9411"/>
                    <a:pt x="22484" y="9612"/>
                  </a:cubicBezTo>
                  <a:cubicBezTo>
                    <a:pt x="21778" y="9747"/>
                    <a:pt x="21039" y="9848"/>
                    <a:pt x="20300" y="9915"/>
                  </a:cubicBezTo>
                  <a:cubicBezTo>
                    <a:pt x="19661" y="9982"/>
                    <a:pt x="19022" y="10016"/>
                    <a:pt x="18384" y="10049"/>
                  </a:cubicBezTo>
                  <a:cubicBezTo>
                    <a:pt x="17779" y="10049"/>
                    <a:pt x="17174" y="10049"/>
                    <a:pt x="16603" y="10049"/>
                  </a:cubicBezTo>
                  <a:cubicBezTo>
                    <a:pt x="16031" y="10049"/>
                    <a:pt x="15460" y="10016"/>
                    <a:pt x="14889" y="9949"/>
                  </a:cubicBezTo>
                  <a:cubicBezTo>
                    <a:pt x="14351" y="9915"/>
                    <a:pt x="13780" y="9848"/>
                    <a:pt x="13208" y="9781"/>
                  </a:cubicBezTo>
                  <a:cubicBezTo>
                    <a:pt x="12637" y="9680"/>
                    <a:pt x="12065" y="9579"/>
                    <a:pt x="11528" y="9478"/>
                  </a:cubicBezTo>
                  <a:cubicBezTo>
                    <a:pt x="10889" y="9344"/>
                    <a:pt x="10318" y="9209"/>
                    <a:pt x="9713" y="9041"/>
                  </a:cubicBezTo>
                  <a:cubicBezTo>
                    <a:pt x="9007" y="8839"/>
                    <a:pt x="8301" y="8604"/>
                    <a:pt x="7629" y="8335"/>
                  </a:cubicBezTo>
                  <a:cubicBezTo>
                    <a:pt x="6755" y="7966"/>
                    <a:pt x="5915" y="7596"/>
                    <a:pt x="5142" y="7125"/>
                  </a:cubicBezTo>
                  <a:cubicBezTo>
                    <a:pt x="1714" y="5176"/>
                    <a:pt x="34" y="2588"/>
                    <a:pt x="34" y="0"/>
                  </a:cubicBezTo>
                  <a:lnTo>
                    <a:pt x="34" y="3529"/>
                  </a:lnTo>
                  <a:cubicBezTo>
                    <a:pt x="0" y="6117"/>
                    <a:pt x="1714" y="8671"/>
                    <a:pt x="5109" y="10654"/>
                  </a:cubicBezTo>
                  <a:cubicBezTo>
                    <a:pt x="5882" y="11091"/>
                    <a:pt x="6722" y="11495"/>
                    <a:pt x="7596" y="11831"/>
                  </a:cubicBezTo>
                  <a:cubicBezTo>
                    <a:pt x="8301" y="12100"/>
                    <a:pt x="8974" y="12335"/>
                    <a:pt x="9713" y="12536"/>
                  </a:cubicBezTo>
                  <a:cubicBezTo>
                    <a:pt x="10284" y="12704"/>
                    <a:pt x="10889" y="12873"/>
                    <a:pt x="11494" y="12973"/>
                  </a:cubicBezTo>
                  <a:cubicBezTo>
                    <a:pt x="12065" y="13108"/>
                    <a:pt x="12637" y="13209"/>
                    <a:pt x="13208" y="13276"/>
                  </a:cubicBezTo>
                  <a:cubicBezTo>
                    <a:pt x="13780" y="13377"/>
                    <a:pt x="14317" y="13444"/>
                    <a:pt x="14889" y="13477"/>
                  </a:cubicBezTo>
                  <a:cubicBezTo>
                    <a:pt x="15460" y="13511"/>
                    <a:pt x="16031" y="13545"/>
                    <a:pt x="16603" y="13578"/>
                  </a:cubicBezTo>
                  <a:cubicBezTo>
                    <a:pt x="17174" y="13578"/>
                    <a:pt x="17779" y="13578"/>
                    <a:pt x="18350" y="13545"/>
                  </a:cubicBezTo>
                  <a:cubicBezTo>
                    <a:pt x="18989" y="13545"/>
                    <a:pt x="19627" y="13511"/>
                    <a:pt x="20266" y="13444"/>
                  </a:cubicBezTo>
                  <a:cubicBezTo>
                    <a:pt x="21005" y="13343"/>
                    <a:pt x="21745" y="13242"/>
                    <a:pt x="22484" y="13141"/>
                  </a:cubicBezTo>
                  <a:cubicBezTo>
                    <a:pt x="23593" y="12940"/>
                    <a:pt x="24702" y="12637"/>
                    <a:pt x="25744" y="12301"/>
                  </a:cubicBezTo>
                  <a:cubicBezTo>
                    <a:pt x="27089" y="11864"/>
                    <a:pt x="28366" y="11327"/>
                    <a:pt x="29542" y="10654"/>
                  </a:cubicBezTo>
                  <a:cubicBezTo>
                    <a:pt x="29609" y="10621"/>
                    <a:pt x="29676" y="10554"/>
                    <a:pt x="29744" y="10520"/>
                  </a:cubicBezTo>
                  <a:cubicBezTo>
                    <a:pt x="30584" y="10016"/>
                    <a:pt x="31323" y="9478"/>
                    <a:pt x="31928" y="8907"/>
                  </a:cubicBezTo>
                  <a:cubicBezTo>
                    <a:pt x="32331" y="8537"/>
                    <a:pt x="32701" y="8134"/>
                    <a:pt x="33004" y="7764"/>
                  </a:cubicBezTo>
                  <a:cubicBezTo>
                    <a:pt x="33273" y="7428"/>
                    <a:pt x="33508" y="7058"/>
                    <a:pt x="33709" y="6722"/>
                  </a:cubicBezTo>
                  <a:cubicBezTo>
                    <a:pt x="33877" y="6386"/>
                    <a:pt x="34046" y="6050"/>
                    <a:pt x="34146" y="5747"/>
                  </a:cubicBezTo>
                  <a:cubicBezTo>
                    <a:pt x="34281" y="5411"/>
                    <a:pt x="34382" y="5075"/>
                    <a:pt x="34415" y="4773"/>
                  </a:cubicBezTo>
                  <a:cubicBezTo>
                    <a:pt x="34482" y="4437"/>
                    <a:pt x="34550" y="4101"/>
                    <a:pt x="34550" y="3765"/>
                  </a:cubicBezTo>
                  <a:cubicBezTo>
                    <a:pt x="34550" y="3731"/>
                    <a:pt x="34550" y="3664"/>
                    <a:pt x="34550" y="3630"/>
                  </a:cubicBezTo>
                  <a:lnTo>
                    <a:pt x="34550" y="101"/>
                  </a:lnTo>
                  <a:cubicBezTo>
                    <a:pt x="34550" y="168"/>
                    <a:pt x="34550" y="202"/>
                    <a:pt x="34550" y="26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49" name="Google Shape;3344;p49"/>
            <p:cNvSpPr/>
            <p:nvPr/>
          </p:nvSpPr>
          <p:spPr>
            <a:xfrm>
              <a:off x="-25807200" y="12537200"/>
              <a:ext cx="948625" cy="548700"/>
            </a:xfrm>
            <a:custGeom>
              <a:avLst/>
              <a:gdLst/>
              <a:ahLst/>
              <a:cxnLst/>
              <a:rect l="l" t="t" r="r" b="b"/>
              <a:pathLst>
                <a:path w="37945" h="21948" extrusionOk="0">
                  <a:moveTo>
                    <a:pt x="31156" y="3899"/>
                  </a:moveTo>
                  <a:cubicBezTo>
                    <a:pt x="37911" y="7831"/>
                    <a:pt x="37945" y="14150"/>
                    <a:pt x="31223" y="18048"/>
                  </a:cubicBezTo>
                  <a:cubicBezTo>
                    <a:pt x="24501" y="21947"/>
                    <a:pt x="13578" y="21947"/>
                    <a:pt x="6790" y="18048"/>
                  </a:cubicBezTo>
                  <a:cubicBezTo>
                    <a:pt x="34" y="14150"/>
                    <a:pt x="1" y="7831"/>
                    <a:pt x="6722" y="3899"/>
                  </a:cubicBezTo>
                  <a:cubicBezTo>
                    <a:pt x="13444" y="1"/>
                    <a:pt x="24367" y="1"/>
                    <a:pt x="31156" y="389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50" name="Google Shape;3345;p49"/>
            <p:cNvSpPr/>
            <p:nvPr/>
          </p:nvSpPr>
          <p:spPr>
            <a:xfrm>
              <a:off x="-25747550" y="12571650"/>
              <a:ext cx="829325" cy="480625"/>
            </a:xfrm>
            <a:custGeom>
              <a:avLst/>
              <a:gdLst/>
              <a:ahLst/>
              <a:cxnLst/>
              <a:rect l="l" t="t" r="r" b="b"/>
              <a:pathLst>
                <a:path w="33173" h="19225" extrusionOk="0">
                  <a:moveTo>
                    <a:pt x="27224" y="3429"/>
                  </a:moveTo>
                  <a:cubicBezTo>
                    <a:pt x="33139" y="6823"/>
                    <a:pt x="33172" y="12369"/>
                    <a:pt x="27291" y="15797"/>
                  </a:cubicBezTo>
                  <a:cubicBezTo>
                    <a:pt x="21409" y="19191"/>
                    <a:pt x="11865" y="19225"/>
                    <a:pt x="5950" y="15797"/>
                  </a:cubicBezTo>
                  <a:cubicBezTo>
                    <a:pt x="34" y="12369"/>
                    <a:pt x="1" y="6823"/>
                    <a:pt x="5882" y="3429"/>
                  </a:cubicBezTo>
                  <a:cubicBezTo>
                    <a:pt x="11764" y="1"/>
                    <a:pt x="21309" y="1"/>
                    <a:pt x="27224" y="342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51" name="Google Shape;3346;p49"/>
            <p:cNvSpPr/>
            <p:nvPr/>
          </p:nvSpPr>
          <p:spPr>
            <a:xfrm>
              <a:off x="-25518175" y="12683400"/>
              <a:ext cx="364700" cy="227725"/>
            </a:xfrm>
            <a:custGeom>
              <a:avLst/>
              <a:gdLst/>
              <a:ahLst/>
              <a:cxnLst/>
              <a:rect l="l" t="t" r="r" b="b"/>
              <a:pathLst>
                <a:path w="14588" h="9109" extrusionOk="0">
                  <a:moveTo>
                    <a:pt x="12772" y="7226"/>
                  </a:moveTo>
                  <a:lnTo>
                    <a:pt x="14385" y="8134"/>
                  </a:lnTo>
                  <a:lnTo>
                    <a:pt x="13512" y="8638"/>
                  </a:lnTo>
                  <a:lnTo>
                    <a:pt x="11898" y="7730"/>
                  </a:lnTo>
                  <a:cubicBezTo>
                    <a:pt x="11193" y="8067"/>
                    <a:pt x="10386" y="8369"/>
                    <a:pt x="9512" y="8638"/>
                  </a:cubicBezTo>
                  <a:cubicBezTo>
                    <a:pt x="8638" y="8873"/>
                    <a:pt x="7765" y="9041"/>
                    <a:pt x="6891" y="9108"/>
                  </a:cubicBezTo>
                  <a:lnTo>
                    <a:pt x="6050" y="7596"/>
                  </a:lnTo>
                  <a:cubicBezTo>
                    <a:pt x="6185" y="7596"/>
                    <a:pt x="6454" y="7596"/>
                    <a:pt x="6756" y="7562"/>
                  </a:cubicBezTo>
                  <a:cubicBezTo>
                    <a:pt x="7059" y="7529"/>
                    <a:pt x="7395" y="7462"/>
                    <a:pt x="7798" y="7394"/>
                  </a:cubicBezTo>
                  <a:cubicBezTo>
                    <a:pt x="8168" y="7294"/>
                    <a:pt x="8605" y="7193"/>
                    <a:pt x="9008" y="7058"/>
                  </a:cubicBezTo>
                  <a:cubicBezTo>
                    <a:pt x="9445" y="6924"/>
                    <a:pt x="9848" y="6789"/>
                    <a:pt x="10218" y="6621"/>
                  </a:cubicBezTo>
                  <a:lnTo>
                    <a:pt x="7731" y="5176"/>
                  </a:lnTo>
                  <a:cubicBezTo>
                    <a:pt x="7630" y="5210"/>
                    <a:pt x="7529" y="5243"/>
                    <a:pt x="7428" y="5277"/>
                  </a:cubicBezTo>
                  <a:cubicBezTo>
                    <a:pt x="7294" y="5311"/>
                    <a:pt x="7193" y="5344"/>
                    <a:pt x="7059" y="5378"/>
                  </a:cubicBezTo>
                  <a:cubicBezTo>
                    <a:pt x="6454" y="5580"/>
                    <a:pt x="5882" y="5748"/>
                    <a:pt x="5345" y="5882"/>
                  </a:cubicBezTo>
                  <a:cubicBezTo>
                    <a:pt x="4841" y="5983"/>
                    <a:pt x="4336" y="6050"/>
                    <a:pt x="3900" y="6084"/>
                  </a:cubicBezTo>
                  <a:cubicBezTo>
                    <a:pt x="3429" y="6084"/>
                    <a:pt x="2992" y="6050"/>
                    <a:pt x="2589" y="5949"/>
                  </a:cubicBezTo>
                  <a:cubicBezTo>
                    <a:pt x="2185" y="5848"/>
                    <a:pt x="1782" y="5680"/>
                    <a:pt x="1379" y="5445"/>
                  </a:cubicBezTo>
                  <a:cubicBezTo>
                    <a:pt x="908" y="5176"/>
                    <a:pt x="539" y="4874"/>
                    <a:pt x="337" y="4571"/>
                  </a:cubicBezTo>
                  <a:cubicBezTo>
                    <a:pt x="135" y="4235"/>
                    <a:pt x="35" y="3933"/>
                    <a:pt x="35" y="3597"/>
                  </a:cubicBezTo>
                  <a:cubicBezTo>
                    <a:pt x="68" y="3261"/>
                    <a:pt x="203" y="2958"/>
                    <a:pt x="471" y="2622"/>
                  </a:cubicBezTo>
                  <a:cubicBezTo>
                    <a:pt x="707" y="2286"/>
                    <a:pt x="1043" y="1983"/>
                    <a:pt x="1480" y="1715"/>
                  </a:cubicBezTo>
                  <a:lnTo>
                    <a:pt x="1" y="841"/>
                  </a:lnTo>
                  <a:lnTo>
                    <a:pt x="841" y="337"/>
                  </a:lnTo>
                  <a:lnTo>
                    <a:pt x="2320" y="1177"/>
                  </a:lnTo>
                  <a:cubicBezTo>
                    <a:pt x="2992" y="841"/>
                    <a:pt x="3731" y="572"/>
                    <a:pt x="4471" y="404"/>
                  </a:cubicBezTo>
                  <a:cubicBezTo>
                    <a:pt x="5210" y="202"/>
                    <a:pt x="5916" y="68"/>
                    <a:pt x="6622" y="0"/>
                  </a:cubicBezTo>
                  <a:lnTo>
                    <a:pt x="7361" y="1446"/>
                  </a:lnTo>
                  <a:cubicBezTo>
                    <a:pt x="7227" y="1446"/>
                    <a:pt x="7025" y="1479"/>
                    <a:pt x="6790" y="1513"/>
                  </a:cubicBezTo>
                  <a:cubicBezTo>
                    <a:pt x="6521" y="1546"/>
                    <a:pt x="6252" y="1580"/>
                    <a:pt x="5916" y="1647"/>
                  </a:cubicBezTo>
                  <a:cubicBezTo>
                    <a:pt x="5614" y="1715"/>
                    <a:pt x="5277" y="1815"/>
                    <a:pt x="4941" y="1916"/>
                  </a:cubicBezTo>
                  <a:cubicBezTo>
                    <a:pt x="4605" y="2017"/>
                    <a:pt x="4269" y="2151"/>
                    <a:pt x="3967" y="2286"/>
                  </a:cubicBezTo>
                  <a:lnTo>
                    <a:pt x="6454" y="3731"/>
                  </a:lnTo>
                  <a:lnTo>
                    <a:pt x="6924" y="3563"/>
                  </a:lnTo>
                  <a:cubicBezTo>
                    <a:pt x="7563" y="3361"/>
                    <a:pt x="8134" y="3193"/>
                    <a:pt x="8706" y="3025"/>
                  </a:cubicBezTo>
                  <a:cubicBezTo>
                    <a:pt x="9277" y="2891"/>
                    <a:pt x="9815" y="2790"/>
                    <a:pt x="10319" y="2756"/>
                  </a:cubicBezTo>
                  <a:cubicBezTo>
                    <a:pt x="10857" y="2723"/>
                    <a:pt x="11327" y="2756"/>
                    <a:pt x="11831" y="2857"/>
                  </a:cubicBezTo>
                  <a:cubicBezTo>
                    <a:pt x="12302" y="2958"/>
                    <a:pt x="12772" y="3160"/>
                    <a:pt x="13243" y="3429"/>
                  </a:cubicBezTo>
                  <a:cubicBezTo>
                    <a:pt x="13780" y="3731"/>
                    <a:pt x="14150" y="4034"/>
                    <a:pt x="14318" y="4370"/>
                  </a:cubicBezTo>
                  <a:cubicBezTo>
                    <a:pt x="14520" y="4706"/>
                    <a:pt x="14587" y="5042"/>
                    <a:pt x="14486" y="5344"/>
                  </a:cubicBezTo>
                  <a:cubicBezTo>
                    <a:pt x="14419" y="5680"/>
                    <a:pt x="14217" y="6016"/>
                    <a:pt x="13915" y="6319"/>
                  </a:cubicBezTo>
                  <a:cubicBezTo>
                    <a:pt x="13612" y="6621"/>
                    <a:pt x="13243" y="6924"/>
                    <a:pt x="12772" y="7226"/>
                  </a:cubicBezTo>
                  <a:close/>
                  <a:moveTo>
                    <a:pt x="8538" y="4907"/>
                  </a:moveTo>
                  <a:lnTo>
                    <a:pt x="10857" y="6285"/>
                  </a:lnTo>
                  <a:cubicBezTo>
                    <a:pt x="11865" y="5647"/>
                    <a:pt x="12033" y="5176"/>
                    <a:pt x="11327" y="4773"/>
                  </a:cubicBezTo>
                  <a:cubicBezTo>
                    <a:pt x="11025" y="4571"/>
                    <a:pt x="10621" y="4504"/>
                    <a:pt x="10184" y="4571"/>
                  </a:cubicBezTo>
                  <a:cubicBezTo>
                    <a:pt x="9714" y="4605"/>
                    <a:pt x="9176" y="4739"/>
                    <a:pt x="8538" y="4907"/>
                  </a:cubicBezTo>
                  <a:close/>
                  <a:moveTo>
                    <a:pt x="4202" y="4302"/>
                  </a:moveTo>
                  <a:cubicBezTo>
                    <a:pt x="4605" y="4269"/>
                    <a:pt x="5109" y="4168"/>
                    <a:pt x="5681" y="3966"/>
                  </a:cubicBezTo>
                  <a:lnTo>
                    <a:pt x="3328" y="2622"/>
                  </a:lnTo>
                  <a:cubicBezTo>
                    <a:pt x="2488" y="3193"/>
                    <a:pt x="2421" y="3664"/>
                    <a:pt x="3127" y="4067"/>
                  </a:cubicBezTo>
                  <a:cubicBezTo>
                    <a:pt x="3463" y="4269"/>
                    <a:pt x="3799" y="4336"/>
                    <a:pt x="4202" y="4302"/>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52" name="Google Shape;3347;p49"/>
            <p:cNvSpPr/>
            <p:nvPr/>
          </p:nvSpPr>
          <p:spPr>
            <a:xfrm>
              <a:off x="-25746700" y="128195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53" name="Google Shape;3348;p49"/>
            <p:cNvSpPr/>
            <p:nvPr/>
          </p:nvSpPr>
          <p:spPr>
            <a:xfrm>
              <a:off x="-25722325" y="12862375"/>
              <a:ext cx="0" cy="215950"/>
            </a:xfrm>
            <a:custGeom>
              <a:avLst/>
              <a:gdLst/>
              <a:ahLst/>
              <a:cxnLst/>
              <a:rect l="l" t="t" r="r" b="b"/>
              <a:pathLst>
                <a:path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54" name="Google Shape;3349;p49"/>
            <p:cNvSpPr/>
            <p:nvPr/>
          </p:nvSpPr>
          <p:spPr>
            <a:xfrm>
              <a:off x="-25697975" y="12905225"/>
              <a:ext cx="25" cy="215100"/>
            </a:xfrm>
            <a:custGeom>
              <a:avLst/>
              <a:gdLst/>
              <a:ahLst/>
              <a:cxnLst/>
              <a:rect l="l" t="t" r="r" b="b"/>
              <a:pathLst>
                <a:path w="1" h="8604"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55" name="Google Shape;3350;p49"/>
            <p:cNvSpPr/>
            <p:nvPr/>
          </p:nvSpPr>
          <p:spPr>
            <a:xfrm>
              <a:off x="-25674450" y="12947225"/>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56" name="Google Shape;3351;p49"/>
            <p:cNvSpPr/>
            <p:nvPr/>
          </p:nvSpPr>
          <p:spPr>
            <a:xfrm>
              <a:off x="-25650075" y="129421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57" name="Google Shape;3352;p49"/>
            <p:cNvSpPr/>
            <p:nvPr/>
          </p:nvSpPr>
          <p:spPr>
            <a:xfrm>
              <a:off x="-25616475" y="129539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58" name="Google Shape;3353;p49"/>
            <p:cNvSpPr/>
            <p:nvPr/>
          </p:nvSpPr>
          <p:spPr>
            <a:xfrm>
              <a:off x="-25583700" y="12965725"/>
              <a:ext cx="25" cy="215100"/>
            </a:xfrm>
            <a:custGeom>
              <a:avLst/>
              <a:gdLst/>
              <a:ahLst/>
              <a:cxnLst/>
              <a:rect l="l" t="t" r="r" b="b"/>
              <a:pathLst>
                <a:path w="1" h="8604"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59" name="Google Shape;3354;p49"/>
            <p:cNvSpPr/>
            <p:nvPr/>
          </p:nvSpPr>
          <p:spPr>
            <a:xfrm>
              <a:off x="-25550100" y="129766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60" name="Google Shape;3355;p49"/>
            <p:cNvSpPr/>
            <p:nvPr/>
          </p:nvSpPr>
          <p:spPr>
            <a:xfrm>
              <a:off x="-25516475" y="129884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61" name="Google Shape;3356;p49"/>
            <p:cNvSpPr/>
            <p:nvPr/>
          </p:nvSpPr>
          <p:spPr>
            <a:xfrm>
              <a:off x="-25483725" y="130001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62" name="Google Shape;3357;p49"/>
            <p:cNvSpPr/>
            <p:nvPr/>
          </p:nvSpPr>
          <p:spPr>
            <a:xfrm>
              <a:off x="-25450100" y="130110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63" name="Google Shape;3358;p49"/>
            <p:cNvSpPr/>
            <p:nvPr/>
          </p:nvSpPr>
          <p:spPr>
            <a:xfrm>
              <a:off x="-25417350" y="130228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64" name="Google Shape;3359;p49"/>
            <p:cNvSpPr/>
            <p:nvPr/>
          </p:nvSpPr>
          <p:spPr>
            <a:xfrm>
              <a:off x="-25383725" y="130346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65" name="Google Shape;3360;p49"/>
            <p:cNvSpPr/>
            <p:nvPr/>
          </p:nvSpPr>
          <p:spPr>
            <a:xfrm>
              <a:off x="-25350950" y="13045525"/>
              <a:ext cx="0" cy="215975"/>
            </a:xfrm>
            <a:custGeom>
              <a:avLst/>
              <a:gdLst/>
              <a:ahLst/>
              <a:cxnLst/>
              <a:rect l="l" t="t" r="r" b="b"/>
              <a:pathLst>
                <a:path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66" name="Google Shape;3361;p49"/>
            <p:cNvSpPr/>
            <p:nvPr/>
          </p:nvSpPr>
          <p:spPr>
            <a:xfrm>
              <a:off x="-25317350" y="130262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67" name="Google Shape;3362;p49"/>
            <p:cNvSpPr/>
            <p:nvPr/>
          </p:nvSpPr>
          <p:spPr>
            <a:xfrm>
              <a:off x="-25285425" y="130228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68" name="Google Shape;3363;p49"/>
            <p:cNvSpPr/>
            <p:nvPr/>
          </p:nvSpPr>
          <p:spPr>
            <a:xfrm>
              <a:off x="-25252650" y="130194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69" name="Google Shape;3364;p49"/>
            <p:cNvSpPr/>
            <p:nvPr/>
          </p:nvSpPr>
          <p:spPr>
            <a:xfrm>
              <a:off x="-25220725" y="13016125"/>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70" name="Google Shape;3365;p49"/>
            <p:cNvSpPr/>
            <p:nvPr/>
          </p:nvSpPr>
          <p:spPr>
            <a:xfrm>
              <a:off x="-25187950" y="130127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71" name="Google Shape;3366;p49"/>
            <p:cNvSpPr/>
            <p:nvPr/>
          </p:nvSpPr>
          <p:spPr>
            <a:xfrm>
              <a:off x="-25156025" y="13010250"/>
              <a:ext cx="25" cy="215125"/>
            </a:xfrm>
            <a:custGeom>
              <a:avLst/>
              <a:gdLst/>
              <a:ahLst/>
              <a:cxnLst/>
              <a:rect l="l" t="t" r="r" b="b"/>
              <a:pathLst>
                <a:path w="1" h="8605"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72" name="Google Shape;3367;p49"/>
            <p:cNvSpPr/>
            <p:nvPr/>
          </p:nvSpPr>
          <p:spPr>
            <a:xfrm>
              <a:off x="-25124100" y="130068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73" name="Google Shape;3368;p49"/>
            <p:cNvSpPr/>
            <p:nvPr/>
          </p:nvSpPr>
          <p:spPr>
            <a:xfrm>
              <a:off x="-25091325" y="130035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74" name="Google Shape;3369;p49"/>
            <p:cNvSpPr/>
            <p:nvPr/>
          </p:nvSpPr>
          <p:spPr>
            <a:xfrm>
              <a:off x="-25060250" y="129480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75" name="Google Shape;3370;p49"/>
            <p:cNvSpPr/>
            <p:nvPr/>
          </p:nvSpPr>
          <p:spPr>
            <a:xfrm>
              <a:off x="-25028325" y="128934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76" name="Google Shape;3371;p49"/>
            <p:cNvSpPr/>
            <p:nvPr/>
          </p:nvSpPr>
          <p:spPr>
            <a:xfrm>
              <a:off x="-24996400" y="1286487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77" name="Google Shape;3372;p49"/>
            <p:cNvSpPr/>
            <p:nvPr/>
          </p:nvSpPr>
          <p:spPr>
            <a:xfrm>
              <a:off x="-24963625" y="12872450"/>
              <a:ext cx="25" cy="215125"/>
            </a:xfrm>
            <a:custGeom>
              <a:avLst/>
              <a:gdLst/>
              <a:ahLst/>
              <a:cxnLst/>
              <a:rect l="l" t="t" r="r" b="b"/>
              <a:pathLst>
                <a:path w="1" h="8605"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78" name="Google Shape;3373;p49"/>
            <p:cNvSpPr/>
            <p:nvPr/>
          </p:nvSpPr>
          <p:spPr>
            <a:xfrm>
              <a:off x="-24931700" y="12880000"/>
              <a:ext cx="25" cy="215125"/>
            </a:xfrm>
            <a:custGeom>
              <a:avLst/>
              <a:gdLst/>
              <a:ahLst/>
              <a:cxnLst/>
              <a:rect l="l" t="t" r="r" b="b"/>
              <a:pathLst>
                <a:path w="1" h="8605" fill="none" extrusionOk="0">
                  <a:moveTo>
                    <a:pt x="1" y="1"/>
                  </a:moveTo>
                  <a:lnTo>
                    <a:pt x="1"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79" name="Google Shape;3374;p49"/>
            <p:cNvSpPr/>
            <p:nvPr/>
          </p:nvSpPr>
          <p:spPr>
            <a:xfrm>
              <a:off x="-24906475" y="12822875"/>
              <a:ext cx="0" cy="215950"/>
            </a:xfrm>
            <a:custGeom>
              <a:avLst/>
              <a:gdLst/>
              <a:ahLst/>
              <a:cxnLst/>
              <a:rect l="l" t="t" r="r" b="b"/>
              <a:pathLst>
                <a:path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80" name="Google Shape;3375;p49"/>
            <p:cNvSpPr/>
            <p:nvPr/>
          </p:nvSpPr>
          <p:spPr>
            <a:xfrm>
              <a:off x="-25765175" y="12606100"/>
              <a:ext cx="863750" cy="339475"/>
            </a:xfrm>
            <a:custGeom>
              <a:avLst/>
              <a:gdLst/>
              <a:ahLst/>
              <a:cxnLst/>
              <a:rect l="l" t="t" r="r" b="b"/>
              <a:pathLst>
                <a:path w="34550" h="13579" extrusionOk="0">
                  <a:moveTo>
                    <a:pt x="34550" y="269"/>
                  </a:moveTo>
                  <a:cubicBezTo>
                    <a:pt x="34550" y="605"/>
                    <a:pt x="34516" y="908"/>
                    <a:pt x="34449" y="1244"/>
                  </a:cubicBezTo>
                  <a:cubicBezTo>
                    <a:pt x="34382" y="1580"/>
                    <a:pt x="34281" y="1916"/>
                    <a:pt x="34180" y="2219"/>
                  </a:cubicBezTo>
                  <a:cubicBezTo>
                    <a:pt x="34046" y="2555"/>
                    <a:pt x="33877" y="2891"/>
                    <a:pt x="33709" y="3193"/>
                  </a:cubicBezTo>
                  <a:cubicBezTo>
                    <a:pt x="33508" y="3563"/>
                    <a:pt x="33273" y="3899"/>
                    <a:pt x="33004" y="4235"/>
                  </a:cubicBezTo>
                  <a:cubicBezTo>
                    <a:pt x="32701" y="4638"/>
                    <a:pt x="32331" y="5008"/>
                    <a:pt x="31928" y="5378"/>
                  </a:cubicBezTo>
                  <a:cubicBezTo>
                    <a:pt x="31323" y="5949"/>
                    <a:pt x="30584" y="6521"/>
                    <a:pt x="29744" y="7025"/>
                  </a:cubicBezTo>
                  <a:cubicBezTo>
                    <a:pt x="29676" y="7058"/>
                    <a:pt x="29609" y="7092"/>
                    <a:pt x="29542" y="7126"/>
                  </a:cubicBezTo>
                  <a:cubicBezTo>
                    <a:pt x="28399" y="7798"/>
                    <a:pt x="27122" y="8369"/>
                    <a:pt x="25744" y="8806"/>
                  </a:cubicBezTo>
                  <a:cubicBezTo>
                    <a:pt x="24702" y="9142"/>
                    <a:pt x="23627" y="9411"/>
                    <a:pt x="22484" y="9613"/>
                  </a:cubicBezTo>
                  <a:cubicBezTo>
                    <a:pt x="21778" y="9747"/>
                    <a:pt x="21039" y="9848"/>
                    <a:pt x="20300" y="9915"/>
                  </a:cubicBezTo>
                  <a:cubicBezTo>
                    <a:pt x="19661" y="9982"/>
                    <a:pt x="19022" y="10016"/>
                    <a:pt x="18384" y="10049"/>
                  </a:cubicBezTo>
                  <a:cubicBezTo>
                    <a:pt x="17779" y="10083"/>
                    <a:pt x="17174" y="10083"/>
                    <a:pt x="16603" y="10049"/>
                  </a:cubicBezTo>
                  <a:cubicBezTo>
                    <a:pt x="16031" y="10049"/>
                    <a:pt x="15460" y="10016"/>
                    <a:pt x="14889" y="9949"/>
                  </a:cubicBezTo>
                  <a:cubicBezTo>
                    <a:pt x="14351" y="9915"/>
                    <a:pt x="13780" y="9848"/>
                    <a:pt x="13208" y="9781"/>
                  </a:cubicBezTo>
                  <a:cubicBezTo>
                    <a:pt x="12637" y="9680"/>
                    <a:pt x="12065" y="9579"/>
                    <a:pt x="11528" y="9478"/>
                  </a:cubicBezTo>
                  <a:cubicBezTo>
                    <a:pt x="10889" y="9344"/>
                    <a:pt x="10318" y="9209"/>
                    <a:pt x="9713" y="9041"/>
                  </a:cubicBezTo>
                  <a:cubicBezTo>
                    <a:pt x="9007" y="8840"/>
                    <a:pt x="8301" y="8604"/>
                    <a:pt x="7629" y="8335"/>
                  </a:cubicBezTo>
                  <a:cubicBezTo>
                    <a:pt x="6755" y="7999"/>
                    <a:pt x="5915" y="7596"/>
                    <a:pt x="5142" y="7126"/>
                  </a:cubicBezTo>
                  <a:cubicBezTo>
                    <a:pt x="1714" y="5176"/>
                    <a:pt x="34" y="2588"/>
                    <a:pt x="34" y="1"/>
                  </a:cubicBezTo>
                  <a:lnTo>
                    <a:pt x="34" y="3529"/>
                  </a:lnTo>
                  <a:cubicBezTo>
                    <a:pt x="0" y="6117"/>
                    <a:pt x="1714" y="8672"/>
                    <a:pt x="5109" y="10654"/>
                  </a:cubicBezTo>
                  <a:cubicBezTo>
                    <a:pt x="5882" y="11091"/>
                    <a:pt x="6722" y="11495"/>
                    <a:pt x="7596" y="11831"/>
                  </a:cubicBezTo>
                  <a:cubicBezTo>
                    <a:pt x="8301" y="12100"/>
                    <a:pt x="8974" y="12335"/>
                    <a:pt x="9713" y="12537"/>
                  </a:cubicBezTo>
                  <a:cubicBezTo>
                    <a:pt x="10284" y="12705"/>
                    <a:pt x="10889" y="12873"/>
                    <a:pt x="11494" y="13007"/>
                  </a:cubicBezTo>
                  <a:cubicBezTo>
                    <a:pt x="12065" y="13108"/>
                    <a:pt x="12637" y="13209"/>
                    <a:pt x="13208" y="13276"/>
                  </a:cubicBezTo>
                  <a:cubicBezTo>
                    <a:pt x="13780" y="13377"/>
                    <a:pt x="14317" y="13444"/>
                    <a:pt x="14889" y="13478"/>
                  </a:cubicBezTo>
                  <a:cubicBezTo>
                    <a:pt x="15460" y="13511"/>
                    <a:pt x="16031" y="13545"/>
                    <a:pt x="16603" y="13578"/>
                  </a:cubicBezTo>
                  <a:cubicBezTo>
                    <a:pt x="17174" y="13578"/>
                    <a:pt x="17779" y="13578"/>
                    <a:pt x="18350" y="13578"/>
                  </a:cubicBezTo>
                  <a:cubicBezTo>
                    <a:pt x="18989" y="13545"/>
                    <a:pt x="19627" y="13511"/>
                    <a:pt x="20266" y="13444"/>
                  </a:cubicBezTo>
                  <a:cubicBezTo>
                    <a:pt x="21005" y="13377"/>
                    <a:pt x="21745" y="13276"/>
                    <a:pt x="22484" y="13141"/>
                  </a:cubicBezTo>
                  <a:cubicBezTo>
                    <a:pt x="23593" y="12940"/>
                    <a:pt x="24702" y="12671"/>
                    <a:pt x="25744" y="12301"/>
                  </a:cubicBezTo>
                  <a:cubicBezTo>
                    <a:pt x="27089" y="11864"/>
                    <a:pt x="28366" y="11327"/>
                    <a:pt x="29542" y="10654"/>
                  </a:cubicBezTo>
                  <a:cubicBezTo>
                    <a:pt x="29609" y="10621"/>
                    <a:pt x="29676" y="10554"/>
                    <a:pt x="29744" y="10520"/>
                  </a:cubicBezTo>
                  <a:cubicBezTo>
                    <a:pt x="30584" y="10016"/>
                    <a:pt x="31323" y="9478"/>
                    <a:pt x="31928" y="8907"/>
                  </a:cubicBezTo>
                  <a:cubicBezTo>
                    <a:pt x="32331" y="8537"/>
                    <a:pt x="32701" y="8134"/>
                    <a:pt x="33004" y="7764"/>
                  </a:cubicBezTo>
                  <a:cubicBezTo>
                    <a:pt x="33273" y="7428"/>
                    <a:pt x="33508" y="7058"/>
                    <a:pt x="33709" y="6722"/>
                  </a:cubicBezTo>
                  <a:cubicBezTo>
                    <a:pt x="33877" y="6386"/>
                    <a:pt x="34046" y="6084"/>
                    <a:pt x="34146" y="5748"/>
                  </a:cubicBezTo>
                  <a:cubicBezTo>
                    <a:pt x="34281" y="5411"/>
                    <a:pt x="34382" y="5075"/>
                    <a:pt x="34415" y="4773"/>
                  </a:cubicBezTo>
                  <a:cubicBezTo>
                    <a:pt x="34482" y="4437"/>
                    <a:pt x="34550" y="4101"/>
                    <a:pt x="34550" y="3765"/>
                  </a:cubicBezTo>
                  <a:cubicBezTo>
                    <a:pt x="34550" y="3731"/>
                    <a:pt x="34550" y="3664"/>
                    <a:pt x="34550" y="3630"/>
                  </a:cubicBezTo>
                  <a:lnTo>
                    <a:pt x="34550" y="101"/>
                  </a:lnTo>
                  <a:cubicBezTo>
                    <a:pt x="34550" y="169"/>
                    <a:pt x="34550" y="202"/>
                    <a:pt x="34550" y="26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81" name="Google Shape;3376;p49"/>
            <p:cNvSpPr/>
            <p:nvPr/>
          </p:nvSpPr>
          <p:spPr>
            <a:xfrm>
              <a:off x="-25807200" y="12333025"/>
              <a:ext cx="948625" cy="548700"/>
            </a:xfrm>
            <a:custGeom>
              <a:avLst/>
              <a:gdLst/>
              <a:ahLst/>
              <a:cxnLst/>
              <a:rect l="l" t="t" r="r" b="b"/>
              <a:pathLst>
                <a:path w="37945" h="21948" extrusionOk="0">
                  <a:moveTo>
                    <a:pt x="31156" y="3899"/>
                  </a:moveTo>
                  <a:cubicBezTo>
                    <a:pt x="37911" y="7832"/>
                    <a:pt x="37945" y="14150"/>
                    <a:pt x="31223" y="18049"/>
                  </a:cubicBezTo>
                  <a:cubicBezTo>
                    <a:pt x="24501" y="21947"/>
                    <a:pt x="13578" y="21947"/>
                    <a:pt x="6790" y="18049"/>
                  </a:cubicBezTo>
                  <a:cubicBezTo>
                    <a:pt x="34" y="14150"/>
                    <a:pt x="1" y="7832"/>
                    <a:pt x="6722" y="3899"/>
                  </a:cubicBezTo>
                  <a:cubicBezTo>
                    <a:pt x="13444" y="1"/>
                    <a:pt x="24367" y="1"/>
                    <a:pt x="31156" y="389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82" name="Google Shape;3377;p49"/>
            <p:cNvSpPr/>
            <p:nvPr/>
          </p:nvSpPr>
          <p:spPr>
            <a:xfrm>
              <a:off x="-25747550" y="12367475"/>
              <a:ext cx="829325" cy="480625"/>
            </a:xfrm>
            <a:custGeom>
              <a:avLst/>
              <a:gdLst/>
              <a:ahLst/>
              <a:cxnLst/>
              <a:rect l="l" t="t" r="r" b="b"/>
              <a:pathLst>
                <a:path w="33173" h="19225" extrusionOk="0">
                  <a:moveTo>
                    <a:pt x="27224" y="3429"/>
                  </a:moveTo>
                  <a:cubicBezTo>
                    <a:pt x="33139" y="6823"/>
                    <a:pt x="33172" y="12369"/>
                    <a:pt x="27291" y="15797"/>
                  </a:cubicBezTo>
                  <a:cubicBezTo>
                    <a:pt x="21409" y="19191"/>
                    <a:pt x="11865" y="19225"/>
                    <a:pt x="5950" y="15797"/>
                  </a:cubicBezTo>
                  <a:cubicBezTo>
                    <a:pt x="34" y="12369"/>
                    <a:pt x="1" y="6823"/>
                    <a:pt x="5882" y="3429"/>
                  </a:cubicBezTo>
                  <a:cubicBezTo>
                    <a:pt x="11764" y="1"/>
                    <a:pt x="21309" y="1"/>
                    <a:pt x="27224" y="342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83" name="Google Shape;3378;p49"/>
            <p:cNvSpPr/>
            <p:nvPr/>
          </p:nvSpPr>
          <p:spPr>
            <a:xfrm>
              <a:off x="-25518175" y="12479225"/>
              <a:ext cx="364700" cy="227725"/>
            </a:xfrm>
            <a:custGeom>
              <a:avLst/>
              <a:gdLst/>
              <a:ahLst/>
              <a:cxnLst/>
              <a:rect l="l" t="t" r="r" b="b"/>
              <a:pathLst>
                <a:path w="14588" h="9109" extrusionOk="0">
                  <a:moveTo>
                    <a:pt x="12772" y="7226"/>
                  </a:moveTo>
                  <a:lnTo>
                    <a:pt x="14385" y="8134"/>
                  </a:lnTo>
                  <a:lnTo>
                    <a:pt x="13512" y="8638"/>
                  </a:lnTo>
                  <a:lnTo>
                    <a:pt x="11898" y="7731"/>
                  </a:lnTo>
                  <a:cubicBezTo>
                    <a:pt x="11193" y="8067"/>
                    <a:pt x="10386" y="8369"/>
                    <a:pt x="9512" y="8638"/>
                  </a:cubicBezTo>
                  <a:cubicBezTo>
                    <a:pt x="8638" y="8873"/>
                    <a:pt x="7765" y="9041"/>
                    <a:pt x="6891" y="9109"/>
                  </a:cubicBezTo>
                  <a:lnTo>
                    <a:pt x="6050" y="7596"/>
                  </a:lnTo>
                  <a:cubicBezTo>
                    <a:pt x="6185" y="7596"/>
                    <a:pt x="6454" y="7596"/>
                    <a:pt x="6756" y="7563"/>
                  </a:cubicBezTo>
                  <a:cubicBezTo>
                    <a:pt x="7059" y="7529"/>
                    <a:pt x="7395" y="7462"/>
                    <a:pt x="7798" y="7394"/>
                  </a:cubicBezTo>
                  <a:cubicBezTo>
                    <a:pt x="8168" y="7294"/>
                    <a:pt x="8605" y="7193"/>
                    <a:pt x="9008" y="7058"/>
                  </a:cubicBezTo>
                  <a:cubicBezTo>
                    <a:pt x="9445" y="6924"/>
                    <a:pt x="9848" y="6790"/>
                    <a:pt x="10218" y="6622"/>
                  </a:cubicBezTo>
                  <a:lnTo>
                    <a:pt x="7731" y="5176"/>
                  </a:lnTo>
                  <a:cubicBezTo>
                    <a:pt x="7630" y="5210"/>
                    <a:pt x="7529" y="5244"/>
                    <a:pt x="7428" y="5277"/>
                  </a:cubicBezTo>
                  <a:cubicBezTo>
                    <a:pt x="7294" y="5311"/>
                    <a:pt x="7193" y="5344"/>
                    <a:pt x="7059" y="5378"/>
                  </a:cubicBezTo>
                  <a:cubicBezTo>
                    <a:pt x="6454" y="5580"/>
                    <a:pt x="5882" y="5748"/>
                    <a:pt x="5345" y="5882"/>
                  </a:cubicBezTo>
                  <a:cubicBezTo>
                    <a:pt x="4841" y="5983"/>
                    <a:pt x="4336" y="6050"/>
                    <a:pt x="3900" y="6084"/>
                  </a:cubicBezTo>
                  <a:cubicBezTo>
                    <a:pt x="3429" y="6084"/>
                    <a:pt x="2992" y="6050"/>
                    <a:pt x="2589" y="5949"/>
                  </a:cubicBezTo>
                  <a:cubicBezTo>
                    <a:pt x="2185" y="5849"/>
                    <a:pt x="1782" y="5680"/>
                    <a:pt x="1379" y="5445"/>
                  </a:cubicBezTo>
                  <a:cubicBezTo>
                    <a:pt x="908" y="5176"/>
                    <a:pt x="539" y="4874"/>
                    <a:pt x="337" y="4571"/>
                  </a:cubicBezTo>
                  <a:cubicBezTo>
                    <a:pt x="135" y="4235"/>
                    <a:pt x="35" y="3933"/>
                    <a:pt x="35" y="3597"/>
                  </a:cubicBezTo>
                  <a:cubicBezTo>
                    <a:pt x="68" y="3261"/>
                    <a:pt x="203" y="2958"/>
                    <a:pt x="471" y="2622"/>
                  </a:cubicBezTo>
                  <a:cubicBezTo>
                    <a:pt x="707" y="2286"/>
                    <a:pt x="1043" y="1984"/>
                    <a:pt x="1480" y="1715"/>
                  </a:cubicBezTo>
                  <a:lnTo>
                    <a:pt x="1" y="841"/>
                  </a:lnTo>
                  <a:lnTo>
                    <a:pt x="841" y="337"/>
                  </a:lnTo>
                  <a:lnTo>
                    <a:pt x="2320" y="1177"/>
                  </a:lnTo>
                  <a:cubicBezTo>
                    <a:pt x="2992" y="841"/>
                    <a:pt x="3731" y="572"/>
                    <a:pt x="4471" y="404"/>
                  </a:cubicBezTo>
                  <a:cubicBezTo>
                    <a:pt x="5210" y="202"/>
                    <a:pt x="5916" y="68"/>
                    <a:pt x="6622" y="1"/>
                  </a:cubicBezTo>
                  <a:lnTo>
                    <a:pt x="7361" y="1446"/>
                  </a:lnTo>
                  <a:cubicBezTo>
                    <a:pt x="7227" y="1446"/>
                    <a:pt x="7025" y="1479"/>
                    <a:pt x="6790" y="1513"/>
                  </a:cubicBezTo>
                  <a:cubicBezTo>
                    <a:pt x="6521" y="1547"/>
                    <a:pt x="6252" y="1580"/>
                    <a:pt x="5916" y="1647"/>
                  </a:cubicBezTo>
                  <a:cubicBezTo>
                    <a:pt x="5614" y="1715"/>
                    <a:pt x="5277" y="1815"/>
                    <a:pt x="4941" y="1916"/>
                  </a:cubicBezTo>
                  <a:cubicBezTo>
                    <a:pt x="4605" y="2017"/>
                    <a:pt x="4269" y="2152"/>
                    <a:pt x="3967" y="2286"/>
                  </a:cubicBezTo>
                  <a:lnTo>
                    <a:pt x="6454" y="3731"/>
                  </a:lnTo>
                  <a:lnTo>
                    <a:pt x="6924" y="3563"/>
                  </a:lnTo>
                  <a:cubicBezTo>
                    <a:pt x="7563" y="3361"/>
                    <a:pt x="8134" y="3193"/>
                    <a:pt x="8706" y="3025"/>
                  </a:cubicBezTo>
                  <a:cubicBezTo>
                    <a:pt x="9277" y="2891"/>
                    <a:pt x="9815" y="2790"/>
                    <a:pt x="10319" y="2757"/>
                  </a:cubicBezTo>
                  <a:cubicBezTo>
                    <a:pt x="10857" y="2723"/>
                    <a:pt x="11327" y="2757"/>
                    <a:pt x="11831" y="2857"/>
                  </a:cubicBezTo>
                  <a:cubicBezTo>
                    <a:pt x="12302" y="2958"/>
                    <a:pt x="12772" y="3160"/>
                    <a:pt x="13243" y="3429"/>
                  </a:cubicBezTo>
                  <a:cubicBezTo>
                    <a:pt x="13780" y="3731"/>
                    <a:pt x="14150" y="4034"/>
                    <a:pt x="14318" y="4370"/>
                  </a:cubicBezTo>
                  <a:cubicBezTo>
                    <a:pt x="14520" y="4706"/>
                    <a:pt x="14587" y="5042"/>
                    <a:pt x="14486" y="5344"/>
                  </a:cubicBezTo>
                  <a:cubicBezTo>
                    <a:pt x="14419" y="5680"/>
                    <a:pt x="14217" y="6017"/>
                    <a:pt x="13915" y="6319"/>
                  </a:cubicBezTo>
                  <a:cubicBezTo>
                    <a:pt x="13612" y="6655"/>
                    <a:pt x="13243" y="6958"/>
                    <a:pt x="12772" y="7226"/>
                  </a:cubicBezTo>
                  <a:close/>
                  <a:moveTo>
                    <a:pt x="8538" y="4941"/>
                  </a:moveTo>
                  <a:lnTo>
                    <a:pt x="10857" y="6285"/>
                  </a:lnTo>
                  <a:cubicBezTo>
                    <a:pt x="11865" y="5680"/>
                    <a:pt x="12033" y="5176"/>
                    <a:pt x="11327" y="4773"/>
                  </a:cubicBezTo>
                  <a:cubicBezTo>
                    <a:pt x="11025" y="4571"/>
                    <a:pt x="10621" y="4504"/>
                    <a:pt x="10184" y="4571"/>
                  </a:cubicBezTo>
                  <a:cubicBezTo>
                    <a:pt x="9714" y="4605"/>
                    <a:pt x="9176" y="4739"/>
                    <a:pt x="8538" y="4941"/>
                  </a:cubicBezTo>
                  <a:close/>
                  <a:moveTo>
                    <a:pt x="4202" y="4336"/>
                  </a:moveTo>
                  <a:cubicBezTo>
                    <a:pt x="4605" y="4303"/>
                    <a:pt x="5109" y="4168"/>
                    <a:pt x="5681" y="4000"/>
                  </a:cubicBezTo>
                  <a:lnTo>
                    <a:pt x="3328" y="2622"/>
                  </a:lnTo>
                  <a:cubicBezTo>
                    <a:pt x="2488" y="3193"/>
                    <a:pt x="2421" y="3664"/>
                    <a:pt x="3127" y="4101"/>
                  </a:cubicBezTo>
                  <a:cubicBezTo>
                    <a:pt x="3463" y="4269"/>
                    <a:pt x="3799" y="4370"/>
                    <a:pt x="4202" y="4336"/>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84" name="Google Shape;3379;p49"/>
            <p:cNvSpPr/>
            <p:nvPr/>
          </p:nvSpPr>
          <p:spPr>
            <a:xfrm>
              <a:off x="-25746700" y="1261535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85" name="Google Shape;3380;p49"/>
            <p:cNvSpPr/>
            <p:nvPr/>
          </p:nvSpPr>
          <p:spPr>
            <a:xfrm>
              <a:off x="-25722325" y="12658200"/>
              <a:ext cx="0" cy="215950"/>
            </a:xfrm>
            <a:custGeom>
              <a:avLst/>
              <a:gdLst/>
              <a:ahLst/>
              <a:cxnLst/>
              <a:rect l="l" t="t" r="r" b="b"/>
              <a:pathLst>
                <a:path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86" name="Google Shape;3381;p49"/>
            <p:cNvSpPr/>
            <p:nvPr/>
          </p:nvSpPr>
          <p:spPr>
            <a:xfrm>
              <a:off x="-25697975" y="127010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87" name="Google Shape;3382;p49"/>
            <p:cNvSpPr/>
            <p:nvPr/>
          </p:nvSpPr>
          <p:spPr>
            <a:xfrm>
              <a:off x="-25674450" y="127430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88" name="Google Shape;3383;p49"/>
            <p:cNvSpPr/>
            <p:nvPr/>
          </p:nvSpPr>
          <p:spPr>
            <a:xfrm>
              <a:off x="-25650075" y="12738025"/>
              <a:ext cx="25" cy="215950"/>
            </a:xfrm>
            <a:custGeom>
              <a:avLst/>
              <a:gdLst/>
              <a:ahLst/>
              <a:cxnLst/>
              <a:rect l="l" t="t" r="r" b="b"/>
              <a:pathLst>
                <a:path w="1" h="8638" fill="none" extrusionOk="0">
                  <a:moveTo>
                    <a:pt x="0" y="0"/>
                  </a:moveTo>
                  <a:lnTo>
                    <a:pt x="0"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89" name="Google Shape;3384;p49"/>
            <p:cNvSpPr/>
            <p:nvPr/>
          </p:nvSpPr>
          <p:spPr>
            <a:xfrm>
              <a:off x="-25616475" y="12749775"/>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90" name="Google Shape;3385;p49"/>
            <p:cNvSpPr/>
            <p:nvPr/>
          </p:nvSpPr>
          <p:spPr>
            <a:xfrm>
              <a:off x="-25583700" y="1276155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91" name="Google Shape;3386;p49"/>
            <p:cNvSpPr/>
            <p:nvPr/>
          </p:nvSpPr>
          <p:spPr>
            <a:xfrm>
              <a:off x="-25550100" y="12772475"/>
              <a:ext cx="25" cy="215950"/>
            </a:xfrm>
            <a:custGeom>
              <a:avLst/>
              <a:gdLst/>
              <a:ahLst/>
              <a:cxnLst/>
              <a:rect l="l" t="t" r="r" b="b"/>
              <a:pathLst>
                <a:path w="1" h="8638" fill="none" extrusionOk="0">
                  <a:moveTo>
                    <a:pt x="1" y="0"/>
                  </a:moveTo>
                  <a:lnTo>
                    <a:pt x="1"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92" name="Google Shape;3387;p49"/>
            <p:cNvSpPr/>
            <p:nvPr/>
          </p:nvSpPr>
          <p:spPr>
            <a:xfrm>
              <a:off x="-25516475" y="12784225"/>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93" name="Google Shape;3388;p49"/>
            <p:cNvSpPr/>
            <p:nvPr/>
          </p:nvSpPr>
          <p:spPr>
            <a:xfrm>
              <a:off x="-25483725" y="12796000"/>
              <a:ext cx="25" cy="215100"/>
            </a:xfrm>
            <a:custGeom>
              <a:avLst/>
              <a:gdLst/>
              <a:ahLst/>
              <a:cxnLst/>
              <a:rect l="l" t="t" r="r" b="b"/>
              <a:pathLst>
                <a:path w="1" h="8604"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94" name="Google Shape;3389;p49"/>
            <p:cNvSpPr/>
            <p:nvPr/>
          </p:nvSpPr>
          <p:spPr>
            <a:xfrm>
              <a:off x="-25450100" y="128069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95" name="Google Shape;3390;p49"/>
            <p:cNvSpPr/>
            <p:nvPr/>
          </p:nvSpPr>
          <p:spPr>
            <a:xfrm>
              <a:off x="-25417350" y="128186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96" name="Google Shape;3391;p49"/>
            <p:cNvSpPr/>
            <p:nvPr/>
          </p:nvSpPr>
          <p:spPr>
            <a:xfrm>
              <a:off x="-25383725" y="12830450"/>
              <a:ext cx="25" cy="215950"/>
            </a:xfrm>
            <a:custGeom>
              <a:avLst/>
              <a:gdLst/>
              <a:ahLst/>
              <a:cxnLst/>
              <a:rect l="l" t="t" r="r" b="b"/>
              <a:pathLst>
                <a:path w="1" h="8638" fill="none" extrusionOk="0">
                  <a:moveTo>
                    <a:pt x="0" y="0"/>
                  </a:moveTo>
                  <a:lnTo>
                    <a:pt x="0"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97" name="Google Shape;3392;p49"/>
            <p:cNvSpPr/>
            <p:nvPr/>
          </p:nvSpPr>
          <p:spPr>
            <a:xfrm>
              <a:off x="-25350950" y="12842200"/>
              <a:ext cx="0" cy="215125"/>
            </a:xfrm>
            <a:custGeom>
              <a:avLst/>
              <a:gdLst/>
              <a:ahLst/>
              <a:cxnLst/>
              <a:rect l="l" t="t" r="r" b="b"/>
              <a:pathLst>
                <a:path h="8605" fill="none" extrusionOk="0">
                  <a:moveTo>
                    <a:pt x="0" y="1"/>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98" name="Google Shape;3393;p49"/>
            <p:cNvSpPr/>
            <p:nvPr/>
          </p:nvSpPr>
          <p:spPr>
            <a:xfrm>
              <a:off x="-25317350" y="128220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99" name="Google Shape;3394;p49"/>
            <p:cNvSpPr/>
            <p:nvPr/>
          </p:nvSpPr>
          <p:spPr>
            <a:xfrm>
              <a:off x="-25285425" y="128186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00" name="Google Shape;3395;p49"/>
            <p:cNvSpPr/>
            <p:nvPr/>
          </p:nvSpPr>
          <p:spPr>
            <a:xfrm>
              <a:off x="-25252650" y="12815325"/>
              <a:ext cx="25" cy="215950"/>
            </a:xfrm>
            <a:custGeom>
              <a:avLst/>
              <a:gdLst/>
              <a:ahLst/>
              <a:cxnLst/>
              <a:rect l="l" t="t" r="r" b="b"/>
              <a:pathLst>
                <a:path w="1" h="8638" fill="none" extrusionOk="0">
                  <a:moveTo>
                    <a:pt x="0" y="0"/>
                  </a:moveTo>
                  <a:lnTo>
                    <a:pt x="0"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01" name="Google Shape;3396;p49"/>
            <p:cNvSpPr/>
            <p:nvPr/>
          </p:nvSpPr>
          <p:spPr>
            <a:xfrm>
              <a:off x="-25220725" y="128119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02" name="Google Shape;3397;p49"/>
            <p:cNvSpPr/>
            <p:nvPr/>
          </p:nvSpPr>
          <p:spPr>
            <a:xfrm>
              <a:off x="-25187950" y="12809425"/>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03" name="Google Shape;3398;p49"/>
            <p:cNvSpPr/>
            <p:nvPr/>
          </p:nvSpPr>
          <p:spPr>
            <a:xfrm>
              <a:off x="-25156025" y="128060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04" name="Google Shape;3399;p49"/>
            <p:cNvSpPr/>
            <p:nvPr/>
          </p:nvSpPr>
          <p:spPr>
            <a:xfrm>
              <a:off x="-25124100" y="128027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05" name="Google Shape;3400;p49"/>
            <p:cNvSpPr/>
            <p:nvPr/>
          </p:nvSpPr>
          <p:spPr>
            <a:xfrm>
              <a:off x="-25091325" y="1279935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06" name="Google Shape;3401;p49"/>
            <p:cNvSpPr/>
            <p:nvPr/>
          </p:nvSpPr>
          <p:spPr>
            <a:xfrm>
              <a:off x="-25060250" y="12744725"/>
              <a:ext cx="25" cy="215125"/>
            </a:xfrm>
            <a:custGeom>
              <a:avLst/>
              <a:gdLst/>
              <a:ahLst/>
              <a:cxnLst/>
              <a:rect l="l" t="t" r="r" b="b"/>
              <a:pathLst>
                <a:path w="1" h="8605" fill="none" extrusionOk="0">
                  <a:moveTo>
                    <a:pt x="1" y="1"/>
                  </a:moveTo>
                  <a:lnTo>
                    <a:pt x="1"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07" name="Google Shape;3402;p49"/>
            <p:cNvSpPr/>
            <p:nvPr/>
          </p:nvSpPr>
          <p:spPr>
            <a:xfrm>
              <a:off x="-25028325" y="1268927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08" name="Google Shape;3403;p49"/>
            <p:cNvSpPr/>
            <p:nvPr/>
          </p:nvSpPr>
          <p:spPr>
            <a:xfrm>
              <a:off x="-24996400" y="12660725"/>
              <a:ext cx="25" cy="215950"/>
            </a:xfrm>
            <a:custGeom>
              <a:avLst/>
              <a:gdLst/>
              <a:ahLst/>
              <a:cxnLst/>
              <a:rect l="l" t="t" r="r" b="b"/>
              <a:pathLst>
                <a:path w="1" h="8638" fill="none" extrusionOk="0">
                  <a:moveTo>
                    <a:pt x="1" y="0"/>
                  </a:moveTo>
                  <a:lnTo>
                    <a:pt x="1"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09" name="Google Shape;3404;p49"/>
            <p:cNvSpPr/>
            <p:nvPr/>
          </p:nvSpPr>
          <p:spPr>
            <a:xfrm>
              <a:off x="-24963625" y="12668275"/>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10" name="Google Shape;3405;p49"/>
            <p:cNvSpPr/>
            <p:nvPr/>
          </p:nvSpPr>
          <p:spPr>
            <a:xfrm>
              <a:off x="-24931700" y="12675850"/>
              <a:ext cx="25" cy="215950"/>
            </a:xfrm>
            <a:custGeom>
              <a:avLst/>
              <a:gdLst/>
              <a:ahLst/>
              <a:cxnLst/>
              <a:rect l="l" t="t" r="r" b="b"/>
              <a:pathLst>
                <a:path w="1" h="8638" fill="none" extrusionOk="0">
                  <a:moveTo>
                    <a:pt x="1" y="0"/>
                  </a:moveTo>
                  <a:lnTo>
                    <a:pt x="1"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11" name="Google Shape;3406;p49"/>
            <p:cNvSpPr/>
            <p:nvPr/>
          </p:nvSpPr>
          <p:spPr>
            <a:xfrm>
              <a:off x="-24906475" y="12618700"/>
              <a:ext cx="0" cy="215975"/>
            </a:xfrm>
            <a:custGeom>
              <a:avLst/>
              <a:gdLst/>
              <a:ahLst/>
              <a:cxnLst/>
              <a:rect l="l" t="t" r="r" b="b"/>
              <a:pathLst>
                <a:path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12" name="Google Shape;3407;p49"/>
            <p:cNvSpPr/>
            <p:nvPr/>
          </p:nvSpPr>
          <p:spPr>
            <a:xfrm>
              <a:off x="-25765175" y="12391850"/>
              <a:ext cx="863750" cy="339475"/>
            </a:xfrm>
            <a:custGeom>
              <a:avLst/>
              <a:gdLst/>
              <a:ahLst/>
              <a:cxnLst/>
              <a:rect l="l" t="t" r="r" b="b"/>
              <a:pathLst>
                <a:path w="34550" h="13579" extrusionOk="0">
                  <a:moveTo>
                    <a:pt x="34550" y="236"/>
                  </a:moveTo>
                  <a:cubicBezTo>
                    <a:pt x="34550" y="572"/>
                    <a:pt x="34516" y="908"/>
                    <a:pt x="34449" y="1244"/>
                  </a:cubicBezTo>
                  <a:cubicBezTo>
                    <a:pt x="34382" y="1546"/>
                    <a:pt x="34281" y="1882"/>
                    <a:pt x="34180" y="2218"/>
                  </a:cubicBezTo>
                  <a:cubicBezTo>
                    <a:pt x="34046" y="2521"/>
                    <a:pt x="33877" y="2857"/>
                    <a:pt x="33709" y="3193"/>
                  </a:cubicBezTo>
                  <a:cubicBezTo>
                    <a:pt x="33508" y="3529"/>
                    <a:pt x="33273" y="3865"/>
                    <a:pt x="33004" y="4235"/>
                  </a:cubicBezTo>
                  <a:cubicBezTo>
                    <a:pt x="32701" y="4605"/>
                    <a:pt x="32331" y="5008"/>
                    <a:pt x="31928" y="5378"/>
                  </a:cubicBezTo>
                  <a:cubicBezTo>
                    <a:pt x="31323" y="5949"/>
                    <a:pt x="30584" y="6487"/>
                    <a:pt x="29744" y="6991"/>
                  </a:cubicBezTo>
                  <a:cubicBezTo>
                    <a:pt x="29676" y="7025"/>
                    <a:pt x="29609" y="7092"/>
                    <a:pt x="29542" y="7125"/>
                  </a:cubicBezTo>
                  <a:cubicBezTo>
                    <a:pt x="28399" y="7798"/>
                    <a:pt x="27122" y="8335"/>
                    <a:pt x="25744" y="8772"/>
                  </a:cubicBezTo>
                  <a:cubicBezTo>
                    <a:pt x="24702" y="9108"/>
                    <a:pt x="23627" y="9377"/>
                    <a:pt x="22484" y="9612"/>
                  </a:cubicBezTo>
                  <a:cubicBezTo>
                    <a:pt x="21778" y="9713"/>
                    <a:pt x="21039" y="9814"/>
                    <a:pt x="20300" y="9915"/>
                  </a:cubicBezTo>
                  <a:cubicBezTo>
                    <a:pt x="19661" y="9982"/>
                    <a:pt x="19022" y="10016"/>
                    <a:pt x="18384" y="10016"/>
                  </a:cubicBezTo>
                  <a:cubicBezTo>
                    <a:pt x="17779" y="10049"/>
                    <a:pt x="17174" y="10049"/>
                    <a:pt x="16603" y="10049"/>
                  </a:cubicBezTo>
                  <a:cubicBezTo>
                    <a:pt x="16031" y="10016"/>
                    <a:pt x="15460" y="9982"/>
                    <a:pt x="14889" y="9948"/>
                  </a:cubicBezTo>
                  <a:cubicBezTo>
                    <a:pt x="14351" y="9915"/>
                    <a:pt x="13780" y="9848"/>
                    <a:pt x="13208" y="9747"/>
                  </a:cubicBezTo>
                  <a:cubicBezTo>
                    <a:pt x="12637" y="9680"/>
                    <a:pt x="12065" y="9579"/>
                    <a:pt x="11528" y="9444"/>
                  </a:cubicBezTo>
                  <a:cubicBezTo>
                    <a:pt x="10889" y="9344"/>
                    <a:pt x="10318" y="9175"/>
                    <a:pt x="9713" y="9007"/>
                  </a:cubicBezTo>
                  <a:cubicBezTo>
                    <a:pt x="9007" y="8806"/>
                    <a:pt x="8301" y="8571"/>
                    <a:pt x="7629" y="8302"/>
                  </a:cubicBezTo>
                  <a:cubicBezTo>
                    <a:pt x="6755" y="7966"/>
                    <a:pt x="5915" y="7562"/>
                    <a:pt x="5142" y="7125"/>
                  </a:cubicBezTo>
                  <a:cubicBezTo>
                    <a:pt x="1714" y="5142"/>
                    <a:pt x="34" y="2588"/>
                    <a:pt x="34" y="0"/>
                  </a:cubicBezTo>
                  <a:lnTo>
                    <a:pt x="34" y="3529"/>
                  </a:lnTo>
                  <a:cubicBezTo>
                    <a:pt x="0" y="6083"/>
                    <a:pt x="1714" y="8671"/>
                    <a:pt x="5109" y="10621"/>
                  </a:cubicBezTo>
                  <a:cubicBezTo>
                    <a:pt x="5882" y="11091"/>
                    <a:pt x="6722" y="11494"/>
                    <a:pt x="7596" y="11831"/>
                  </a:cubicBezTo>
                  <a:cubicBezTo>
                    <a:pt x="8301" y="12099"/>
                    <a:pt x="8974" y="12335"/>
                    <a:pt x="9713" y="12536"/>
                  </a:cubicBezTo>
                  <a:cubicBezTo>
                    <a:pt x="10284" y="12704"/>
                    <a:pt x="10889" y="12839"/>
                    <a:pt x="11494" y="12973"/>
                  </a:cubicBezTo>
                  <a:cubicBezTo>
                    <a:pt x="12065" y="13108"/>
                    <a:pt x="12637" y="13175"/>
                    <a:pt x="13208" y="13276"/>
                  </a:cubicBezTo>
                  <a:cubicBezTo>
                    <a:pt x="13780" y="13343"/>
                    <a:pt x="14317" y="13410"/>
                    <a:pt x="14889" y="13477"/>
                  </a:cubicBezTo>
                  <a:cubicBezTo>
                    <a:pt x="15460" y="13511"/>
                    <a:pt x="16031" y="13545"/>
                    <a:pt x="16603" y="13545"/>
                  </a:cubicBezTo>
                  <a:cubicBezTo>
                    <a:pt x="17174" y="13578"/>
                    <a:pt x="17779" y="13578"/>
                    <a:pt x="18350" y="13545"/>
                  </a:cubicBezTo>
                  <a:cubicBezTo>
                    <a:pt x="18989" y="13511"/>
                    <a:pt x="19627" y="13477"/>
                    <a:pt x="20266" y="13410"/>
                  </a:cubicBezTo>
                  <a:cubicBezTo>
                    <a:pt x="21005" y="13343"/>
                    <a:pt x="21745" y="13242"/>
                    <a:pt x="22484" y="13108"/>
                  </a:cubicBezTo>
                  <a:cubicBezTo>
                    <a:pt x="23593" y="12906"/>
                    <a:pt x="24702" y="12637"/>
                    <a:pt x="25744" y="12301"/>
                  </a:cubicBezTo>
                  <a:cubicBezTo>
                    <a:pt x="27089" y="11864"/>
                    <a:pt x="28366" y="11293"/>
                    <a:pt x="29542" y="10621"/>
                  </a:cubicBezTo>
                  <a:cubicBezTo>
                    <a:pt x="29609" y="10587"/>
                    <a:pt x="29676" y="10553"/>
                    <a:pt x="29744" y="10520"/>
                  </a:cubicBezTo>
                  <a:cubicBezTo>
                    <a:pt x="30584" y="10016"/>
                    <a:pt x="31323" y="9444"/>
                    <a:pt x="31928" y="8873"/>
                  </a:cubicBezTo>
                  <a:cubicBezTo>
                    <a:pt x="32331" y="8503"/>
                    <a:pt x="32701" y="8134"/>
                    <a:pt x="33004" y="7730"/>
                  </a:cubicBezTo>
                  <a:cubicBezTo>
                    <a:pt x="33273" y="7394"/>
                    <a:pt x="33508" y="7058"/>
                    <a:pt x="33709" y="6688"/>
                  </a:cubicBezTo>
                  <a:cubicBezTo>
                    <a:pt x="33877" y="6386"/>
                    <a:pt x="34046" y="6050"/>
                    <a:pt x="34146" y="5714"/>
                  </a:cubicBezTo>
                  <a:cubicBezTo>
                    <a:pt x="34281" y="5411"/>
                    <a:pt x="34382" y="5075"/>
                    <a:pt x="34415" y="4739"/>
                  </a:cubicBezTo>
                  <a:cubicBezTo>
                    <a:pt x="34482" y="4437"/>
                    <a:pt x="34550" y="4101"/>
                    <a:pt x="34550" y="3764"/>
                  </a:cubicBezTo>
                  <a:cubicBezTo>
                    <a:pt x="34550" y="3697"/>
                    <a:pt x="34550" y="3664"/>
                    <a:pt x="34550" y="3596"/>
                  </a:cubicBezTo>
                  <a:lnTo>
                    <a:pt x="34550" y="101"/>
                  </a:lnTo>
                  <a:cubicBezTo>
                    <a:pt x="34550" y="135"/>
                    <a:pt x="34550" y="202"/>
                    <a:pt x="34550" y="236"/>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13" name="Google Shape;3408;p49"/>
            <p:cNvSpPr/>
            <p:nvPr/>
          </p:nvSpPr>
          <p:spPr>
            <a:xfrm>
              <a:off x="-25807200" y="12118775"/>
              <a:ext cx="948625" cy="548675"/>
            </a:xfrm>
            <a:custGeom>
              <a:avLst/>
              <a:gdLst/>
              <a:ahLst/>
              <a:cxnLst/>
              <a:rect l="l" t="t" r="r" b="b"/>
              <a:pathLst>
                <a:path w="37945" h="21947" extrusionOk="0">
                  <a:moveTo>
                    <a:pt x="31156" y="3899"/>
                  </a:moveTo>
                  <a:cubicBezTo>
                    <a:pt x="37911" y="7798"/>
                    <a:pt x="37945" y="14116"/>
                    <a:pt x="31223" y="18048"/>
                  </a:cubicBezTo>
                  <a:cubicBezTo>
                    <a:pt x="24501" y="21947"/>
                    <a:pt x="13578" y="21947"/>
                    <a:pt x="6790" y="18048"/>
                  </a:cubicBezTo>
                  <a:cubicBezTo>
                    <a:pt x="34" y="14150"/>
                    <a:pt x="1" y="7798"/>
                    <a:pt x="6722" y="3899"/>
                  </a:cubicBezTo>
                  <a:cubicBezTo>
                    <a:pt x="13444" y="0"/>
                    <a:pt x="24367" y="0"/>
                    <a:pt x="31156" y="389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14" name="Google Shape;3409;p49"/>
            <p:cNvSpPr/>
            <p:nvPr/>
          </p:nvSpPr>
          <p:spPr>
            <a:xfrm>
              <a:off x="-25747550" y="12153225"/>
              <a:ext cx="829325" cy="479775"/>
            </a:xfrm>
            <a:custGeom>
              <a:avLst/>
              <a:gdLst/>
              <a:ahLst/>
              <a:cxnLst/>
              <a:rect l="l" t="t" r="r" b="b"/>
              <a:pathLst>
                <a:path w="33173" h="19191" extrusionOk="0">
                  <a:moveTo>
                    <a:pt x="27224" y="3395"/>
                  </a:moveTo>
                  <a:cubicBezTo>
                    <a:pt x="33139" y="6823"/>
                    <a:pt x="33172" y="12368"/>
                    <a:pt x="27291" y="15763"/>
                  </a:cubicBezTo>
                  <a:cubicBezTo>
                    <a:pt x="21409" y="19191"/>
                    <a:pt x="11865" y="19191"/>
                    <a:pt x="5950" y="15797"/>
                  </a:cubicBezTo>
                  <a:cubicBezTo>
                    <a:pt x="34" y="12368"/>
                    <a:pt x="1" y="6823"/>
                    <a:pt x="5882" y="3395"/>
                  </a:cubicBezTo>
                  <a:cubicBezTo>
                    <a:pt x="11764" y="0"/>
                    <a:pt x="21309" y="0"/>
                    <a:pt x="27224" y="3395"/>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15" name="Google Shape;3410;p49"/>
            <p:cNvSpPr/>
            <p:nvPr/>
          </p:nvSpPr>
          <p:spPr>
            <a:xfrm>
              <a:off x="-25518175" y="12264975"/>
              <a:ext cx="364700" cy="227725"/>
            </a:xfrm>
            <a:custGeom>
              <a:avLst/>
              <a:gdLst/>
              <a:ahLst/>
              <a:cxnLst/>
              <a:rect l="l" t="t" r="r" b="b"/>
              <a:pathLst>
                <a:path w="14588" h="9109" extrusionOk="0">
                  <a:moveTo>
                    <a:pt x="12772" y="7226"/>
                  </a:moveTo>
                  <a:lnTo>
                    <a:pt x="14385" y="8134"/>
                  </a:lnTo>
                  <a:lnTo>
                    <a:pt x="13512" y="8638"/>
                  </a:lnTo>
                  <a:lnTo>
                    <a:pt x="11898" y="7697"/>
                  </a:lnTo>
                  <a:cubicBezTo>
                    <a:pt x="11193" y="8066"/>
                    <a:pt x="10386" y="8369"/>
                    <a:pt x="9512" y="8604"/>
                  </a:cubicBezTo>
                  <a:cubicBezTo>
                    <a:pt x="8638" y="8839"/>
                    <a:pt x="7765" y="9008"/>
                    <a:pt x="6891" y="9108"/>
                  </a:cubicBezTo>
                  <a:lnTo>
                    <a:pt x="6050" y="7596"/>
                  </a:lnTo>
                  <a:cubicBezTo>
                    <a:pt x="6185" y="7596"/>
                    <a:pt x="6454" y="7596"/>
                    <a:pt x="6756" y="7529"/>
                  </a:cubicBezTo>
                  <a:cubicBezTo>
                    <a:pt x="7059" y="7495"/>
                    <a:pt x="7395" y="7462"/>
                    <a:pt x="7798" y="7361"/>
                  </a:cubicBezTo>
                  <a:cubicBezTo>
                    <a:pt x="8168" y="7293"/>
                    <a:pt x="8605" y="7193"/>
                    <a:pt x="9008" y="7058"/>
                  </a:cubicBezTo>
                  <a:cubicBezTo>
                    <a:pt x="9445" y="6924"/>
                    <a:pt x="9848" y="6789"/>
                    <a:pt x="10218" y="6588"/>
                  </a:cubicBezTo>
                  <a:lnTo>
                    <a:pt x="7731" y="5143"/>
                  </a:lnTo>
                  <a:cubicBezTo>
                    <a:pt x="7630" y="5176"/>
                    <a:pt x="7529" y="5243"/>
                    <a:pt x="7428" y="5277"/>
                  </a:cubicBezTo>
                  <a:cubicBezTo>
                    <a:pt x="7294" y="5311"/>
                    <a:pt x="7193" y="5344"/>
                    <a:pt x="7059" y="5378"/>
                  </a:cubicBezTo>
                  <a:cubicBezTo>
                    <a:pt x="6454" y="5579"/>
                    <a:pt x="5882" y="5747"/>
                    <a:pt x="5345" y="5848"/>
                  </a:cubicBezTo>
                  <a:cubicBezTo>
                    <a:pt x="4841" y="5983"/>
                    <a:pt x="4336" y="6050"/>
                    <a:pt x="3900" y="6050"/>
                  </a:cubicBezTo>
                  <a:cubicBezTo>
                    <a:pt x="3429" y="6084"/>
                    <a:pt x="2992" y="6016"/>
                    <a:pt x="2589" y="5949"/>
                  </a:cubicBezTo>
                  <a:cubicBezTo>
                    <a:pt x="2185" y="5848"/>
                    <a:pt x="1782" y="5680"/>
                    <a:pt x="1379" y="5445"/>
                  </a:cubicBezTo>
                  <a:cubicBezTo>
                    <a:pt x="908" y="5176"/>
                    <a:pt x="539" y="4874"/>
                    <a:pt x="337" y="4538"/>
                  </a:cubicBezTo>
                  <a:cubicBezTo>
                    <a:pt x="135" y="4235"/>
                    <a:pt x="35" y="3899"/>
                    <a:pt x="35" y="3597"/>
                  </a:cubicBezTo>
                  <a:cubicBezTo>
                    <a:pt x="68" y="3260"/>
                    <a:pt x="203" y="2924"/>
                    <a:pt x="471" y="2622"/>
                  </a:cubicBezTo>
                  <a:cubicBezTo>
                    <a:pt x="707" y="2286"/>
                    <a:pt x="1043" y="1983"/>
                    <a:pt x="1480" y="1681"/>
                  </a:cubicBezTo>
                  <a:lnTo>
                    <a:pt x="1" y="841"/>
                  </a:lnTo>
                  <a:lnTo>
                    <a:pt x="841" y="336"/>
                  </a:lnTo>
                  <a:lnTo>
                    <a:pt x="2320" y="1177"/>
                  </a:lnTo>
                  <a:cubicBezTo>
                    <a:pt x="2992" y="841"/>
                    <a:pt x="3731" y="572"/>
                    <a:pt x="4471" y="370"/>
                  </a:cubicBezTo>
                  <a:cubicBezTo>
                    <a:pt x="5210" y="202"/>
                    <a:pt x="5916" y="68"/>
                    <a:pt x="6622" y="0"/>
                  </a:cubicBezTo>
                  <a:lnTo>
                    <a:pt x="7361" y="1446"/>
                  </a:lnTo>
                  <a:cubicBezTo>
                    <a:pt x="7227" y="1446"/>
                    <a:pt x="7025" y="1446"/>
                    <a:pt x="6790" y="1479"/>
                  </a:cubicBezTo>
                  <a:cubicBezTo>
                    <a:pt x="6521" y="1513"/>
                    <a:pt x="6252" y="1580"/>
                    <a:pt x="5916" y="1647"/>
                  </a:cubicBezTo>
                  <a:cubicBezTo>
                    <a:pt x="5614" y="1714"/>
                    <a:pt x="5277" y="1782"/>
                    <a:pt x="4941" y="1882"/>
                  </a:cubicBezTo>
                  <a:cubicBezTo>
                    <a:pt x="4605" y="1983"/>
                    <a:pt x="4269" y="2118"/>
                    <a:pt x="3967" y="2286"/>
                  </a:cubicBezTo>
                  <a:lnTo>
                    <a:pt x="6454" y="3731"/>
                  </a:lnTo>
                  <a:lnTo>
                    <a:pt x="6924" y="3563"/>
                  </a:lnTo>
                  <a:cubicBezTo>
                    <a:pt x="7563" y="3361"/>
                    <a:pt x="8134" y="3160"/>
                    <a:pt x="8706" y="3025"/>
                  </a:cubicBezTo>
                  <a:cubicBezTo>
                    <a:pt x="9277" y="2857"/>
                    <a:pt x="9815" y="2790"/>
                    <a:pt x="10319" y="2756"/>
                  </a:cubicBezTo>
                  <a:cubicBezTo>
                    <a:pt x="10857" y="2723"/>
                    <a:pt x="11327" y="2756"/>
                    <a:pt x="11831" y="2857"/>
                  </a:cubicBezTo>
                  <a:cubicBezTo>
                    <a:pt x="12302" y="2958"/>
                    <a:pt x="12772" y="3126"/>
                    <a:pt x="13243" y="3395"/>
                  </a:cubicBezTo>
                  <a:cubicBezTo>
                    <a:pt x="13780" y="3731"/>
                    <a:pt x="14150" y="4033"/>
                    <a:pt x="14318" y="4370"/>
                  </a:cubicBezTo>
                  <a:cubicBezTo>
                    <a:pt x="14520" y="4706"/>
                    <a:pt x="14587" y="5008"/>
                    <a:pt x="14486" y="5344"/>
                  </a:cubicBezTo>
                  <a:cubicBezTo>
                    <a:pt x="14419" y="5680"/>
                    <a:pt x="14217" y="5983"/>
                    <a:pt x="13915" y="6319"/>
                  </a:cubicBezTo>
                  <a:cubicBezTo>
                    <a:pt x="13612" y="6621"/>
                    <a:pt x="13243" y="6924"/>
                    <a:pt x="12772" y="7226"/>
                  </a:cubicBezTo>
                  <a:close/>
                  <a:moveTo>
                    <a:pt x="8538" y="4907"/>
                  </a:moveTo>
                  <a:lnTo>
                    <a:pt x="10857" y="6252"/>
                  </a:lnTo>
                  <a:cubicBezTo>
                    <a:pt x="11865" y="5647"/>
                    <a:pt x="12033" y="5143"/>
                    <a:pt x="11327" y="4773"/>
                  </a:cubicBezTo>
                  <a:cubicBezTo>
                    <a:pt x="11025" y="4571"/>
                    <a:pt x="10621" y="4504"/>
                    <a:pt x="10184" y="4538"/>
                  </a:cubicBezTo>
                  <a:cubicBezTo>
                    <a:pt x="9714" y="4605"/>
                    <a:pt x="9176" y="4706"/>
                    <a:pt x="8538" y="4907"/>
                  </a:cubicBezTo>
                  <a:close/>
                  <a:moveTo>
                    <a:pt x="4202" y="4302"/>
                  </a:moveTo>
                  <a:cubicBezTo>
                    <a:pt x="4605" y="4269"/>
                    <a:pt x="5109" y="4168"/>
                    <a:pt x="5681" y="3966"/>
                  </a:cubicBezTo>
                  <a:lnTo>
                    <a:pt x="3328" y="2622"/>
                  </a:lnTo>
                  <a:cubicBezTo>
                    <a:pt x="2488" y="3160"/>
                    <a:pt x="2421" y="3664"/>
                    <a:pt x="3127" y="4067"/>
                  </a:cubicBezTo>
                  <a:cubicBezTo>
                    <a:pt x="3463" y="4269"/>
                    <a:pt x="3799" y="4336"/>
                    <a:pt x="4202" y="4302"/>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16" name="Google Shape;3411;p49"/>
            <p:cNvSpPr/>
            <p:nvPr/>
          </p:nvSpPr>
          <p:spPr>
            <a:xfrm>
              <a:off x="-25746700" y="124010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17" name="Google Shape;3412;p49"/>
            <p:cNvSpPr/>
            <p:nvPr/>
          </p:nvSpPr>
          <p:spPr>
            <a:xfrm>
              <a:off x="-25722325" y="12443950"/>
              <a:ext cx="0" cy="215100"/>
            </a:xfrm>
            <a:custGeom>
              <a:avLst/>
              <a:gdLst/>
              <a:ahLst/>
              <a:cxnLst/>
              <a:rect l="l" t="t" r="r" b="b"/>
              <a:pathLst>
                <a:path h="8604"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18" name="Google Shape;3413;p49"/>
            <p:cNvSpPr/>
            <p:nvPr/>
          </p:nvSpPr>
          <p:spPr>
            <a:xfrm>
              <a:off x="-25697975" y="124859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19" name="Google Shape;3414;p49"/>
            <p:cNvSpPr/>
            <p:nvPr/>
          </p:nvSpPr>
          <p:spPr>
            <a:xfrm>
              <a:off x="-25674450" y="12528800"/>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20" name="Google Shape;3415;p49"/>
            <p:cNvSpPr/>
            <p:nvPr/>
          </p:nvSpPr>
          <p:spPr>
            <a:xfrm>
              <a:off x="-25650075" y="125237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21" name="Google Shape;3416;p49"/>
            <p:cNvSpPr/>
            <p:nvPr/>
          </p:nvSpPr>
          <p:spPr>
            <a:xfrm>
              <a:off x="-25616475" y="12535525"/>
              <a:ext cx="25" cy="215125"/>
            </a:xfrm>
            <a:custGeom>
              <a:avLst/>
              <a:gdLst/>
              <a:ahLst/>
              <a:cxnLst/>
              <a:rect l="l" t="t" r="r" b="b"/>
              <a:pathLst>
                <a:path w="1" h="8605"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22" name="Google Shape;3417;p49"/>
            <p:cNvSpPr/>
            <p:nvPr/>
          </p:nvSpPr>
          <p:spPr>
            <a:xfrm>
              <a:off x="-25583700" y="1254645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23" name="Google Shape;3418;p49"/>
            <p:cNvSpPr/>
            <p:nvPr/>
          </p:nvSpPr>
          <p:spPr>
            <a:xfrm>
              <a:off x="-25550100" y="125582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24" name="Google Shape;3419;p49"/>
            <p:cNvSpPr/>
            <p:nvPr/>
          </p:nvSpPr>
          <p:spPr>
            <a:xfrm>
              <a:off x="-25516475" y="125699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25" name="Google Shape;3420;p49"/>
            <p:cNvSpPr/>
            <p:nvPr/>
          </p:nvSpPr>
          <p:spPr>
            <a:xfrm>
              <a:off x="-25483725" y="125809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26" name="Google Shape;3421;p49"/>
            <p:cNvSpPr/>
            <p:nvPr/>
          </p:nvSpPr>
          <p:spPr>
            <a:xfrm>
              <a:off x="-25450100" y="125926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27" name="Google Shape;3422;p49"/>
            <p:cNvSpPr/>
            <p:nvPr/>
          </p:nvSpPr>
          <p:spPr>
            <a:xfrm>
              <a:off x="-25417350" y="12604425"/>
              <a:ext cx="25" cy="215125"/>
            </a:xfrm>
            <a:custGeom>
              <a:avLst/>
              <a:gdLst/>
              <a:ahLst/>
              <a:cxnLst/>
              <a:rect l="l" t="t" r="r" b="b"/>
              <a:pathLst>
                <a:path w="1" h="8605"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28" name="Google Shape;3423;p49"/>
            <p:cNvSpPr/>
            <p:nvPr/>
          </p:nvSpPr>
          <p:spPr>
            <a:xfrm>
              <a:off x="-25383725" y="1261535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29" name="Google Shape;3424;p49"/>
            <p:cNvSpPr/>
            <p:nvPr/>
          </p:nvSpPr>
          <p:spPr>
            <a:xfrm>
              <a:off x="-25350950" y="12627100"/>
              <a:ext cx="0" cy="215975"/>
            </a:xfrm>
            <a:custGeom>
              <a:avLst/>
              <a:gdLst/>
              <a:ahLst/>
              <a:cxnLst/>
              <a:rect l="l" t="t" r="r" b="b"/>
              <a:pathLst>
                <a:path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30" name="Google Shape;3425;p49"/>
            <p:cNvSpPr/>
            <p:nvPr/>
          </p:nvSpPr>
          <p:spPr>
            <a:xfrm>
              <a:off x="-25317350" y="1260695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31" name="Google Shape;3426;p49"/>
            <p:cNvSpPr/>
            <p:nvPr/>
          </p:nvSpPr>
          <p:spPr>
            <a:xfrm>
              <a:off x="-25285425" y="12604425"/>
              <a:ext cx="25" cy="215125"/>
            </a:xfrm>
            <a:custGeom>
              <a:avLst/>
              <a:gdLst/>
              <a:ahLst/>
              <a:cxnLst/>
              <a:rect l="l" t="t" r="r" b="b"/>
              <a:pathLst>
                <a:path w="1" h="8605"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32" name="Google Shape;3427;p49"/>
            <p:cNvSpPr/>
            <p:nvPr/>
          </p:nvSpPr>
          <p:spPr>
            <a:xfrm>
              <a:off x="-25252650" y="126010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33" name="Google Shape;3428;p49"/>
            <p:cNvSpPr/>
            <p:nvPr/>
          </p:nvSpPr>
          <p:spPr>
            <a:xfrm>
              <a:off x="-25220725" y="125977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34" name="Google Shape;3429;p49"/>
            <p:cNvSpPr/>
            <p:nvPr/>
          </p:nvSpPr>
          <p:spPr>
            <a:xfrm>
              <a:off x="-25187950" y="125943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35" name="Google Shape;3430;p49"/>
            <p:cNvSpPr/>
            <p:nvPr/>
          </p:nvSpPr>
          <p:spPr>
            <a:xfrm>
              <a:off x="-25156025" y="12590975"/>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36" name="Google Shape;3431;p49"/>
            <p:cNvSpPr/>
            <p:nvPr/>
          </p:nvSpPr>
          <p:spPr>
            <a:xfrm>
              <a:off x="-25124100" y="12588450"/>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37" name="Google Shape;3432;p49"/>
            <p:cNvSpPr/>
            <p:nvPr/>
          </p:nvSpPr>
          <p:spPr>
            <a:xfrm>
              <a:off x="-25091325" y="125851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38" name="Google Shape;3433;p49"/>
            <p:cNvSpPr/>
            <p:nvPr/>
          </p:nvSpPr>
          <p:spPr>
            <a:xfrm>
              <a:off x="-25060250" y="125296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39" name="Google Shape;3434;p49"/>
            <p:cNvSpPr/>
            <p:nvPr/>
          </p:nvSpPr>
          <p:spPr>
            <a:xfrm>
              <a:off x="-25028325" y="12475025"/>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40" name="Google Shape;3435;p49"/>
            <p:cNvSpPr/>
            <p:nvPr/>
          </p:nvSpPr>
          <p:spPr>
            <a:xfrm>
              <a:off x="-24996400" y="124456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41" name="Google Shape;3436;p49"/>
            <p:cNvSpPr/>
            <p:nvPr/>
          </p:nvSpPr>
          <p:spPr>
            <a:xfrm>
              <a:off x="-24963625" y="1245317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42" name="Google Shape;3437;p49"/>
            <p:cNvSpPr/>
            <p:nvPr/>
          </p:nvSpPr>
          <p:spPr>
            <a:xfrm>
              <a:off x="-24931700" y="124607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43" name="Google Shape;3438;p49"/>
            <p:cNvSpPr/>
            <p:nvPr/>
          </p:nvSpPr>
          <p:spPr>
            <a:xfrm>
              <a:off x="-24906475" y="12404450"/>
              <a:ext cx="0" cy="215950"/>
            </a:xfrm>
            <a:custGeom>
              <a:avLst/>
              <a:gdLst/>
              <a:ahLst/>
              <a:cxnLst/>
              <a:rect l="l" t="t" r="r" b="b"/>
              <a:pathLst>
                <a:path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44" name="Google Shape;3439;p49"/>
            <p:cNvSpPr/>
            <p:nvPr/>
          </p:nvSpPr>
          <p:spPr>
            <a:xfrm>
              <a:off x="-25765175" y="12166675"/>
              <a:ext cx="863750" cy="339475"/>
            </a:xfrm>
            <a:custGeom>
              <a:avLst/>
              <a:gdLst/>
              <a:ahLst/>
              <a:cxnLst/>
              <a:rect l="l" t="t" r="r" b="b"/>
              <a:pathLst>
                <a:path w="34550" h="13579" extrusionOk="0">
                  <a:moveTo>
                    <a:pt x="34550" y="235"/>
                  </a:moveTo>
                  <a:cubicBezTo>
                    <a:pt x="34550" y="572"/>
                    <a:pt x="34516" y="908"/>
                    <a:pt x="34449" y="1244"/>
                  </a:cubicBezTo>
                  <a:cubicBezTo>
                    <a:pt x="34382" y="1546"/>
                    <a:pt x="34281" y="1882"/>
                    <a:pt x="34180" y="2185"/>
                  </a:cubicBezTo>
                  <a:cubicBezTo>
                    <a:pt x="34046" y="2521"/>
                    <a:pt x="33877" y="2857"/>
                    <a:pt x="33709" y="3193"/>
                  </a:cubicBezTo>
                  <a:cubicBezTo>
                    <a:pt x="33508" y="3529"/>
                    <a:pt x="33273" y="3865"/>
                    <a:pt x="33004" y="4201"/>
                  </a:cubicBezTo>
                  <a:cubicBezTo>
                    <a:pt x="32701" y="4605"/>
                    <a:pt x="32331" y="5008"/>
                    <a:pt x="31928" y="5378"/>
                  </a:cubicBezTo>
                  <a:cubicBezTo>
                    <a:pt x="31323" y="5949"/>
                    <a:pt x="30584" y="6487"/>
                    <a:pt x="29744" y="6991"/>
                  </a:cubicBezTo>
                  <a:cubicBezTo>
                    <a:pt x="29676" y="7024"/>
                    <a:pt x="29609" y="7058"/>
                    <a:pt x="29542" y="7125"/>
                  </a:cubicBezTo>
                  <a:cubicBezTo>
                    <a:pt x="28399" y="7797"/>
                    <a:pt x="27122" y="8335"/>
                    <a:pt x="25744" y="8772"/>
                  </a:cubicBezTo>
                  <a:cubicBezTo>
                    <a:pt x="24702" y="9108"/>
                    <a:pt x="23627" y="9377"/>
                    <a:pt x="22484" y="9579"/>
                  </a:cubicBezTo>
                  <a:cubicBezTo>
                    <a:pt x="21778" y="9713"/>
                    <a:pt x="21039" y="9814"/>
                    <a:pt x="20300" y="9915"/>
                  </a:cubicBezTo>
                  <a:cubicBezTo>
                    <a:pt x="19661" y="9948"/>
                    <a:pt x="19022" y="10016"/>
                    <a:pt x="18384" y="10016"/>
                  </a:cubicBezTo>
                  <a:cubicBezTo>
                    <a:pt x="17779" y="10049"/>
                    <a:pt x="17174" y="10049"/>
                    <a:pt x="16603" y="10049"/>
                  </a:cubicBezTo>
                  <a:cubicBezTo>
                    <a:pt x="16031" y="10016"/>
                    <a:pt x="15460" y="9982"/>
                    <a:pt x="14889" y="9948"/>
                  </a:cubicBezTo>
                  <a:cubicBezTo>
                    <a:pt x="14351" y="9881"/>
                    <a:pt x="13780" y="9848"/>
                    <a:pt x="13208" y="9747"/>
                  </a:cubicBezTo>
                  <a:cubicBezTo>
                    <a:pt x="12637" y="9679"/>
                    <a:pt x="12065" y="9579"/>
                    <a:pt x="11528" y="9444"/>
                  </a:cubicBezTo>
                  <a:cubicBezTo>
                    <a:pt x="10889" y="9343"/>
                    <a:pt x="10318" y="9175"/>
                    <a:pt x="9713" y="9007"/>
                  </a:cubicBezTo>
                  <a:cubicBezTo>
                    <a:pt x="9007" y="8806"/>
                    <a:pt x="8301" y="8570"/>
                    <a:pt x="7629" y="8302"/>
                  </a:cubicBezTo>
                  <a:cubicBezTo>
                    <a:pt x="6755" y="7965"/>
                    <a:pt x="5915" y="7562"/>
                    <a:pt x="5142" y="7125"/>
                  </a:cubicBezTo>
                  <a:cubicBezTo>
                    <a:pt x="1714" y="5142"/>
                    <a:pt x="34" y="2554"/>
                    <a:pt x="34" y="0"/>
                  </a:cubicBezTo>
                  <a:lnTo>
                    <a:pt x="34" y="3495"/>
                  </a:lnTo>
                  <a:cubicBezTo>
                    <a:pt x="0" y="6083"/>
                    <a:pt x="1714" y="8671"/>
                    <a:pt x="5109" y="10621"/>
                  </a:cubicBezTo>
                  <a:cubicBezTo>
                    <a:pt x="5882" y="11091"/>
                    <a:pt x="6722" y="11494"/>
                    <a:pt x="7596" y="11830"/>
                  </a:cubicBezTo>
                  <a:cubicBezTo>
                    <a:pt x="8301" y="12099"/>
                    <a:pt x="8974" y="12335"/>
                    <a:pt x="9713" y="12536"/>
                  </a:cubicBezTo>
                  <a:cubicBezTo>
                    <a:pt x="10284" y="12704"/>
                    <a:pt x="10889" y="12839"/>
                    <a:pt x="11494" y="12973"/>
                  </a:cubicBezTo>
                  <a:cubicBezTo>
                    <a:pt x="12065" y="13074"/>
                    <a:pt x="12637" y="13175"/>
                    <a:pt x="13208" y="13276"/>
                  </a:cubicBezTo>
                  <a:cubicBezTo>
                    <a:pt x="13780" y="13343"/>
                    <a:pt x="14317" y="13410"/>
                    <a:pt x="14889" y="13444"/>
                  </a:cubicBezTo>
                  <a:cubicBezTo>
                    <a:pt x="15460" y="13511"/>
                    <a:pt x="16031" y="13544"/>
                    <a:pt x="16603" y="13544"/>
                  </a:cubicBezTo>
                  <a:cubicBezTo>
                    <a:pt x="17174" y="13578"/>
                    <a:pt x="17779" y="13578"/>
                    <a:pt x="18350" y="13544"/>
                  </a:cubicBezTo>
                  <a:cubicBezTo>
                    <a:pt x="18989" y="13511"/>
                    <a:pt x="19627" y="13477"/>
                    <a:pt x="20266" y="13410"/>
                  </a:cubicBezTo>
                  <a:cubicBezTo>
                    <a:pt x="21005" y="13343"/>
                    <a:pt x="21745" y="13242"/>
                    <a:pt x="22484" y="13108"/>
                  </a:cubicBezTo>
                  <a:cubicBezTo>
                    <a:pt x="23593" y="12906"/>
                    <a:pt x="24702" y="12637"/>
                    <a:pt x="25744" y="12301"/>
                  </a:cubicBezTo>
                  <a:cubicBezTo>
                    <a:pt x="27089" y="11864"/>
                    <a:pt x="28366" y="11293"/>
                    <a:pt x="29542" y="10621"/>
                  </a:cubicBezTo>
                  <a:cubicBezTo>
                    <a:pt x="29609" y="10587"/>
                    <a:pt x="29676" y="10553"/>
                    <a:pt x="29744" y="10520"/>
                  </a:cubicBezTo>
                  <a:cubicBezTo>
                    <a:pt x="30584" y="10016"/>
                    <a:pt x="31323" y="9444"/>
                    <a:pt x="31928" y="8873"/>
                  </a:cubicBezTo>
                  <a:cubicBezTo>
                    <a:pt x="32331" y="8503"/>
                    <a:pt x="32701" y="8133"/>
                    <a:pt x="33004" y="7730"/>
                  </a:cubicBezTo>
                  <a:cubicBezTo>
                    <a:pt x="33273" y="7394"/>
                    <a:pt x="33508" y="7058"/>
                    <a:pt x="33709" y="6688"/>
                  </a:cubicBezTo>
                  <a:cubicBezTo>
                    <a:pt x="33877" y="6386"/>
                    <a:pt x="34046" y="6050"/>
                    <a:pt x="34146" y="5714"/>
                  </a:cubicBezTo>
                  <a:cubicBezTo>
                    <a:pt x="34281" y="5378"/>
                    <a:pt x="34382" y="5075"/>
                    <a:pt x="34415" y="4739"/>
                  </a:cubicBezTo>
                  <a:cubicBezTo>
                    <a:pt x="34482" y="4403"/>
                    <a:pt x="34550" y="4100"/>
                    <a:pt x="34550" y="3764"/>
                  </a:cubicBezTo>
                  <a:cubicBezTo>
                    <a:pt x="34550" y="3697"/>
                    <a:pt x="34550" y="3664"/>
                    <a:pt x="34550" y="3596"/>
                  </a:cubicBezTo>
                  <a:lnTo>
                    <a:pt x="34550" y="101"/>
                  </a:lnTo>
                  <a:cubicBezTo>
                    <a:pt x="34550" y="135"/>
                    <a:pt x="34550" y="202"/>
                    <a:pt x="34550" y="235"/>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45" name="Google Shape;3440;p49"/>
            <p:cNvSpPr/>
            <p:nvPr/>
          </p:nvSpPr>
          <p:spPr>
            <a:xfrm>
              <a:off x="-25807200" y="11893600"/>
              <a:ext cx="948625" cy="548675"/>
            </a:xfrm>
            <a:custGeom>
              <a:avLst/>
              <a:gdLst/>
              <a:ahLst/>
              <a:cxnLst/>
              <a:rect l="l" t="t" r="r" b="b"/>
              <a:pathLst>
                <a:path w="37945" h="21947" extrusionOk="0">
                  <a:moveTo>
                    <a:pt x="31156" y="3899"/>
                  </a:moveTo>
                  <a:cubicBezTo>
                    <a:pt x="37911" y="7798"/>
                    <a:pt x="37945" y="14116"/>
                    <a:pt x="31223" y="18048"/>
                  </a:cubicBezTo>
                  <a:cubicBezTo>
                    <a:pt x="24501" y="21947"/>
                    <a:pt x="13578" y="21947"/>
                    <a:pt x="6790" y="18048"/>
                  </a:cubicBezTo>
                  <a:cubicBezTo>
                    <a:pt x="34" y="14150"/>
                    <a:pt x="1" y="7798"/>
                    <a:pt x="6722" y="3899"/>
                  </a:cubicBezTo>
                  <a:cubicBezTo>
                    <a:pt x="13444" y="0"/>
                    <a:pt x="24367" y="0"/>
                    <a:pt x="31156" y="389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46" name="Google Shape;3441;p49"/>
            <p:cNvSpPr/>
            <p:nvPr/>
          </p:nvSpPr>
          <p:spPr>
            <a:xfrm>
              <a:off x="-25747550" y="11928050"/>
              <a:ext cx="829325" cy="479775"/>
            </a:xfrm>
            <a:custGeom>
              <a:avLst/>
              <a:gdLst/>
              <a:ahLst/>
              <a:cxnLst/>
              <a:rect l="l" t="t" r="r" b="b"/>
              <a:pathLst>
                <a:path w="33173" h="19191" extrusionOk="0">
                  <a:moveTo>
                    <a:pt x="27224" y="3395"/>
                  </a:moveTo>
                  <a:cubicBezTo>
                    <a:pt x="33139" y="6823"/>
                    <a:pt x="33172" y="12368"/>
                    <a:pt x="27291" y="15763"/>
                  </a:cubicBezTo>
                  <a:cubicBezTo>
                    <a:pt x="21409" y="19191"/>
                    <a:pt x="11865" y="19191"/>
                    <a:pt x="5950" y="15763"/>
                  </a:cubicBezTo>
                  <a:cubicBezTo>
                    <a:pt x="34" y="12368"/>
                    <a:pt x="1" y="6823"/>
                    <a:pt x="5882" y="3395"/>
                  </a:cubicBezTo>
                  <a:cubicBezTo>
                    <a:pt x="11764" y="0"/>
                    <a:pt x="21309" y="0"/>
                    <a:pt x="27224" y="3395"/>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47" name="Google Shape;3442;p49"/>
            <p:cNvSpPr/>
            <p:nvPr/>
          </p:nvSpPr>
          <p:spPr>
            <a:xfrm>
              <a:off x="-25518175" y="12039800"/>
              <a:ext cx="364700" cy="227725"/>
            </a:xfrm>
            <a:custGeom>
              <a:avLst/>
              <a:gdLst/>
              <a:ahLst/>
              <a:cxnLst/>
              <a:rect l="l" t="t" r="r" b="b"/>
              <a:pathLst>
                <a:path w="14588" h="9109" extrusionOk="0">
                  <a:moveTo>
                    <a:pt x="12772" y="7193"/>
                  </a:moveTo>
                  <a:lnTo>
                    <a:pt x="14385" y="8134"/>
                  </a:lnTo>
                  <a:lnTo>
                    <a:pt x="13512" y="8638"/>
                  </a:lnTo>
                  <a:lnTo>
                    <a:pt x="11898" y="7697"/>
                  </a:lnTo>
                  <a:cubicBezTo>
                    <a:pt x="11193" y="8066"/>
                    <a:pt x="10386" y="8369"/>
                    <a:pt x="9512" y="8604"/>
                  </a:cubicBezTo>
                  <a:cubicBezTo>
                    <a:pt x="8638" y="8839"/>
                    <a:pt x="7765" y="9007"/>
                    <a:pt x="6891" y="9108"/>
                  </a:cubicBezTo>
                  <a:lnTo>
                    <a:pt x="6050" y="7596"/>
                  </a:lnTo>
                  <a:cubicBezTo>
                    <a:pt x="6185" y="7596"/>
                    <a:pt x="6454" y="7562"/>
                    <a:pt x="6756" y="7529"/>
                  </a:cubicBezTo>
                  <a:cubicBezTo>
                    <a:pt x="7059" y="7495"/>
                    <a:pt x="7395" y="7428"/>
                    <a:pt x="7798" y="7361"/>
                  </a:cubicBezTo>
                  <a:cubicBezTo>
                    <a:pt x="8168" y="7293"/>
                    <a:pt x="8605" y="7159"/>
                    <a:pt x="9008" y="7058"/>
                  </a:cubicBezTo>
                  <a:cubicBezTo>
                    <a:pt x="9445" y="6924"/>
                    <a:pt x="9848" y="6756"/>
                    <a:pt x="10218" y="6588"/>
                  </a:cubicBezTo>
                  <a:lnTo>
                    <a:pt x="7731" y="5142"/>
                  </a:lnTo>
                  <a:cubicBezTo>
                    <a:pt x="7630" y="5176"/>
                    <a:pt x="7529" y="5210"/>
                    <a:pt x="7428" y="5277"/>
                  </a:cubicBezTo>
                  <a:cubicBezTo>
                    <a:pt x="7294" y="5310"/>
                    <a:pt x="7193" y="5344"/>
                    <a:pt x="7059" y="5378"/>
                  </a:cubicBezTo>
                  <a:cubicBezTo>
                    <a:pt x="6454" y="5579"/>
                    <a:pt x="5882" y="5747"/>
                    <a:pt x="5345" y="5848"/>
                  </a:cubicBezTo>
                  <a:cubicBezTo>
                    <a:pt x="4841" y="5983"/>
                    <a:pt x="4336" y="6050"/>
                    <a:pt x="3900" y="6050"/>
                  </a:cubicBezTo>
                  <a:cubicBezTo>
                    <a:pt x="3429" y="6050"/>
                    <a:pt x="2992" y="6016"/>
                    <a:pt x="2589" y="5915"/>
                  </a:cubicBezTo>
                  <a:cubicBezTo>
                    <a:pt x="2185" y="5848"/>
                    <a:pt x="1782" y="5680"/>
                    <a:pt x="1379" y="5445"/>
                  </a:cubicBezTo>
                  <a:cubicBezTo>
                    <a:pt x="908" y="5176"/>
                    <a:pt x="539" y="4874"/>
                    <a:pt x="337" y="4537"/>
                  </a:cubicBezTo>
                  <a:cubicBezTo>
                    <a:pt x="135" y="4235"/>
                    <a:pt x="35" y="3899"/>
                    <a:pt x="35" y="3563"/>
                  </a:cubicBezTo>
                  <a:cubicBezTo>
                    <a:pt x="68" y="3260"/>
                    <a:pt x="203" y="2924"/>
                    <a:pt x="471" y="2588"/>
                  </a:cubicBezTo>
                  <a:cubicBezTo>
                    <a:pt x="707" y="2286"/>
                    <a:pt x="1043" y="1983"/>
                    <a:pt x="1480" y="1681"/>
                  </a:cubicBezTo>
                  <a:lnTo>
                    <a:pt x="1" y="840"/>
                  </a:lnTo>
                  <a:lnTo>
                    <a:pt x="841" y="336"/>
                  </a:lnTo>
                  <a:lnTo>
                    <a:pt x="2320" y="1177"/>
                  </a:lnTo>
                  <a:cubicBezTo>
                    <a:pt x="2992" y="840"/>
                    <a:pt x="3731" y="572"/>
                    <a:pt x="4471" y="370"/>
                  </a:cubicBezTo>
                  <a:cubicBezTo>
                    <a:pt x="5210" y="202"/>
                    <a:pt x="5916" y="67"/>
                    <a:pt x="6622" y="0"/>
                  </a:cubicBezTo>
                  <a:lnTo>
                    <a:pt x="7361" y="1445"/>
                  </a:lnTo>
                  <a:cubicBezTo>
                    <a:pt x="7227" y="1445"/>
                    <a:pt x="7025" y="1445"/>
                    <a:pt x="6790" y="1479"/>
                  </a:cubicBezTo>
                  <a:cubicBezTo>
                    <a:pt x="6521" y="1513"/>
                    <a:pt x="6252" y="1580"/>
                    <a:pt x="5916" y="1647"/>
                  </a:cubicBezTo>
                  <a:cubicBezTo>
                    <a:pt x="5614" y="1714"/>
                    <a:pt x="5277" y="1782"/>
                    <a:pt x="4941" y="1882"/>
                  </a:cubicBezTo>
                  <a:cubicBezTo>
                    <a:pt x="4605" y="1983"/>
                    <a:pt x="4269" y="2118"/>
                    <a:pt x="3967" y="2252"/>
                  </a:cubicBezTo>
                  <a:lnTo>
                    <a:pt x="6454" y="3731"/>
                  </a:lnTo>
                  <a:lnTo>
                    <a:pt x="6924" y="3563"/>
                  </a:lnTo>
                  <a:cubicBezTo>
                    <a:pt x="7563" y="3361"/>
                    <a:pt x="8134" y="3159"/>
                    <a:pt x="8706" y="3025"/>
                  </a:cubicBezTo>
                  <a:cubicBezTo>
                    <a:pt x="9277" y="2857"/>
                    <a:pt x="9815" y="2790"/>
                    <a:pt x="10319" y="2756"/>
                  </a:cubicBezTo>
                  <a:cubicBezTo>
                    <a:pt x="10857" y="2723"/>
                    <a:pt x="11327" y="2756"/>
                    <a:pt x="11831" y="2857"/>
                  </a:cubicBezTo>
                  <a:cubicBezTo>
                    <a:pt x="12302" y="2958"/>
                    <a:pt x="12772" y="3126"/>
                    <a:pt x="13243" y="3395"/>
                  </a:cubicBezTo>
                  <a:cubicBezTo>
                    <a:pt x="13780" y="3697"/>
                    <a:pt x="14150" y="4033"/>
                    <a:pt x="14318" y="4369"/>
                  </a:cubicBezTo>
                  <a:cubicBezTo>
                    <a:pt x="14520" y="4672"/>
                    <a:pt x="14587" y="5008"/>
                    <a:pt x="14486" y="5344"/>
                  </a:cubicBezTo>
                  <a:cubicBezTo>
                    <a:pt x="14419" y="5680"/>
                    <a:pt x="14217" y="5983"/>
                    <a:pt x="13915" y="6319"/>
                  </a:cubicBezTo>
                  <a:cubicBezTo>
                    <a:pt x="13612" y="6621"/>
                    <a:pt x="13243" y="6924"/>
                    <a:pt x="12772" y="7193"/>
                  </a:cubicBezTo>
                  <a:close/>
                  <a:moveTo>
                    <a:pt x="8538" y="4907"/>
                  </a:moveTo>
                  <a:lnTo>
                    <a:pt x="10857" y="6251"/>
                  </a:lnTo>
                  <a:cubicBezTo>
                    <a:pt x="11865" y="5647"/>
                    <a:pt x="12033" y="5142"/>
                    <a:pt x="11327" y="4739"/>
                  </a:cubicBezTo>
                  <a:cubicBezTo>
                    <a:pt x="11025" y="4571"/>
                    <a:pt x="10621" y="4504"/>
                    <a:pt x="10184" y="4537"/>
                  </a:cubicBezTo>
                  <a:cubicBezTo>
                    <a:pt x="9714" y="4605"/>
                    <a:pt x="9176" y="4705"/>
                    <a:pt x="8538" y="4907"/>
                  </a:cubicBezTo>
                  <a:close/>
                  <a:moveTo>
                    <a:pt x="4202" y="4302"/>
                  </a:moveTo>
                  <a:cubicBezTo>
                    <a:pt x="4605" y="4269"/>
                    <a:pt x="5109" y="4168"/>
                    <a:pt x="5681" y="3966"/>
                  </a:cubicBezTo>
                  <a:lnTo>
                    <a:pt x="3328" y="2622"/>
                  </a:lnTo>
                  <a:cubicBezTo>
                    <a:pt x="2488" y="3159"/>
                    <a:pt x="2421" y="3664"/>
                    <a:pt x="3127" y="4067"/>
                  </a:cubicBezTo>
                  <a:cubicBezTo>
                    <a:pt x="3463" y="4269"/>
                    <a:pt x="3799" y="4336"/>
                    <a:pt x="4202" y="4302"/>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48" name="Google Shape;3443;p49"/>
            <p:cNvSpPr/>
            <p:nvPr/>
          </p:nvSpPr>
          <p:spPr>
            <a:xfrm>
              <a:off x="-25746700" y="121759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49" name="Google Shape;3444;p49"/>
            <p:cNvSpPr/>
            <p:nvPr/>
          </p:nvSpPr>
          <p:spPr>
            <a:xfrm>
              <a:off x="-25722325" y="12217925"/>
              <a:ext cx="0" cy="215950"/>
            </a:xfrm>
            <a:custGeom>
              <a:avLst/>
              <a:gdLst/>
              <a:ahLst/>
              <a:cxnLst/>
              <a:rect l="l" t="t" r="r" b="b"/>
              <a:pathLst>
                <a:path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50" name="Google Shape;3445;p49"/>
            <p:cNvSpPr/>
            <p:nvPr/>
          </p:nvSpPr>
          <p:spPr>
            <a:xfrm>
              <a:off x="-25697975" y="122607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51" name="Google Shape;3446;p49"/>
            <p:cNvSpPr/>
            <p:nvPr/>
          </p:nvSpPr>
          <p:spPr>
            <a:xfrm>
              <a:off x="-25674450" y="12303625"/>
              <a:ext cx="25" cy="215125"/>
            </a:xfrm>
            <a:custGeom>
              <a:avLst/>
              <a:gdLst/>
              <a:ahLst/>
              <a:cxnLst/>
              <a:rect l="l" t="t" r="r" b="b"/>
              <a:pathLst>
                <a:path w="1" h="8605"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52" name="Google Shape;3447;p49"/>
            <p:cNvSpPr/>
            <p:nvPr/>
          </p:nvSpPr>
          <p:spPr>
            <a:xfrm>
              <a:off x="-25650075" y="122985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53" name="Google Shape;3448;p49"/>
            <p:cNvSpPr/>
            <p:nvPr/>
          </p:nvSpPr>
          <p:spPr>
            <a:xfrm>
              <a:off x="-25616475" y="12310350"/>
              <a:ext cx="25" cy="215125"/>
            </a:xfrm>
            <a:custGeom>
              <a:avLst/>
              <a:gdLst/>
              <a:ahLst/>
              <a:cxnLst/>
              <a:rect l="l" t="t" r="r" b="b"/>
              <a:pathLst>
                <a:path w="1" h="8605"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54" name="Google Shape;3449;p49"/>
            <p:cNvSpPr/>
            <p:nvPr/>
          </p:nvSpPr>
          <p:spPr>
            <a:xfrm>
              <a:off x="-25583700" y="123212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55" name="Google Shape;3450;p49"/>
            <p:cNvSpPr/>
            <p:nvPr/>
          </p:nvSpPr>
          <p:spPr>
            <a:xfrm>
              <a:off x="-25550100" y="123330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56" name="Google Shape;3451;p49"/>
            <p:cNvSpPr/>
            <p:nvPr/>
          </p:nvSpPr>
          <p:spPr>
            <a:xfrm>
              <a:off x="-25516475" y="12344800"/>
              <a:ext cx="25" cy="215100"/>
            </a:xfrm>
            <a:custGeom>
              <a:avLst/>
              <a:gdLst/>
              <a:ahLst/>
              <a:cxnLst/>
              <a:rect l="l" t="t" r="r" b="b"/>
              <a:pathLst>
                <a:path w="1" h="8604"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57" name="Google Shape;3452;p49"/>
            <p:cNvSpPr/>
            <p:nvPr/>
          </p:nvSpPr>
          <p:spPr>
            <a:xfrm>
              <a:off x="-25483725" y="123557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58" name="Google Shape;3453;p49"/>
            <p:cNvSpPr/>
            <p:nvPr/>
          </p:nvSpPr>
          <p:spPr>
            <a:xfrm>
              <a:off x="-25450100" y="123674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59" name="Google Shape;3454;p49"/>
            <p:cNvSpPr/>
            <p:nvPr/>
          </p:nvSpPr>
          <p:spPr>
            <a:xfrm>
              <a:off x="-25417350" y="12379250"/>
              <a:ext cx="25" cy="215100"/>
            </a:xfrm>
            <a:custGeom>
              <a:avLst/>
              <a:gdLst/>
              <a:ahLst/>
              <a:cxnLst/>
              <a:rect l="l" t="t" r="r" b="b"/>
              <a:pathLst>
                <a:path w="1" h="8604"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60" name="Google Shape;3455;p49"/>
            <p:cNvSpPr/>
            <p:nvPr/>
          </p:nvSpPr>
          <p:spPr>
            <a:xfrm>
              <a:off x="-25383725" y="123901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61" name="Google Shape;3456;p49"/>
            <p:cNvSpPr/>
            <p:nvPr/>
          </p:nvSpPr>
          <p:spPr>
            <a:xfrm>
              <a:off x="-25350950" y="12401925"/>
              <a:ext cx="0" cy="215950"/>
            </a:xfrm>
            <a:custGeom>
              <a:avLst/>
              <a:gdLst/>
              <a:ahLst/>
              <a:cxnLst/>
              <a:rect l="l" t="t" r="r" b="b"/>
              <a:pathLst>
                <a:path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62" name="Google Shape;3457;p49"/>
            <p:cNvSpPr/>
            <p:nvPr/>
          </p:nvSpPr>
          <p:spPr>
            <a:xfrm>
              <a:off x="-25317350" y="123817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63" name="Google Shape;3458;p49"/>
            <p:cNvSpPr/>
            <p:nvPr/>
          </p:nvSpPr>
          <p:spPr>
            <a:xfrm>
              <a:off x="-25285425" y="12379250"/>
              <a:ext cx="25" cy="215100"/>
            </a:xfrm>
            <a:custGeom>
              <a:avLst/>
              <a:gdLst/>
              <a:ahLst/>
              <a:cxnLst/>
              <a:rect l="l" t="t" r="r" b="b"/>
              <a:pathLst>
                <a:path w="1" h="8604"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64" name="Google Shape;3459;p49"/>
            <p:cNvSpPr/>
            <p:nvPr/>
          </p:nvSpPr>
          <p:spPr>
            <a:xfrm>
              <a:off x="-25252650" y="123758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65" name="Google Shape;3460;p49"/>
            <p:cNvSpPr/>
            <p:nvPr/>
          </p:nvSpPr>
          <p:spPr>
            <a:xfrm>
              <a:off x="-25220725" y="123725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66" name="Google Shape;3461;p49"/>
            <p:cNvSpPr/>
            <p:nvPr/>
          </p:nvSpPr>
          <p:spPr>
            <a:xfrm>
              <a:off x="-25187950" y="123691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67" name="Google Shape;3462;p49"/>
            <p:cNvSpPr/>
            <p:nvPr/>
          </p:nvSpPr>
          <p:spPr>
            <a:xfrm>
              <a:off x="-25156025" y="123658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68" name="Google Shape;3463;p49"/>
            <p:cNvSpPr/>
            <p:nvPr/>
          </p:nvSpPr>
          <p:spPr>
            <a:xfrm>
              <a:off x="-25124100" y="123624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69" name="Google Shape;3464;p49"/>
            <p:cNvSpPr/>
            <p:nvPr/>
          </p:nvSpPr>
          <p:spPr>
            <a:xfrm>
              <a:off x="-25091325" y="123599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70" name="Google Shape;3465;p49"/>
            <p:cNvSpPr/>
            <p:nvPr/>
          </p:nvSpPr>
          <p:spPr>
            <a:xfrm>
              <a:off x="-25060250" y="123044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71" name="Google Shape;3466;p49"/>
            <p:cNvSpPr/>
            <p:nvPr/>
          </p:nvSpPr>
          <p:spPr>
            <a:xfrm>
              <a:off x="-25028325" y="12249850"/>
              <a:ext cx="25" cy="215125"/>
            </a:xfrm>
            <a:custGeom>
              <a:avLst/>
              <a:gdLst/>
              <a:ahLst/>
              <a:cxnLst/>
              <a:rect l="l" t="t" r="r" b="b"/>
              <a:pathLst>
                <a:path w="1" h="8605"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72" name="Google Shape;3467;p49"/>
            <p:cNvSpPr/>
            <p:nvPr/>
          </p:nvSpPr>
          <p:spPr>
            <a:xfrm>
              <a:off x="-24996400" y="122204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73" name="Google Shape;3468;p49"/>
            <p:cNvSpPr/>
            <p:nvPr/>
          </p:nvSpPr>
          <p:spPr>
            <a:xfrm>
              <a:off x="-24963625" y="12228000"/>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74" name="Google Shape;3469;p49"/>
            <p:cNvSpPr/>
            <p:nvPr/>
          </p:nvSpPr>
          <p:spPr>
            <a:xfrm>
              <a:off x="-24931700" y="122355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75" name="Google Shape;3470;p49"/>
            <p:cNvSpPr/>
            <p:nvPr/>
          </p:nvSpPr>
          <p:spPr>
            <a:xfrm>
              <a:off x="-24906475" y="12179275"/>
              <a:ext cx="0" cy="215125"/>
            </a:xfrm>
            <a:custGeom>
              <a:avLst/>
              <a:gdLst/>
              <a:ahLst/>
              <a:cxnLst/>
              <a:rect l="l" t="t" r="r" b="b"/>
              <a:pathLst>
                <a:path h="8605"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76" name="Google Shape;3471;p49"/>
            <p:cNvSpPr/>
            <p:nvPr/>
          </p:nvSpPr>
          <p:spPr>
            <a:xfrm>
              <a:off x="-25765175" y="11962500"/>
              <a:ext cx="863750" cy="339475"/>
            </a:xfrm>
            <a:custGeom>
              <a:avLst/>
              <a:gdLst/>
              <a:ahLst/>
              <a:cxnLst/>
              <a:rect l="l" t="t" r="r" b="b"/>
              <a:pathLst>
                <a:path w="34550" h="13579" extrusionOk="0">
                  <a:moveTo>
                    <a:pt x="34550" y="236"/>
                  </a:moveTo>
                  <a:cubicBezTo>
                    <a:pt x="34550" y="572"/>
                    <a:pt x="34516" y="908"/>
                    <a:pt x="34449" y="1244"/>
                  </a:cubicBezTo>
                  <a:cubicBezTo>
                    <a:pt x="34382" y="1580"/>
                    <a:pt x="34281" y="1882"/>
                    <a:pt x="34180" y="2218"/>
                  </a:cubicBezTo>
                  <a:cubicBezTo>
                    <a:pt x="34046" y="2521"/>
                    <a:pt x="33877" y="2857"/>
                    <a:pt x="33709" y="3193"/>
                  </a:cubicBezTo>
                  <a:cubicBezTo>
                    <a:pt x="33508" y="3529"/>
                    <a:pt x="33273" y="3899"/>
                    <a:pt x="33004" y="4235"/>
                  </a:cubicBezTo>
                  <a:cubicBezTo>
                    <a:pt x="32701" y="4605"/>
                    <a:pt x="32331" y="5008"/>
                    <a:pt x="31928" y="5378"/>
                  </a:cubicBezTo>
                  <a:cubicBezTo>
                    <a:pt x="31323" y="5949"/>
                    <a:pt x="30584" y="6487"/>
                    <a:pt x="29744" y="6991"/>
                  </a:cubicBezTo>
                  <a:cubicBezTo>
                    <a:pt x="29676" y="7024"/>
                    <a:pt x="29609" y="7092"/>
                    <a:pt x="29542" y="7125"/>
                  </a:cubicBezTo>
                  <a:cubicBezTo>
                    <a:pt x="28399" y="7797"/>
                    <a:pt x="27122" y="8335"/>
                    <a:pt x="25744" y="8772"/>
                  </a:cubicBezTo>
                  <a:cubicBezTo>
                    <a:pt x="24702" y="9108"/>
                    <a:pt x="23627" y="9377"/>
                    <a:pt x="22484" y="9612"/>
                  </a:cubicBezTo>
                  <a:cubicBezTo>
                    <a:pt x="21778" y="9713"/>
                    <a:pt x="21039" y="9814"/>
                    <a:pt x="20300" y="9915"/>
                  </a:cubicBezTo>
                  <a:cubicBezTo>
                    <a:pt x="19661" y="9982"/>
                    <a:pt x="19022" y="10016"/>
                    <a:pt x="18384" y="10016"/>
                  </a:cubicBezTo>
                  <a:cubicBezTo>
                    <a:pt x="17779" y="10049"/>
                    <a:pt x="17174" y="10049"/>
                    <a:pt x="16603" y="10049"/>
                  </a:cubicBezTo>
                  <a:cubicBezTo>
                    <a:pt x="16031" y="10016"/>
                    <a:pt x="15460" y="9982"/>
                    <a:pt x="14889" y="9948"/>
                  </a:cubicBezTo>
                  <a:cubicBezTo>
                    <a:pt x="14351" y="9915"/>
                    <a:pt x="13780" y="9848"/>
                    <a:pt x="13208" y="9747"/>
                  </a:cubicBezTo>
                  <a:cubicBezTo>
                    <a:pt x="12637" y="9680"/>
                    <a:pt x="12065" y="9579"/>
                    <a:pt x="11528" y="9444"/>
                  </a:cubicBezTo>
                  <a:cubicBezTo>
                    <a:pt x="10889" y="9343"/>
                    <a:pt x="10318" y="9175"/>
                    <a:pt x="9713" y="9007"/>
                  </a:cubicBezTo>
                  <a:cubicBezTo>
                    <a:pt x="9007" y="8806"/>
                    <a:pt x="8301" y="8570"/>
                    <a:pt x="7629" y="8302"/>
                  </a:cubicBezTo>
                  <a:cubicBezTo>
                    <a:pt x="6755" y="7966"/>
                    <a:pt x="5915" y="7562"/>
                    <a:pt x="5142" y="7125"/>
                  </a:cubicBezTo>
                  <a:cubicBezTo>
                    <a:pt x="1714" y="5142"/>
                    <a:pt x="34" y="2588"/>
                    <a:pt x="34" y="0"/>
                  </a:cubicBezTo>
                  <a:lnTo>
                    <a:pt x="34" y="3529"/>
                  </a:lnTo>
                  <a:cubicBezTo>
                    <a:pt x="0" y="6083"/>
                    <a:pt x="1714" y="8671"/>
                    <a:pt x="5109" y="10621"/>
                  </a:cubicBezTo>
                  <a:cubicBezTo>
                    <a:pt x="5882" y="11091"/>
                    <a:pt x="6722" y="11494"/>
                    <a:pt x="7596" y="11831"/>
                  </a:cubicBezTo>
                  <a:cubicBezTo>
                    <a:pt x="8301" y="12099"/>
                    <a:pt x="8974" y="12335"/>
                    <a:pt x="9713" y="12536"/>
                  </a:cubicBezTo>
                  <a:cubicBezTo>
                    <a:pt x="10284" y="12704"/>
                    <a:pt x="10889" y="12839"/>
                    <a:pt x="11494" y="12973"/>
                  </a:cubicBezTo>
                  <a:cubicBezTo>
                    <a:pt x="12065" y="13108"/>
                    <a:pt x="12637" y="13175"/>
                    <a:pt x="13208" y="13276"/>
                  </a:cubicBezTo>
                  <a:cubicBezTo>
                    <a:pt x="13780" y="13343"/>
                    <a:pt x="14317" y="13410"/>
                    <a:pt x="14889" y="13477"/>
                  </a:cubicBezTo>
                  <a:cubicBezTo>
                    <a:pt x="15460" y="13511"/>
                    <a:pt x="16031" y="13545"/>
                    <a:pt x="16603" y="13545"/>
                  </a:cubicBezTo>
                  <a:cubicBezTo>
                    <a:pt x="17174" y="13578"/>
                    <a:pt x="17779" y="13578"/>
                    <a:pt x="18350" y="13545"/>
                  </a:cubicBezTo>
                  <a:cubicBezTo>
                    <a:pt x="18989" y="13511"/>
                    <a:pt x="19627" y="13477"/>
                    <a:pt x="20266" y="13410"/>
                  </a:cubicBezTo>
                  <a:cubicBezTo>
                    <a:pt x="21005" y="13343"/>
                    <a:pt x="21745" y="13242"/>
                    <a:pt x="22484" y="13108"/>
                  </a:cubicBezTo>
                  <a:cubicBezTo>
                    <a:pt x="23593" y="12906"/>
                    <a:pt x="24702" y="12637"/>
                    <a:pt x="25744" y="12301"/>
                  </a:cubicBezTo>
                  <a:cubicBezTo>
                    <a:pt x="27089" y="11864"/>
                    <a:pt x="28366" y="11293"/>
                    <a:pt x="29542" y="10621"/>
                  </a:cubicBezTo>
                  <a:cubicBezTo>
                    <a:pt x="29609" y="10587"/>
                    <a:pt x="29676" y="10553"/>
                    <a:pt x="29744" y="10520"/>
                  </a:cubicBezTo>
                  <a:cubicBezTo>
                    <a:pt x="30584" y="10016"/>
                    <a:pt x="31323" y="9444"/>
                    <a:pt x="31928" y="8873"/>
                  </a:cubicBezTo>
                  <a:cubicBezTo>
                    <a:pt x="32331" y="8503"/>
                    <a:pt x="32701" y="8134"/>
                    <a:pt x="33004" y="7730"/>
                  </a:cubicBezTo>
                  <a:cubicBezTo>
                    <a:pt x="33273" y="7394"/>
                    <a:pt x="33508" y="7058"/>
                    <a:pt x="33709" y="6688"/>
                  </a:cubicBezTo>
                  <a:cubicBezTo>
                    <a:pt x="33877" y="6386"/>
                    <a:pt x="34046" y="6050"/>
                    <a:pt x="34146" y="5714"/>
                  </a:cubicBezTo>
                  <a:cubicBezTo>
                    <a:pt x="34281" y="5411"/>
                    <a:pt x="34382" y="5075"/>
                    <a:pt x="34415" y="4739"/>
                  </a:cubicBezTo>
                  <a:cubicBezTo>
                    <a:pt x="34482" y="4437"/>
                    <a:pt x="34550" y="4101"/>
                    <a:pt x="34550" y="3764"/>
                  </a:cubicBezTo>
                  <a:cubicBezTo>
                    <a:pt x="34550" y="3697"/>
                    <a:pt x="34550" y="3664"/>
                    <a:pt x="34550" y="3596"/>
                  </a:cubicBezTo>
                  <a:lnTo>
                    <a:pt x="34550" y="101"/>
                  </a:lnTo>
                  <a:cubicBezTo>
                    <a:pt x="34550" y="135"/>
                    <a:pt x="34550" y="202"/>
                    <a:pt x="34550" y="236"/>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77" name="Google Shape;3472;p49"/>
            <p:cNvSpPr/>
            <p:nvPr/>
          </p:nvSpPr>
          <p:spPr>
            <a:xfrm>
              <a:off x="-25807200" y="11689425"/>
              <a:ext cx="948625" cy="548675"/>
            </a:xfrm>
            <a:custGeom>
              <a:avLst/>
              <a:gdLst/>
              <a:ahLst/>
              <a:cxnLst/>
              <a:rect l="l" t="t" r="r" b="b"/>
              <a:pathLst>
                <a:path w="37945" h="21947" extrusionOk="0">
                  <a:moveTo>
                    <a:pt x="31156" y="3899"/>
                  </a:moveTo>
                  <a:cubicBezTo>
                    <a:pt x="37911" y="7798"/>
                    <a:pt x="37945" y="14116"/>
                    <a:pt x="31223" y="18048"/>
                  </a:cubicBezTo>
                  <a:cubicBezTo>
                    <a:pt x="24501" y="21947"/>
                    <a:pt x="13578" y="21947"/>
                    <a:pt x="6790" y="18048"/>
                  </a:cubicBezTo>
                  <a:cubicBezTo>
                    <a:pt x="34" y="14150"/>
                    <a:pt x="1" y="7798"/>
                    <a:pt x="6722" y="3899"/>
                  </a:cubicBezTo>
                  <a:cubicBezTo>
                    <a:pt x="13444" y="0"/>
                    <a:pt x="24367" y="0"/>
                    <a:pt x="31156" y="389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78" name="Google Shape;3473;p49"/>
            <p:cNvSpPr/>
            <p:nvPr/>
          </p:nvSpPr>
          <p:spPr>
            <a:xfrm>
              <a:off x="-25747550" y="11723875"/>
              <a:ext cx="829325" cy="479775"/>
            </a:xfrm>
            <a:custGeom>
              <a:avLst/>
              <a:gdLst/>
              <a:ahLst/>
              <a:cxnLst/>
              <a:rect l="l" t="t" r="r" b="b"/>
              <a:pathLst>
                <a:path w="33173" h="19191" extrusionOk="0">
                  <a:moveTo>
                    <a:pt x="27224" y="3395"/>
                  </a:moveTo>
                  <a:cubicBezTo>
                    <a:pt x="33139" y="6823"/>
                    <a:pt x="33172" y="12368"/>
                    <a:pt x="27291" y="15763"/>
                  </a:cubicBezTo>
                  <a:cubicBezTo>
                    <a:pt x="21409" y="19191"/>
                    <a:pt x="11865" y="19191"/>
                    <a:pt x="5950" y="15796"/>
                  </a:cubicBezTo>
                  <a:cubicBezTo>
                    <a:pt x="34" y="12368"/>
                    <a:pt x="1" y="6823"/>
                    <a:pt x="5882" y="3395"/>
                  </a:cubicBezTo>
                  <a:cubicBezTo>
                    <a:pt x="11764" y="0"/>
                    <a:pt x="21309" y="0"/>
                    <a:pt x="27224" y="3395"/>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79" name="Google Shape;3474;p49"/>
            <p:cNvSpPr/>
            <p:nvPr/>
          </p:nvSpPr>
          <p:spPr>
            <a:xfrm>
              <a:off x="-25518175" y="11835625"/>
              <a:ext cx="364700" cy="227725"/>
            </a:xfrm>
            <a:custGeom>
              <a:avLst/>
              <a:gdLst/>
              <a:ahLst/>
              <a:cxnLst/>
              <a:rect l="l" t="t" r="r" b="b"/>
              <a:pathLst>
                <a:path w="14588" h="9109" extrusionOk="0">
                  <a:moveTo>
                    <a:pt x="12772" y="7226"/>
                  </a:moveTo>
                  <a:lnTo>
                    <a:pt x="14385" y="8134"/>
                  </a:lnTo>
                  <a:lnTo>
                    <a:pt x="13512" y="8638"/>
                  </a:lnTo>
                  <a:lnTo>
                    <a:pt x="11898" y="7697"/>
                  </a:lnTo>
                  <a:cubicBezTo>
                    <a:pt x="11193" y="8066"/>
                    <a:pt x="10386" y="8369"/>
                    <a:pt x="9512" y="8604"/>
                  </a:cubicBezTo>
                  <a:cubicBezTo>
                    <a:pt x="8638" y="8839"/>
                    <a:pt x="7765" y="9007"/>
                    <a:pt x="6891" y="9108"/>
                  </a:cubicBezTo>
                  <a:lnTo>
                    <a:pt x="6050" y="7596"/>
                  </a:lnTo>
                  <a:cubicBezTo>
                    <a:pt x="6185" y="7596"/>
                    <a:pt x="6454" y="7596"/>
                    <a:pt x="6756" y="7529"/>
                  </a:cubicBezTo>
                  <a:cubicBezTo>
                    <a:pt x="7059" y="7495"/>
                    <a:pt x="7395" y="7461"/>
                    <a:pt x="7798" y="7361"/>
                  </a:cubicBezTo>
                  <a:cubicBezTo>
                    <a:pt x="8168" y="7293"/>
                    <a:pt x="8605" y="7193"/>
                    <a:pt x="9008" y="7058"/>
                  </a:cubicBezTo>
                  <a:cubicBezTo>
                    <a:pt x="9445" y="6924"/>
                    <a:pt x="9848" y="6789"/>
                    <a:pt x="10218" y="6588"/>
                  </a:cubicBezTo>
                  <a:lnTo>
                    <a:pt x="7731" y="5142"/>
                  </a:lnTo>
                  <a:cubicBezTo>
                    <a:pt x="7630" y="5176"/>
                    <a:pt x="7529" y="5243"/>
                    <a:pt x="7428" y="5277"/>
                  </a:cubicBezTo>
                  <a:cubicBezTo>
                    <a:pt x="7294" y="5311"/>
                    <a:pt x="7193" y="5344"/>
                    <a:pt x="7059" y="5378"/>
                  </a:cubicBezTo>
                  <a:cubicBezTo>
                    <a:pt x="6454" y="5579"/>
                    <a:pt x="5882" y="5747"/>
                    <a:pt x="5345" y="5848"/>
                  </a:cubicBezTo>
                  <a:cubicBezTo>
                    <a:pt x="4841" y="5983"/>
                    <a:pt x="4336" y="6050"/>
                    <a:pt x="3900" y="6050"/>
                  </a:cubicBezTo>
                  <a:cubicBezTo>
                    <a:pt x="3429" y="6084"/>
                    <a:pt x="2992" y="6016"/>
                    <a:pt x="2589" y="5949"/>
                  </a:cubicBezTo>
                  <a:cubicBezTo>
                    <a:pt x="2185" y="5848"/>
                    <a:pt x="1782" y="5680"/>
                    <a:pt x="1379" y="5445"/>
                  </a:cubicBezTo>
                  <a:cubicBezTo>
                    <a:pt x="908" y="5176"/>
                    <a:pt x="539" y="4874"/>
                    <a:pt x="337" y="4571"/>
                  </a:cubicBezTo>
                  <a:cubicBezTo>
                    <a:pt x="135" y="4235"/>
                    <a:pt x="35" y="3899"/>
                    <a:pt x="35" y="3596"/>
                  </a:cubicBezTo>
                  <a:cubicBezTo>
                    <a:pt x="68" y="3260"/>
                    <a:pt x="203" y="2924"/>
                    <a:pt x="471" y="2622"/>
                  </a:cubicBezTo>
                  <a:cubicBezTo>
                    <a:pt x="707" y="2286"/>
                    <a:pt x="1043" y="1983"/>
                    <a:pt x="1480" y="1681"/>
                  </a:cubicBezTo>
                  <a:lnTo>
                    <a:pt x="1" y="841"/>
                  </a:lnTo>
                  <a:lnTo>
                    <a:pt x="841" y="336"/>
                  </a:lnTo>
                  <a:lnTo>
                    <a:pt x="2320" y="1177"/>
                  </a:lnTo>
                  <a:cubicBezTo>
                    <a:pt x="2992" y="841"/>
                    <a:pt x="3731" y="572"/>
                    <a:pt x="4471" y="370"/>
                  </a:cubicBezTo>
                  <a:cubicBezTo>
                    <a:pt x="5210" y="202"/>
                    <a:pt x="5916" y="68"/>
                    <a:pt x="6622" y="0"/>
                  </a:cubicBezTo>
                  <a:lnTo>
                    <a:pt x="7361" y="1446"/>
                  </a:lnTo>
                  <a:cubicBezTo>
                    <a:pt x="7227" y="1446"/>
                    <a:pt x="7025" y="1446"/>
                    <a:pt x="6790" y="1479"/>
                  </a:cubicBezTo>
                  <a:cubicBezTo>
                    <a:pt x="6521" y="1513"/>
                    <a:pt x="6252" y="1580"/>
                    <a:pt x="5916" y="1647"/>
                  </a:cubicBezTo>
                  <a:cubicBezTo>
                    <a:pt x="5614" y="1714"/>
                    <a:pt x="5277" y="1815"/>
                    <a:pt x="4941" y="1916"/>
                  </a:cubicBezTo>
                  <a:cubicBezTo>
                    <a:pt x="4605" y="2017"/>
                    <a:pt x="4269" y="2118"/>
                    <a:pt x="3967" y="2286"/>
                  </a:cubicBezTo>
                  <a:lnTo>
                    <a:pt x="6454" y="3731"/>
                  </a:lnTo>
                  <a:lnTo>
                    <a:pt x="6924" y="3563"/>
                  </a:lnTo>
                  <a:cubicBezTo>
                    <a:pt x="7563" y="3361"/>
                    <a:pt x="8134" y="3160"/>
                    <a:pt x="8706" y="3025"/>
                  </a:cubicBezTo>
                  <a:cubicBezTo>
                    <a:pt x="9277" y="2891"/>
                    <a:pt x="9815" y="2790"/>
                    <a:pt x="10319" y="2756"/>
                  </a:cubicBezTo>
                  <a:cubicBezTo>
                    <a:pt x="10857" y="2723"/>
                    <a:pt x="11327" y="2756"/>
                    <a:pt x="11831" y="2857"/>
                  </a:cubicBezTo>
                  <a:cubicBezTo>
                    <a:pt x="12302" y="2958"/>
                    <a:pt x="12772" y="3126"/>
                    <a:pt x="13243" y="3428"/>
                  </a:cubicBezTo>
                  <a:cubicBezTo>
                    <a:pt x="13780" y="3731"/>
                    <a:pt x="14150" y="4033"/>
                    <a:pt x="14318" y="4369"/>
                  </a:cubicBezTo>
                  <a:cubicBezTo>
                    <a:pt x="14520" y="4706"/>
                    <a:pt x="14587" y="5008"/>
                    <a:pt x="14486" y="5344"/>
                  </a:cubicBezTo>
                  <a:cubicBezTo>
                    <a:pt x="14419" y="5680"/>
                    <a:pt x="14217" y="5983"/>
                    <a:pt x="13915" y="6319"/>
                  </a:cubicBezTo>
                  <a:cubicBezTo>
                    <a:pt x="13612" y="6621"/>
                    <a:pt x="13243" y="6924"/>
                    <a:pt x="12772" y="7226"/>
                  </a:cubicBezTo>
                  <a:close/>
                  <a:moveTo>
                    <a:pt x="8538" y="4907"/>
                  </a:moveTo>
                  <a:lnTo>
                    <a:pt x="10857" y="6252"/>
                  </a:lnTo>
                  <a:cubicBezTo>
                    <a:pt x="11865" y="5647"/>
                    <a:pt x="12033" y="5142"/>
                    <a:pt x="11327" y="4773"/>
                  </a:cubicBezTo>
                  <a:cubicBezTo>
                    <a:pt x="11025" y="4571"/>
                    <a:pt x="10621" y="4504"/>
                    <a:pt x="10184" y="4538"/>
                  </a:cubicBezTo>
                  <a:cubicBezTo>
                    <a:pt x="9714" y="4605"/>
                    <a:pt x="9176" y="4706"/>
                    <a:pt x="8538" y="4907"/>
                  </a:cubicBezTo>
                  <a:close/>
                  <a:moveTo>
                    <a:pt x="4202" y="4302"/>
                  </a:moveTo>
                  <a:cubicBezTo>
                    <a:pt x="4605" y="4269"/>
                    <a:pt x="5109" y="4168"/>
                    <a:pt x="5681" y="3966"/>
                  </a:cubicBezTo>
                  <a:lnTo>
                    <a:pt x="3328" y="2622"/>
                  </a:lnTo>
                  <a:cubicBezTo>
                    <a:pt x="2488" y="3160"/>
                    <a:pt x="2421" y="3664"/>
                    <a:pt x="3127" y="4067"/>
                  </a:cubicBezTo>
                  <a:cubicBezTo>
                    <a:pt x="3463" y="4269"/>
                    <a:pt x="3799" y="4336"/>
                    <a:pt x="4202" y="4302"/>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80" name="Google Shape;3475;p49"/>
            <p:cNvSpPr/>
            <p:nvPr/>
          </p:nvSpPr>
          <p:spPr>
            <a:xfrm>
              <a:off x="-25746700" y="119717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81" name="Google Shape;3476;p49"/>
            <p:cNvSpPr/>
            <p:nvPr/>
          </p:nvSpPr>
          <p:spPr>
            <a:xfrm>
              <a:off x="-25722325" y="12013750"/>
              <a:ext cx="0" cy="215950"/>
            </a:xfrm>
            <a:custGeom>
              <a:avLst/>
              <a:gdLst/>
              <a:ahLst/>
              <a:cxnLst/>
              <a:rect l="l" t="t" r="r" b="b"/>
              <a:pathLst>
                <a:path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82" name="Google Shape;3477;p49"/>
            <p:cNvSpPr/>
            <p:nvPr/>
          </p:nvSpPr>
          <p:spPr>
            <a:xfrm>
              <a:off x="-25697975" y="120566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83" name="Google Shape;3478;p49"/>
            <p:cNvSpPr/>
            <p:nvPr/>
          </p:nvSpPr>
          <p:spPr>
            <a:xfrm>
              <a:off x="-25674450" y="120994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84" name="Google Shape;3479;p49"/>
            <p:cNvSpPr/>
            <p:nvPr/>
          </p:nvSpPr>
          <p:spPr>
            <a:xfrm>
              <a:off x="-25650075" y="120944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85" name="Google Shape;3480;p49"/>
            <p:cNvSpPr/>
            <p:nvPr/>
          </p:nvSpPr>
          <p:spPr>
            <a:xfrm>
              <a:off x="-25616475" y="121053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86" name="Google Shape;3481;p49"/>
            <p:cNvSpPr/>
            <p:nvPr/>
          </p:nvSpPr>
          <p:spPr>
            <a:xfrm>
              <a:off x="-25583700" y="121171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87" name="Google Shape;3482;p49"/>
            <p:cNvSpPr/>
            <p:nvPr/>
          </p:nvSpPr>
          <p:spPr>
            <a:xfrm>
              <a:off x="-25550100" y="121288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88" name="Google Shape;3483;p49"/>
            <p:cNvSpPr/>
            <p:nvPr/>
          </p:nvSpPr>
          <p:spPr>
            <a:xfrm>
              <a:off x="-25516475" y="121406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89" name="Google Shape;3484;p49"/>
            <p:cNvSpPr/>
            <p:nvPr/>
          </p:nvSpPr>
          <p:spPr>
            <a:xfrm>
              <a:off x="-25483725" y="121515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90" name="Google Shape;3485;p49"/>
            <p:cNvSpPr/>
            <p:nvPr/>
          </p:nvSpPr>
          <p:spPr>
            <a:xfrm>
              <a:off x="-25450100" y="121633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91" name="Google Shape;3486;p49"/>
            <p:cNvSpPr/>
            <p:nvPr/>
          </p:nvSpPr>
          <p:spPr>
            <a:xfrm>
              <a:off x="-25417350" y="12175075"/>
              <a:ext cx="25" cy="215125"/>
            </a:xfrm>
            <a:custGeom>
              <a:avLst/>
              <a:gdLst/>
              <a:ahLst/>
              <a:cxnLst/>
              <a:rect l="l" t="t" r="r" b="b"/>
              <a:pathLst>
                <a:path w="1" h="8605"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92" name="Google Shape;3487;p49"/>
            <p:cNvSpPr/>
            <p:nvPr/>
          </p:nvSpPr>
          <p:spPr>
            <a:xfrm>
              <a:off x="-25383725" y="121860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93" name="Google Shape;3488;p49"/>
            <p:cNvSpPr/>
            <p:nvPr/>
          </p:nvSpPr>
          <p:spPr>
            <a:xfrm>
              <a:off x="-25350950" y="12197750"/>
              <a:ext cx="0" cy="215975"/>
            </a:xfrm>
            <a:custGeom>
              <a:avLst/>
              <a:gdLst/>
              <a:ahLst/>
              <a:cxnLst/>
              <a:rect l="l" t="t" r="r" b="b"/>
              <a:pathLst>
                <a:path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94" name="Google Shape;3489;p49"/>
            <p:cNvSpPr/>
            <p:nvPr/>
          </p:nvSpPr>
          <p:spPr>
            <a:xfrm>
              <a:off x="-25317350" y="121776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95" name="Google Shape;3490;p49"/>
            <p:cNvSpPr/>
            <p:nvPr/>
          </p:nvSpPr>
          <p:spPr>
            <a:xfrm>
              <a:off x="-25285425" y="12175075"/>
              <a:ext cx="25" cy="215125"/>
            </a:xfrm>
            <a:custGeom>
              <a:avLst/>
              <a:gdLst/>
              <a:ahLst/>
              <a:cxnLst/>
              <a:rect l="l" t="t" r="r" b="b"/>
              <a:pathLst>
                <a:path w="1" h="8605" fill="none" extrusionOk="0">
                  <a:moveTo>
                    <a:pt x="1" y="0"/>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96" name="Google Shape;3491;p49"/>
            <p:cNvSpPr/>
            <p:nvPr/>
          </p:nvSpPr>
          <p:spPr>
            <a:xfrm>
              <a:off x="-25252650" y="121717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97" name="Google Shape;3492;p49"/>
            <p:cNvSpPr/>
            <p:nvPr/>
          </p:nvSpPr>
          <p:spPr>
            <a:xfrm>
              <a:off x="-25220725" y="1216835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98" name="Google Shape;3493;p49"/>
            <p:cNvSpPr/>
            <p:nvPr/>
          </p:nvSpPr>
          <p:spPr>
            <a:xfrm>
              <a:off x="-25187950" y="121649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999" name="Google Shape;3494;p49"/>
            <p:cNvSpPr/>
            <p:nvPr/>
          </p:nvSpPr>
          <p:spPr>
            <a:xfrm>
              <a:off x="-25156025" y="12161625"/>
              <a:ext cx="25" cy="215950"/>
            </a:xfrm>
            <a:custGeom>
              <a:avLst/>
              <a:gdLst/>
              <a:ahLst/>
              <a:cxnLst/>
              <a:rect l="l" t="t" r="r" b="b"/>
              <a:pathLst>
                <a:path w="1"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00" name="Google Shape;3495;p49"/>
            <p:cNvSpPr/>
            <p:nvPr/>
          </p:nvSpPr>
          <p:spPr>
            <a:xfrm>
              <a:off x="-25124100" y="12159100"/>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01" name="Google Shape;3496;p49"/>
            <p:cNvSpPr/>
            <p:nvPr/>
          </p:nvSpPr>
          <p:spPr>
            <a:xfrm>
              <a:off x="-25091325" y="12155750"/>
              <a:ext cx="25" cy="215125"/>
            </a:xfrm>
            <a:custGeom>
              <a:avLst/>
              <a:gdLst/>
              <a:ahLst/>
              <a:cxnLst/>
              <a:rect l="l" t="t" r="r" b="b"/>
              <a:pathLst>
                <a:path w="1" h="8605"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02" name="Google Shape;3497;p49"/>
            <p:cNvSpPr/>
            <p:nvPr/>
          </p:nvSpPr>
          <p:spPr>
            <a:xfrm>
              <a:off x="-25060250" y="121003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03" name="Google Shape;3498;p49"/>
            <p:cNvSpPr/>
            <p:nvPr/>
          </p:nvSpPr>
          <p:spPr>
            <a:xfrm>
              <a:off x="-25028325" y="12045675"/>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04" name="Google Shape;3499;p49"/>
            <p:cNvSpPr/>
            <p:nvPr/>
          </p:nvSpPr>
          <p:spPr>
            <a:xfrm>
              <a:off x="-24996400" y="120162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05" name="Google Shape;3500;p49"/>
            <p:cNvSpPr/>
            <p:nvPr/>
          </p:nvSpPr>
          <p:spPr>
            <a:xfrm>
              <a:off x="-24963625" y="120238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06" name="Google Shape;3501;p49"/>
            <p:cNvSpPr/>
            <p:nvPr/>
          </p:nvSpPr>
          <p:spPr>
            <a:xfrm>
              <a:off x="-24931700" y="120314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07" name="Google Shape;3502;p49"/>
            <p:cNvSpPr/>
            <p:nvPr/>
          </p:nvSpPr>
          <p:spPr>
            <a:xfrm>
              <a:off x="-24906475" y="11975100"/>
              <a:ext cx="0" cy="215950"/>
            </a:xfrm>
            <a:custGeom>
              <a:avLst/>
              <a:gdLst/>
              <a:ahLst/>
              <a:cxnLst/>
              <a:rect l="l" t="t" r="r" b="b"/>
              <a:pathLst>
                <a:path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08" name="Google Shape;3503;p49"/>
            <p:cNvSpPr/>
            <p:nvPr/>
          </p:nvSpPr>
          <p:spPr>
            <a:xfrm>
              <a:off x="-25765175" y="11748250"/>
              <a:ext cx="863750" cy="338625"/>
            </a:xfrm>
            <a:custGeom>
              <a:avLst/>
              <a:gdLst/>
              <a:ahLst/>
              <a:cxnLst/>
              <a:rect l="l" t="t" r="r" b="b"/>
              <a:pathLst>
                <a:path w="34550" h="13545" extrusionOk="0">
                  <a:moveTo>
                    <a:pt x="34550" y="235"/>
                  </a:moveTo>
                  <a:cubicBezTo>
                    <a:pt x="34550" y="571"/>
                    <a:pt x="34516" y="907"/>
                    <a:pt x="34449" y="1210"/>
                  </a:cubicBezTo>
                  <a:cubicBezTo>
                    <a:pt x="34382" y="1546"/>
                    <a:pt x="34281" y="1882"/>
                    <a:pt x="34180" y="2185"/>
                  </a:cubicBezTo>
                  <a:cubicBezTo>
                    <a:pt x="34046" y="2521"/>
                    <a:pt x="33877" y="2857"/>
                    <a:pt x="33709" y="3159"/>
                  </a:cubicBezTo>
                  <a:cubicBezTo>
                    <a:pt x="33508" y="3529"/>
                    <a:pt x="33273" y="3865"/>
                    <a:pt x="33004" y="4201"/>
                  </a:cubicBezTo>
                  <a:cubicBezTo>
                    <a:pt x="32701" y="4604"/>
                    <a:pt x="32331" y="4974"/>
                    <a:pt x="31928" y="5344"/>
                  </a:cubicBezTo>
                  <a:cubicBezTo>
                    <a:pt x="31323" y="5915"/>
                    <a:pt x="30584" y="6487"/>
                    <a:pt x="29744" y="6991"/>
                  </a:cubicBezTo>
                  <a:cubicBezTo>
                    <a:pt x="29676" y="7024"/>
                    <a:pt x="29609" y="7058"/>
                    <a:pt x="29542" y="7091"/>
                  </a:cubicBezTo>
                  <a:cubicBezTo>
                    <a:pt x="28399" y="7764"/>
                    <a:pt x="27122" y="8335"/>
                    <a:pt x="25744" y="8772"/>
                  </a:cubicBezTo>
                  <a:cubicBezTo>
                    <a:pt x="24702" y="9108"/>
                    <a:pt x="23627" y="9377"/>
                    <a:pt x="22484" y="9579"/>
                  </a:cubicBezTo>
                  <a:cubicBezTo>
                    <a:pt x="21778" y="9713"/>
                    <a:pt x="21039" y="9814"/>
                    <a:pt x="20300" y="9881"/>
                  </a:cubicBezTo>
                  <a:cubicBezTo>
                    <a:pt x="19661" y="9948"/>
                    <a:pt x="19022" y="9982"/>
                    <a:pt x="18384" y="10015"/>
                  </a:cubicBezTo>
                  <a:cubicBezTo>
                    <a:pt x="17779" y="10049"/>
                    <a:pt x="17174" y="10049"/>
                    <a:pt x="16603" y="10015"/>
                  </a:cubicBezTo>
                  <a:cubicBezTo>
                    <a:pt x="16031" y="10015"/>
                    <a:pt x="15460" y="9982"/>
                    <a:pt x="14889" y="9948"/>
                  </a:cubicBezTo>
                  <a:cubicBezTo>
                    <a:pt x="14351" y="9881"/>
                    <a:pt x="13780" y="9814"/>
                    <a:pt x="13208" y="9747"/>
                  </a:cubicBezTo>
                  <a:cubicBezTo>
                    <a:pt x="12637" y="9679"/>
                    <a:pt x="12065" y="9579"/>
                    <a:pt x="11528" y="9444"/>
                  </a:cubicBezTo>
                  <a:cubicBezTo>
                    <a:pt x="10889" y="9310"/>
                    <a:pt x="10318" y="9175"/>
                    <a:pt x="9713" y="9007"/>
                  </a:cubicBezTo>
                  <a:cubicBezTo>
                    <a:pt x="9007" y="8806"/>
                    <a:pt x="8301" y="8570"/>
                    <a:pt x="7629" y="8301"/>
                  </a:cubicBezTo>
                  <a:cubicBezTo>
                    <a:pt x="6755" y="7965"/>
                    <a:pt x="5915" y="7562"/>
                    <a:pt x="5142" y="7091"/>
                  </a:cubicBezTo>
                  <a:cubicBezTo>
                    <a:pt x="1714" y="5142"/>
                    <a:pt x="34" y="2554"/>
                    <a:pt x="34" y="0"/>
                  </a:cubicBezTo>
                  <a:lnTo>
                    <a:pt x="34" y="3495"/>
                  </a:lnTo>
                  <a:cubicBezTo>
                    <a:pt x="0" y="6083"/>
                    <a:pt x="1714" y="8671"/>
                    <a:pt x="5109" y="10620"/>
                  </a:cubicBezTo>
                  <a:cubicBezTo>
                    <a:pt x="5882" y="11057"/>
                    <a:pt x="6722" y="11461"/>
                    <a:pt x="7596" y="11830"/>
                  </a:cubicBezTo>
                  <a:cubicBezTo>
                    <a:pt x="8301" y="12066"/>
                    <a:pt x="8974" y="12334"/>
                    <a:pt x="9713" y="12536"/>
                  </a:cubicBezTo>
                  <a:cubicBezTo>
                    <a:pt x="10284" y="12704"/>
                    <a:pt x="10889" y="12839"/>
                    <a:pt x="11494" y="12973"/>
                  </a:cubicBezTo>
                  <a:cubicBezTo>
                    <a:pt x="12065" y="13074"/>
                    <a:pt x="12637" y="13175"/>
                    <a:pt x="13208" y="13275"/>
                  </a:cubicBezTo>
                  <a:cubicBezTo>
                    <a:pt x="13780" y="13343"/>
                    <a:pt x="14317" y="13410"/>
                    <a:pt x="14889" y="13444"/>
                  </a:cubicBezTo>
                  <a:cubicBezTo>
                    <a:pt x="15460" y="13511"/>
                    <a:pt x="16031" y="13511"/>
                    <a:pt x="16603" y="13544"/>
                  </a:cubicBezTo>
                  <a:cubicBezTo>
                    <a:pt x="17174" y="13544"/>
                    <a:pt x="17779" y="13544"/>
                    <a:pt x="18350" y="13544"/>
                  </a:cubicBezTo>
                  <a:cubicBezTo>
                    <a:pt x="18989" y="13511"/>
                    <a:pt x="19627" y="13477"/>
                    <a:pt x="20266" y="13410"/>
                  </a:cubicBezTo>
                  <a:cubicBezTo>
                    <a:pt x="21005" y="13343"/>
                    <a:pt x="21745" y="13242"/>
                    <a:pt x="22484" y="13107"/>
                  </a:cubicBezTo>
                  <a:cubicBezTo>
                    <a:pt x="23593" y="12906"/>
                    <a:pt x="24702" y="12637"/>
                    <a:pt x="25744" y="12301"/>
                  </a:cubicBezTo>
                  <a:cubicBezTo>
                    <a:pt x="27089" y="11830"/>
                    <a:pt x="28366" y="11293"/>
                    <a:pt x="29542" y="10620"/>
                  </a:cubicBezTo>
                  <a:cubicBezTo>
                    <a:pt x="29609" y="10587"/>
                    <a:pt x="29676" y="10553"/>
                    <a:pt x="29744" y="10486"/>
                  </a:cubicBezTo>
                  <a:cubicBezTo>
                    <a:pt x="30584" y="9982"/>
                    <a:pt x="31323" y="9444"/>
                    <a:pt x="31928" y="8873"/>
                  </a:cubicBezTo>
                  <a:cubicBezTo>
                    <a:pt x="32331" y="8503"/>
                    <a:pt x="32701" y="8133"/>
                    <a:pt x="33004" y="7730"/>
                  </a:cubicBezTo>
                  <a:cubicBezTo>
                    <a:pt x="33273" y="7394"/>
                    <a:pt x="33508" y="7058"/>
                    <a:pt x="33709" y="6688"/>
                  </a:cubicBezTo>
                  <a:cubicBezTo>
                    <a:pt x="33877" y="6352"/>
                    <a:pt x="34046" y="6050"/>
                    <a:pt x="34146" y="5714"/>
                  </a:cubicBezTo>
                  <a:cubicBezTo>
                    <a:pt x="34281" y="5377"/>
                    <a:pt x="34382" y="5075"/>
                    <a:pt x="34415" y="4739"/>
                  </a:cubicBezTo>
                  <a:cubicBezTo>
                    <a:pt x="34482" y="4403"/>
                    <a:pt x="34550" y="4067"/>
                    <a:pt x="34550" y="3731"/>
                  </a:cubicBezTo>
                  <a:cubicBezTo>
                    <a:pt x="34550" y="3697"/>
                    <a:pt x="34550" y="3630"/>
                    <a:pt x="34550" y="3596"/>
                  </a:cubicBezTo>
                  <a:lnTo>
                    <a:pt x="34550" y="67"/>
                  </a:lnTo>
                  <a:cubicBezTo>
                    <a:pt x="34550" y="134"/>
                    <a:pt x="34550" y="168"/>
                    <a:pt x="34550" y="235"/>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09" name="Google Shape;3504;p49"/>
            <p:cNvSpPr/>
            <p:nvPr/>
          </p:nvSpPr>
          <p:spPr>
            <a:xfrm>
              <a:off x="-25807200" y="11474325"/>
              <a:ext cx="948625" cy="549525"/>
            </a:xfrm>
            <a:custGeom>
              <a:avLst/>
              <a:gdLst/>
              <a:ahLst/>
              <a:cxnLst/>
              <a:rect l="l" t="t" r="r" b="b"/>
              <a:pathLst>
                <a:path w="37945" h="21981" extrusionOk="0">
                  <a:moveTo>
                    <a:pt x="31156" y="3933"/>
                  </a:moveTo>
                  <a:cubicBezTo>
                    <a:pt x="37911" y="7831"/>
                    <a:pt x="37945" y="14150"/>
                    <a:pt x="31223" y="18048"/>
                  </a:cubicBezTo>
                  <a:cubicBezTo>
                    <a:pt x="24501" y="21981"/>
                    <a:pt x="13578" y="21981"/>
                    <a:pt x="6790" y="18082"/>
                  </a:cubicBezTo>
                  <a:cubicBezTo>
                    <a:pt x="34" y="14150"/>
                    <a:pt x="1" y="7831"/>
                    <a:pt x="6722" y="3933"/>
                  </a:cubicBezTo>
                  <a:cubicBezTo>
                    <a:pt x="13444" y="1"/>
                    <a:pt x="24367" y="1"/>
                    <a:pt x="31156" y="3933"/>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10" name="Google Shape;3505;p49"/>
            <p:cNvSpPr/>
            <p:nvPr/>
          </p:nvSpPr>
          <p:spPr>
            <a:xfrm>
              <a:off x="-25747550" y="11508775"/>
              <a:ext cx="829325" cy="480625"/>
            </a:xfrm>
            <a:custGeom>
              <a:avLst/>
              <a:gdLst/>
              <a:ahLst/>
              <a:cxnLst/>
              <a:rect l="l" t="t" r="r" b="b"/>
              <a:pathLst>
                <a:path w="33173" h="19225" extrusionOk="0">
                  <a:moveTo>
                    <a:pt x="27224" y="3429"/>
                  </a:moveTo>
                  <a:cubicBezTo>
                    <a:pt x="33139" y="6857"/>
                    <a:pt x="33172" y="12369"/>
                    <a:pt x="27291" y="15797"/>
                  </a:cubicBezTo>
                  <a:cubicBezTo>
                    <a:pt x="21409" y="19225"/>
                    <a:pt x="11865" y="19225"/>
                    <a:pt x="5950" y="15797"/>
                  </a:cubicBezTo>
                  <a:cubicBezTo>
                    <a:pt x="34" y="12369"/>
                    <a:pt x="1" y="6857"/>
                    <a:pt x="5882" y="3429"/>
                  </a:cubicBezTo>
                  <a:cubicBezTo>
                    <a:pt x="11764" y="1"/>
                    <a:pt x="21309" y="1"/>
                    <a:pt x="27224" y="342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11" name="Google Shape;3506;p49"/>
            <p:cNvSpPr/>
            <p:nvPr/>
          </p:nvSpPr>
          <p:spPr>
            <a:xfrm>
              <a:off x="-25518175" y="11621375"/>
              <a:ext cx="364700" cy="227725"/>
            </a:xfrm>
            <a:custGeom>
              <a:avLst/>
              <a:gdLst/>
              <a:ahLst/>
              <a:cxnLst/>
              <a:rect l="l" t="t" r="r" b="b"/>
              <a:pathLst>
                <a:path w="14588" h="9109" extrusionOk="0">
                  <a:moveTo>
                    <a:pt x="12772" y="7192"/>
                  </a:moveTo>
                  <a:lnTo>
                    <a:pt x="14385" y="8133"/>
                  </a:lnTo>
                  <a:lnTo>
                    <a:pt x="13512" y="8638"/>
                  </a:lnTo>
                  <a:lnTo>
                    <a:pt x="11898" y="7697"/>
                  </a:lnTo>
                  <a:cubicBezTo>
                    <a:pt x="11193" y="8066"/>
                    <a:pt x="10386" y="8369"/>
                    <a:pt x="9512" y="8604"/>
                  </a:cubicBezTo>
                  <a:cubicBezTo>
                    <a:pt x="8638" y="8839"/>
                    <a:pt x="7765" y="9007"/>
                    <a:pt x="6891" y="9108"/>
                  </a:cubicBezTo>
                  <a:lnTo>
                    <a:pt x="6050" y="7596"/>
                  </a:lnTo>
                  <a:cubicBezTo>
                    <a:pt x="6185" y="7596"/>
                    <a:pt x="6454" y="7562"/>
                    <a:pt x="6756" y="7528"/>
                  </a:cubicBezTo>
                  <a:cubicBezTo>
                    <a:pt x="7059" y="7495"/>
                    <a:pt x="7395" y="7428"/>
                    <a:pt x="7798" y="7360"/>
                  </a:cubicBezTo>
                  <a:cubicBezTo>
                    <a:pt x="8168" y="7260"/>
                    <a:pt x="8605" y="7159"/>
                    <a:pt x="9008" y="7024"/>
                  </a:cubicBezTo>
                  <a:cubicBezTo>
                    <a:pt x="9445" y="6924"/>
                    <a:pt x="9848" y="6755"/>
                    <a:pt x="10218" y="6587"/>
                  </a:cubicBezTo>
                  <a:lnTo>
                    <a:pt x="7731" y="5142"/>
                  </a:lnTo>
                  <a:cubicBezTo>
                    <a:pt x="7630" y="5176"/>
                    <a:pt x="7529" y="5209"/>
                    <a:pt x="7428" y="5243"/>
                  </a:cubicBezTo>
                  <a:cubicBezTo>
                    <a:pt x="7294" y="5277"/>
                    <a:pt x="7193" y="5310"/>
                    <a:pt x="7059" y="5344"/>
                  </a:cubicBezTo>
                  <a:cubicBezTo>
                    <a:pt x="6454" y="5579"/>
                    <a:pt x="5882" y="5714"/>
                    <a:pt x="5345" y="5848"/>
                  </a:cubicBezTo>
                  <a:cubicBezTo>
                    <a:pt x="4841" y="5949"/>
                    <a:pt x="4336" y="6016"/>
                    <a:pt x="3900" y="6050"/>
                  </a:cubicBezTo>
                  <a:cubicBezTo>
                    <a:pt x="3429" y="6050"/>
                    <a:pt x="2992" y="6016"/>
                    <a:pt x="2589" y="5915"/>
                  </a:cubicBezTo>
                  <a:cubicBezTo>
                    <a:pt x="2185" y="5814"/>
                    <a:pt x="1782" y="5680"/>
                    <a:pt x="1379" y="5445"/>
                  </a:cubicBezTo>
                  <a:cubicBezTo>
                    <a:pt x="908" y="5142"/>
                    <a:pt x="539" y="4873"/>
                    <a:pt x="337" y="4537"/>
                  </a:cubicBezTo>
                  <a:cubicBezTo>
                    <a:pt x="135" y="4235"/>
                    <a:pt x="35" y="3899"/>
                    <a:pt x="35" y="3563"/>
                  </a:cubicBezTo>
                  <a:cubicBezTo>
                    <a:pt x="68" y="3260"/>
                    <a:pt x="203" y="2924"/>
                    <a:pt x="471" y="2588"/>
                  </a:cubicBezTo>
                  <a:cubicBezTo>
                    <a:pt x="707" y="2286"/>
                    <a:pt x="1043" y="1983"/>
                    <a:pt x="1480" y="1681"/>
                  </a:cubicBezTo>
                  <a:lnTo>
                    <a:pt x="1" y="840"/>
                  </a:lnTo>
                  <a:lnTo>
                    <a:pt x="841" y="336"/>
                  </a:lnTo>
                  <a:lnTo>
                    <a:pt x="2320" y="1176"/>
                  </a:lnTo>
                  <a:cubicBezTo>
                    <a:pt x="2992" y="840"/>
                    <a:pt x="3731" y="571"/>
                    <a:pt x="4471" y="370"/>
                  </a:cubicBezTo>
                  <a:cubicBezTo>
                    <a:pt x="5210" y="202"/>
                    <a:pt x="5916" y="67"/>
                    <a:pt x="6622" y="0"/>
                  </a:cubicBezTo>
                  <a:lnTo>
                    <a:pt x="7361" y="1445"/>
                  </a:lnTo>
                  <a:cubicBezTo>
                    <a:pt x="7227" y="1445"/>
                    <a:pt x="7025" y="1445"/>
                    <a:pt x="6790" y="1479"/>
                  </a:cubicBezTo>
                  <a:cubicBezTo>
                    <a:pt x="6521" y="1513"/>
                    <a:pt x="6252" y="1580"/>
                    <a:pt x="5916" y="1647"/>
                  </a:cubicBezTo>
                  <a:cubicBezTo>
                    <a:pt x="5614" y="1714"/>
                    <a:pt x="5277" y="1781"/>
                    <a:pt x="4941" y="1882"/>
                  </a:cubicBezTo>
                  <a:cubicBezTo>
                    <a:pt x="4605" y="1983"/>
                    <a:pt x="4269" y="2117"/>
                    <a:pt x="3967" y="2252"/>
                  </a:cubicBezTo>
                  <a:lnTo>
                    <a:pt x="6454" y="3697"/>
                  </a:lnTo>
                  <a:lnTo>
                    <a:pt x="6924" y="3563"/>
                  </a:lnTo>
                  <a:cubicBezTo>
                    <a:pt x="7563" y="3327"/>
                    <a:pt x="8134" y="3159"/>
                    <a:pt x="8706" y="3025"/>
                  </a:cubicBezTo>
                  <a:cubicBezTo>
                    <a:pt x="9277" y="2857"/>
                    <a:pt x="9815" y="2790"/>
                    <a:pt x="10319" y="2756"/>
                  </a:cubicBezTo>
                  <a:cubicBezTo>
                    <a:pt x="10857" y="2722"/>
                    <a:pt x="11327" y="2756"/>
                    <a:pt x="11831" y="2857"/>
                  </a:cubicBezTo>
                  <a:cubicBezTo>
                    <a:pt x="12302" y="2924"/>
                    <a:pt x="12772" y="3126"/>
                    <a:pt x="13243" y="3395"/>
                  </a:cubicBezTo>
                  <a:cubicBezTo>
                    <a:pt x="13780" y="3697"/>
                    <a:pt x="14150" y="4033"/>
                    <a:pt x="14318" y="4369"/>
                  </a:cubicBezTo>
                  <a:cubicBezTo>
                    <a:pt x="14520" y="4672"/>
                    <a:pt x="14587" y="5008"/>
                    <a:pt x="14486" y="5344"/>
                  </a:cubicBezTo>
                  <a:cubicBezTo>
                    <a:pt x="14419" y="5646"/>
                    <a:pt x="14217" y="5982"/>
                    <a:pt x="13915" y="6285"/>
                  </a:cubicBezTo>
                  <a:cubicBezTo>
                    <a:pt x="13612" y="6621"/>
                    <a:pt x="13243" y="6924"/>
                    <a:pt x="12772" y="7192"/>
                  </a:cubicBezTo>
                  <a:close/>
                  <a:moveTo>
                    <a:pt x="8538" y="4907"/>
                  </a:moveTo>
                  <a:lnTo>
                    <a:pt x="10857" y="6251"/>
                  </a:lnTo>
                  <a:cubicBezTo>
                    <a:pt x="11865" y="5646"/>
                    <a:pt x="12033" y="5142"/>
                    <a:pt x="11327" y="4739"/>
                  </a:cubicBezTo>
                  <a:cubicBezTo>
                    <a:pt x="11025" y="4571"/>
                    <a:pt x="10621" y="4470"/>
                    <a:pt x="10184" y="4537"/>
                  </a:cubicBezTo>
                  <a:cubicBezTo>
                    <a:pt x="9714" y="4571"/>
                    <a:pt x="9176" y="4705"/>
                    <a:pt x="8538" y="4907"/>
                  </a:cubicBezTo>
                  <a:close/>
                  <a:moveTo>
                    <a:pt x="4202" y="4302"/>
                  </a:moveTo>
                  <a:cubicBezTo>
                    <a:pt x="4605" y="4268"/>
                    <a:pt x="5109" y="4134"/>
                    <a:pt x="5681" y="3966"/>
                  </a:cubicBezTo>
                  <a:lnTo>
                    <a:pt x="3328" y="2588"/>
                  </a:lnTo>
                  <a:cubicBezTo>
                    <a:pt x="2488" y="3159"/>
                    <a:pt x="2421" y="3663"/>
                    <a:pt x="3127" y="4067"/>
                  </a:cubicBezTo>
                  <a:cubicBezTo>
                    <a:pt x="3463" y="4235"/>
                    <a:pt x="3799" y="4336"/>
                    <a:pt x="4202" y="4302"/>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12" name="Google Shape;3507;p49"/>
            <p:cNvSpPr/>
            <p:nvPr/>
          </p:nvSpPr>
          <p:spPr>
            <a:xfrm>
              <a:off x="-25746700" y="11757475"/>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13" name="Google Shape;3508;p49"/>
            <p:cNvSpPr/>
            <p:nvPr/>
          </p:nvSpPr>
          <p:spPr>
            <a:xfrm>
              <a:off x="-25722325" y="11799500"/>
              <a:ext cx="0" cy="215950"/>
            </a:xfrm>
            <a:custGeom>
              <a:avLst/>
              <a:gdLst/>
              <a:ahLst/>
              <a:cxnLst/>
              <a:rect l="l" t="t" r="r" b="b"/>
              <a:pathLst>
                <a:path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14" name="Google Shape;3509;p49"/>
            <p:cNvSpPr/>
            <p:nvPr/>
          </p:nvSpPr>
          <p:spPr>
            <a:xfrm>
              <a:off x="-25697975" y="118423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15" name="Google Shape;3510;p49"/>
            <p:cNvSpPr/>
            <p:nvPr/>
          </p:nvSpPr>
          <p:spPr>
            <a:xfrm>
              <a:off x="-25674450" y="118843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16" name="Google Shape;3511;p49"/>
            <p:cNvSpPr/>
            <p:nvPr/>
          </p:nvSpPr>
          <p:spPr>
            <a:xfrm>
              <a:off x="-25650075" y="11879325"/>
              <a:ext cx="25" cy="215950"/>
            </a:xfrm>
            <a:custGeom>
              <a:avLst/>
              <a:gdLst/>
              <a:ahLst/>
              <a:cxnLst/>
              <a:rect l="l" t="t" r="r" b="b"/>
              <a:pathLst>
                <a:path w="1" h="8638" fill="none" extrusionOk="0">
                  <a:moveTo>
                    <a:pt x="0" y="0"/>
                  </a:moveTo>
                  <a:lnTo>
                    <a:pt x="0"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17" name="Google Shape;3512;p49"/>
            <p:cNvSpPr/>
            <p:nvPr/>
          </p:nvSpPr>
          <p:spPr>
            <a:xfrm>
              <a:off x="-25616475" y="11891075"/>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18" name="Google Shape;3513;p49"/>
            <p:cNvSpPr/>
            <p:nvPr/>
          </p:nvSpPr>
          <p:spPr>
            <a:xfrm>
              <a:off x="-25583700" y="11902850"/>
              <a:ext cx="25" cy="215950"/>
            </a:xfrm>
            <a:custGeom>
              <a:avLst/>
              <a:gdLst/>
              <a:ahLst/>
              <a:cxnLst/>
              <a:rect l="l" t="t" r="r" b="b"/>
              <a:pathLst>
                <a:path w="1" h="8638" fill="none" extrusionOk="0">
                  <a:moveTo>
                    <a:pt x="0" y="0"/>
                  </a:moveTo>
                  <a:lnTo>
                    <a:pt x="0"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19" name="Google Shape;3514;p49"/>
            <p:cNvSpPr/>
            <p:nvPr/>
          </p:nvSpPr>
          <p:spPr>
            <a:xfrm>
              <a:off x="-25550100" y="119137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20" name="Google Shape;3515;p49"/>
            <p:cNvSpPr/>
            <p:nvPr/>
          </p:nvSpPr>
          <p:spPr>
            <a:xfrm>
              <a:off x="-25516475" y="119255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21" name="Google Shape;3516;p49"/>
            <p:cNvSpPr/>
            <p:nvPr/>
          </p:nvSpPr>
          <p:spPr>
            <a:xfrm>
              <a:off x="-25483725" y="11937300"/>
              <a:ext cx="25" cy="215950"/>
            </a:xfrm>
            <a:custGeom>
              <a:avLst/>
              <a:gdLst/>
              <a:ahLst/>
              <a:cxnLst/>
              <a:rect l="l" t="t" r="r" b="b"/>
              <a:pathLst>
                <a:path w="1" h="8638" fill="none" extrusionOk="0">
                  <a:moveTo>
                    <a:pt x="1" y="0"/>
                  </a:moveTo>
                  <a:lnTo>
                    <a:pt x="1"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22" name="Google Shape;3517;p49"/>
            <p:cNvSpPr/>
            <p:nvPr/>
          </p:nvSpPr>
          <p:spPr>
            <a:xfrm>
              <a:off x="-25450100" y="11949050"/>
              <a:ext cx="25" cy="215125"/>
            </a:xfrm>
            <a:custGeom>
              <a:avLst/>
              <a:gdLst/>
              <a:ahLst/>
              <a:cxnLst/>
              <a:rect l="l" t="t" r="r" b="b"/>
              <a:pathLst>
                <a:path w="1" h="8605" fill="none" extrusionOk="0">
                  <a:moveTo>
                    <a:pt x="0" y="1"/>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23" name="Google Shape;3518;p49"/>
            <p:cNvSpPr/>
            <p:nvPr/>
          </p:nvSpPr>
          <p:spPr>
            <a:xfrm>
              <a:off x="-25417350" y="119599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24" name="Google Shape;3519;p49"/>
            <p:cNvSpPr/>
            <p:nvPr/>
          </p:nvSpPr>
          <p:spPr>
            <a:xfrm>
              <a:off x="-25383725" y="119717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25" name="Google Shape;3520;p49"/>
            <p:cNvSpPr/>
            <p:nvPr/>
          </p:nvSpPr>
          <p:spPr>
            <a:xfrm>
              <a:off x="-25350950" y="11983500"/>
              <a:ext cx="0" cy="215125"/>
            </a:xfrm>
            <a:custGeom>
              <a:avLst/>
              <a:gdLst/>
              <a:ahLst/>
              <a:cxnLst/>
              <a:rect l="l" t="t" r="r" b="b"/>
              <a:pathLst>
                <a:path h="8605"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26" name="Google Shape;3521;p49"/>
            <p:cNvSpPr/>
            <p:nvPr/>
          </p:nvSpPr>
          <p:spPr>
            <a:xfrm>
              <a:off x="-25317350" y="119633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27" name="Google Shape;3522;p49"/>
            <p:cNvSpPr/>
            <p:nvPr/>
          </p:nvSpPr>
          <p:spPr>
            <a:xfrm>
              <a:off x="-25285425" y="119599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28" name="Google Shape;3523;p49"/>
            <p:cNvSpPr/>
            <p:nvPr/>
          </p:nvSpPr>
          <p:spPr>
            <a:xfrm>
              <a:off x="-25252650" y="11957450"/>
              <a:ext cx="25" cy="215125"/>
            </a:xfrm>
            <a:custGeom>
              <a:avLst/>
              <a:gdLst/>
              <a:ahLst/>
              <a:cxnLst/>
              <a:rect l="l" t="t" r="r" b="b"/>
              <a:pathLst>
                <a:path w="1" h="8605" fill="none" extrusionOk="0">
                  <a:moveTo>
                    <a:pt x="0" y="1"/>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29" name="Google Shape;3524;p49"/>
            <p:cNvSpPr/>
            <p:nvPr/>
          </p:nvSpPr>
          <p:spPr>
            <a:xfrm>
              <a:off x="-25220725" y="119541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30" name="Google Shape;3525;p49"/>
            <p:cNvSpPr/>
            <p:nvPr/>
          </p:nvSpPr>
          <p:spPr>
            <a:xfrm>
              <a:off x="-25187950" y="119507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31" name="Google Shape;3526;p49"/>
            <p:cNvSpPr/>
            <p:nvPr/>
          </p:nvSpPr>
          <p:spPr>
            <a:xfrm>
              <a:off x="-25156025" y="119473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32" name="Google Shape;3527;p49"/>
            <p:cNvSpPr/>
            <p:nvPr/>
          </p:nvSpPr>
          <p:spPr>
            <a:xfrm>
              <a:off x="-25124100" y="119440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33" name="Google Shape;3528;p49"/>
            <p:cNvSpPr/>
            <p:nvPr/>
          </p:nvSpPr>
          <p:spPr>
            <a:xfrm>
              <a:off x="-25091325" y="1194065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34" name="Google Shape;3529;p49"/>
            <p:cNvSpPr/>
            <p:nvPr/>
          </p:nvSpPr>
          <p:spPr>
            <a:xfrm>
              <a:off x="-25060250" y="118860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35" name="Google Shape;3530;p49"/>
            <p:cNvSpPr/>
            <p:nvPr/>
          </p:nvSpPr>
          <p:spPr>
            <a:xfrm>
              <a:off x="-25028325" y="1183057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36" name="Google Shape;3531;p49"/>
            <p:cNvSpPr/>
            <p:nvPr/>
          </p:nvSpPr>
          <p:spPr>
            <a:xfrm>
              <a:off x="-24996400" y="11802025"/>
              <a:ext cx="25" cy="215950"/>
            </a:xfrm>
            <a:custGeom>
              <a:avLst/>
              <a:gdLst/>
              <a:ahLst/>
              <a:cxnLst/>
              <a:rect l="l" t="t" r="r" b="b"/>
              <a:pathLst>
                <a:path w="1" h="8638" fill="none" extrusionOk="0">
                  <a:moveTo>
                    <a:pt x="1" y="0"/>
                  </a:moveTo>
                  <a:lnTo>
                    <a:pt x="1"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37" name="Google Shape;3532;p49"/>
            <p:cNvSpPr/>
            <p:nvPr/>
          </p:nvSpPr>
          <p:spPr>
            <a:xfrm>
              <a:off x="-24963625" y="118095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38" name="Google Shape;3533;p49"/>
            <p:cNvSpPr/>
            <p:nvPr/>
          </p:nvSpPr>
          <p:spPr>
            <a:xfrm>
              <a:off x="-24931700" y="118171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39" name="Google Shape;3534;p49"/>
            <p:cNvSpPr/>
            <p:nvPr/>
          </p:nvSpPr>
          <p:spPr>
            <a:xfrm>
              <a:off x="-24906475" y="11760000"/>
              <a:ext cx="0" cy="215950"/>
            </a:xfrm>
            <a:custGeom>
              <a:avLst/>
              <a:gdLst/>
              <a:ahLst/>
              <a:cxnLst/>
              <a:rect l="l" t="t" r="r" b="b"/>
              <a:pathLst>
                <a:path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40" name="Google Shape;3535;p49"/>
            <p:cNvSpPr/>
            <p:nvPr/>
          </p:nvSpPr>
          <p:spPr>
            <a:xfrm>
              <a:off x="-25765175" y="11560875"/>
              <a:ext cx="863750" cy="339475"/>
            </a:xfrm>
            <a:custGeom>
              <a:avLst/>
              <a:gdLst/>
              <a:ahLst/>
              <a:cxnLst/>
              <a:rect l="l" t="t" r="r" b="b"/>
              <a:pathLst>
                <a:path w="34550" h="13579" extrusionOk="0">
                  <a:moveTo>
                    <a:pt x="34550" y="269"/>
                  </a:moveTo>
                  <a:cubicBezTo>
                    <a:pt x="34550" y="605"/>
                    <a:pt x="34516" y="908"/>
                    <a:pt x="34449" y="1244"/>
                  </a:cubicBezTo>
                  <a:cubicBezTo>
                    <a:pt x="34382" y="1580"/>
                    <a:pt x="34281" y="1916"/>
                    <a:pt x="34180" y="2218"/>
                  </a:cubicBezTo>
                  <a:cubicBezTo>
                    <a:pt x="34046" y="2555"/>
                    <a:pt x="33877" y="2891"/>
                    <a:pt x="33709" y="3193"/>
                  </a:cubicBezTo>
                  <a:cubicBezTo>
                    <a:pt x="33508" y="3563"/>
                    <a:pt x="33273" y="3899"/>
                    <a:pt x="33004" y="4235"/>
                  </a:cubicBezTo>
                  <a:cubicBezTo>
                    <a:pt x="32701" y="4638"/>
                    <a:pt x="32331" y="5008"/>
                    <a:pt x="31928" y="5378"/>
                  </a:cubicBezTo>
                  <a:cubicBezTo>
                    <a:pt x="31323" y="5949"/>
                    <a:pt x="30584" y="6520"/>
                    <a:pt x="29744" y="7025"/>
                  </a:cubicBezTo>
                  <a:cubicBezTo>
                    <a:pt x="29676" y="7058"/>
                    <a:pt x="29609" y="7092"/>
                    <a:pt x="29542" y="7125"/>
                  </a:cubicBezTo>
                  <a:cubicBezTo>
                    <a:pt x="28399" y="7798"/>
                    <a:pt x="27122" y="8369"/>
                    <a:pt x="25744" y="8806"/>
                  </a:cubicBezTo>
                  <a:cubicBezTo>
                    <a:pt x="24702" y="9142"/>
                    <a:pt x="23627" y="9411"/>
                    <a:pt x="22484" y="9612"/>
                  </a:cubicBezTo>
                  <a:cubicBezTo>
                    <a:pt x="21778" y="9747"/>
                    <a:pt x="21039" y="9848"/>
                    <a:pt x="20300" y="9915"/>
                  </a:cubicBezTo>
                  <a:cubicBezTo>
                    <a:pt x="19661" y="9982"/>
                    <a:pt x="19022" y="10016"/>
                    <a:pt x="18384" y="10049"/>
                  </a:cubicBezTo>
                  <a:cubicBezTo>
                    <a:pt x="17779" y="10083"/>
                    <a:pt x="17174" y="10083"/>
                    <a:pt x="16603" y="10049"/>
                  </a:cubicBezTo>
                  <a:cubicBezTo>
                    <a:pt x="16031" y="10049"/>
                    <a:pt x="15460" y="10016"/>
                    <a:pt x="14889" y="9948"/>
                  </a:cubicBezTo>
                  <a:cubicBezTo>
                    <a:pt x="14351" y="9915"/>
                    <a:pt x="13780" y="9848"/>
                    <a:pt x="13208" y="9780"/>
                  </a:cubicBezTo>
                  <a:cubicBezTo>
                    <a:pt x="12637" y="9680"/>
                    <a:pt x="12065" y="9579"/>
                    <a:pt x="11528" y="9478"/>
                  </a:cubicBezTo>
                  <a:cubicBezTo>
                    <a:pt x="10889" y="9344"/>
                    <a:pt x="10318" y="9209"/>
                    <a:pt x="9713" y="9041"/>
                  </a:cubicBezTo>
                  <a:cubicBezTo>
                    <a:pt x="9007" y="8839"/>
                    <a:pt x="8301" y="8604"/>
                    <a:pt x="7629" y="8335"/>
                  </a:cubicBezTo>
                  <a:cubicBezTo>
                    <a:pt x="6755" y="7999"/>
                    <a:pt x="5915" y="7596"/>
                    <a:pt x="5142" y="7125"/>
                  </a:cubicBezTo>
                  <a:cubicBezTo>
                    <a:pt x="1714" y="5176"/>
                    <a:pt x="34" y="2588"/>
                    <a:pt x="34" y="0"/>
                  </a:cubicBezTo>
                  <a:lnTo>
                    <a:pt x="34" y="3529"/>
                  </a:lnTo>
                  <a:cubicBezTo>
                    <a:pt x="0" y="6117"/>
                    <a:pt x="1714" y="8671"/>
                    <a:pt x="5109" y="10654"/>
                  </a:cubicBezTo>
                  <a:cubicBezTo>
                    <a:pt x="5882" y="11091"/>
                    <a:pt x="6722" y="11494"/>
                    <a:pt x="7596" y="11831"/>
                  </a:cubicBezTo>
                  <a:cubicBezTo>
                    <a:pt x="8301" y="12099"/>
                    <a:pt x="8974" y="12335"/>
                    <a:pt x="9713" y="12536"/>
                  </a:cubicBezTo>
                  <a:cubicBezTo>
                    <a:pt x="10284" y="12704"/>
                    <a:pt x="10889" y="12872"/>
                    <a:pt x="11494" y="13007"/>
                  </a:cubicBezTo>
                  <a:cubicBezTo>
                    <a:pt x="12065" y="13108"/>
                    <a:pt x="12637" y="13209"/>
                    <a:pt x="13208" y="13276"/>
                  </a:cubicBezTo>
                  <a:cubicBezTo>
                    <a:pt x="13780" y="13377"/>
                    <a:pt x="14317" y="13444"/>
                    <a:pt x="14889" y="13477"/>
                  </a:cubicBezTo>
                  <a:cubicBezTo>
                    <a:pt x="15460" y="13511"/>
                    <a:pt x="16031" y="13545"/>
                    <a:pt x="16603" y="13578"/>
                  </a:cubicBezTo>
                  <a:cubicBezTo>
                    <a:pt x="17174" y="13578"/>
                    <a:pt x="17779" y="13578"/>
                    <a:pt x="18350" y="13578"/>
                  </a:cubicBezTo>
                  <a:cubicBezTo>
                    <a:pt x="18989" y="13545"/>
                    <a:pt x="19627" y="13511"/>
                    <a:pt x="20266" y="13444"/>
                  </a:cubicBezTo>
                  <a:cubicBezTo>
                    <a:pt x="21005" y="13377"/>
                    <a:pt x="21745" y="13276"/>
                    <a:pt x="22484" y="13141"/>
                  </a:cubicBezTo>
                  <a:cubicBezTo>
                    <a:pt x="23593" y="12940"/>
                    <a:pt x="24702" y="12671"/>
                    <a:pt x="25744" y="12301"/>
                  </a:cubicBezTo>
                  <a:cubicBezTo>
                    <a:pt x="27089" y="11864"/>
                    <a:pt x="28366" y="11326"/>
                    <a:pt x="29542" y="10654"/>
                  </a:cubicBezTo>
                  <a:cubicBezTo>
                    <a:pt x="29609" y="10621"/>
                    <a:pt x="29676" y="10553"/>
                    <a:pt x="29744" y="10520"/>
                  </a:cubicBezTo>
                  <a:cubicBezTo>
                    <a:pt x="30584" y="10016"/>
                    <a:pt x="31323" y="9478"/>
                    <a:pt x="31928" y="8907"/>
                  </a:cubicBezTo>
                  <a:cubicBezTo>
                    <a:pt x="32331" y="8537"/>
                    <a:pt x="32701" y="8134"/>
                    <a:pt x="33004" y="7764"/>
                  </a:cubicBezTo>
                  <a:cubicBezTo>
                    <a:pt x="33273" y="7428"/>
                    <a:pt x="33508" y="7058"/>
                    <a:pt x="33709" y="6722"/>
                  </a:cubicBezTo>
                  <a:cubicBezTo>
                    <a:pt x="33877" y="6386"/>
                    <a:pt x="34046" y="6083"/>
                    <a:pt x="34146" y="5747"/>
                  </a:cubicBezTo>
                  <a:cubicBezTo>
                    <a:pt x="34281" y="5411"/>
                    <a:pt x="34382" y="5075"/>
                    <a:pt x="34415" y="4773"/>
                  </a:cubicBezTo>
                  <a:cubicBezTo>
                    <a:pt x="34482" y="4437"/>
                    <a:pt x="34550" y="4101"/>
                    <a:pt x="34550" y="3764"/>
                  </a:cubicBezTo>
                  <a:cubicBezTo>
                    <a:pt x="34550" y="3731"/>
                    <a:pt x="34550" y="3664"/>
                    <a:pt x="34550" y="3630"/>
                  </a:cubicBezTo>
                  <a:lnTo>
                    <a:pt x="34550" y="101"/>
                  </a:lnTo>
                  <a:cubicBezTo>
                    <a:pt x="34550" y="168"/>
                    <a:pt x="34550" y="202"/>
                    <a:pt x="34550" y="26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41" name="Google Shape;3536;p49"/>
            <p:cNvSpPr/>
            <p:nvPr/>
          </p:nvSpPr>
          <p:spPr>
            <a:xfrm>
              <a:off x="-25807200" y="11287800"/>
              <a:ext cx="948625" cy="549525"/>
            </a:xfrm>
            <a:custGeom>
              <a:avLst/>
              <a:gdLst/>
              <a:ahLst/>
              <a:cxnLst/>
              <a:rect l="l" t="t" r="r" b="b"/>
              <a:pathLst>
                <a:path w="37945" h="21981" extrusionOk="0">
                  <a:moveTo>
                    <a:pt x="31156" y="3933"/>
                  </a:moveTo>
                  <a:cubicBezTo>
                    <a:pt x="37911" y="7831"/>
                    <a:pt x="37945" y="14150"/>
                    <a:pt x="31223" y="18048"/>
                  </a:cubicBezTo>
                  <a:cubicBezTo>
                    <a:pt x="24501" y="21981"/>
                    <a:pt x="13578" y="21981"/>
                    <a:pt x="6790" y="18048"/>
                  </a:cubicBezTo>
                  <a:cubicBezTo>
                    <a:pt x="34" y="14150"/>
                    <a:pt x="1" y="7831"/>
                    <a:pt x="6722" y="3933"/>
                  </a:cubicBezTo>
                  <a:cubicBezTo>
                    <a:pt x="13444" y="1"/>
                    <a:pt x="24367" y="1"/>
                    <a:pt x="31156" y="3933"/>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42" name="Google Shape;3537;p49"/>
            <p:cNvSpPr/>
            <p:nvPr/>
          </p:nvSpPr>
          <p:spPr>
            <a:xfrm>
              <a:off x="-25747550" y="11322250"/>
              <a:ext cx="829325" cy="480625"/>
            </a:xfrm>
            <a:custGeom>
              <a:avLst/>
              <a:gdLst/>
              <a:ahLst/>
              <a:cxnLst/>
              <a:rect l="l" t="t" r="r" b="b"/>
              <a:pathLst>
                <a:path w="33173" h="19225" extrusionOk="0">
                  <a:moveTo>
                    <a:pt x="27224" y="3429"/>
                  </a:moveTo>
                  <a:cubicBezTo>
                    <a:pt x="33139" y="6857"/>
                    <a:pt x="33172" y="12368"/>
                    <a:pt x="27291" y="15797"/>
                  </a:cubicBezTo>
                  <a:cubicBezTo>
                    <a:pt x="21409" y="19225"/>
                    <a:pt x="11865" y="19225"/>
                    <a:pt x="5950" y="15797"/>
                  </a:cubicBezTo>
                  <a:cubicBezTo>
                    <a:pt x="34" y="12368"/>
                    <a:pt x="1" y="6857"/>
                    <a:pt x="5882" y="3429"/>
                  </a:cubicBezTo>
                  <a:cubicBezTo>
                    <a:pt x="11764" y="0"/>
                    <a:pt x="21309" y="0"/>
                    <a:pt x="27224" y="342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43" name="Google Shape;3538;p49"/>
            <p:cNvSpPr/>
            <p:nvPr/>
          </p:nvSpPr>
          <p:spPr>
            <a:xfrm>
              <a:off x="-25518175" y="11434000"/>
              <a:ext cx="364700" cy="227725"/>
            </a:xfrm>
            <a:custGeom>
              <a:avLst/>
              <a:gdLst/>
              <a:ahLst/>
              <a:cxnLst/>
              <a:rect l="l" t="t" r="r" b="b"/>
              <a:pathLst>
                <a:path w="14588" h="9109" extrusionOk="0">
                  <a:moveTo>
                    <a:pt x="12772" y="7226"/>
                  </a:moveTo>
                  <a:lnTo>
                    <a:pt x="14385" y="8167"/>
                  </a:lnTo>
                  <a:lnTo>
                    <a:pt x="13512" y="8671"/>
                  </a:lnTo>
                  <a:lnTo>
                    <a:pt x="11898" y="7730"/>
                  </a:lnTo>
                  <a:cubicBezTo>
                    <a:pt x="11193" y="8100"/>
                    <a:pt x="10386" y="8403"/>
                    <a:pt x="9512" y="8638"/>
                  </a:cubicBezTo>
                  <a:cubicBezTo>
                    <a:pt x="8638" y="8873"/>
                    <a:pt x="7765" y="9041"/>
                    <a:pt x="6891" y="9108"/>
                  </a:cubicBezTo>
                  <a:lnTo>
                    <a:pt x="6050" y="7630"/>
                  </a:lnTo>
                  <a:cubicBezTo>
                    <a:pt x="6185" y="7596"/>
                    <a:pt x="6454" y="7596"/>
                    <a:pt x="6756" y="7562"/>
                  </a:cubicBezTo>
                  <a:cubicBezTo>
                    <a:pt x="7059" y="7529"/>
                    <a:pt x="7395" y="7462"/>
                    <a:pt x="7798" y="7394"/>
                  </a:cubicBezTo>
                  <a:cubicBezTo>
                    <a:pt x="8168" y="7293"/>
                    <a:pt x="8605" y="7193"/>
                    <a:pt x="9008" y="7058"/>
                  </a:cubicBezTo>
                  <a:cubicBezTo>
                    <a:pt x="9445" y="6957"/>
                    <a:pt x="9848" y="6789"/>
                    <a:pt x="10218" y="6621"/>
                  </a:cubicBezTo>
                  <a:lnTo>
                    <a:pt x="7731" y="5176"/>
                  </a:lnTo>
                  <a:cubicBezTo>
                    <a:pt x="7630" y="5210"/>
                    <a:pt x="7529" y="5243"/>
                    <a:pt x="7428" y="5277"/>
                  </a:cubicBezTo>
                  <a:cubicBezTo>
                    <a:pt x="7294" y="5311"/>
                    <a:pt x="7193" y="5344"/>
                    <a:pt x="7059" y="5378"/>
                  </a:cubicBezTo>
                  <a:cubicBezTo>
                    <a:pt x="6454" y="5579"/>
                    <a:pt x="5882" y="5748"/>
                    <a:pt x="5345" y="5882"/>
                  </a:cubicBezTo>
                  <a:cubicBezTo>
                    <a:pt x="4841" y="5983"/>
                    <a:pt x="4336" y="6050"/>
                    <a:pt x="3900" y="6084"/>
                  </a:cubicBezTo>
                  <a:cubicBezTo>
                    <a:pt x="3429" y="6084"/>
                    <a:pt x="2992" y="6050"/>
                    <a:pt x="2589" y="5949"/>
                  </a:cubicBezTo>
                  <a:cubicBezTo>
                    <a:pt x="2185" y="5848"/>
                    <a:pt x="1782" y="5680"/>
                    <a:pt x="1379" y="5479"/>
                  </a:cubicBezTo>
                  <a:cubicBezTo>
                    <a:pt x="908" y="5176"/>
                    <a:pt x="539" y="4874"/>
                    <a:pt x="337" y="4571"/>
                  </a:cubicBezTo>
                  <a:cubicBezTo>
                    <a:pt x="135" y="4269"/>
                    <a:pt x="35" y="3933"/>
                    <a:pt x="35" y="3597"/>
                  </a:cubicBezTo>
                  <a:cubicBezTo>
                    <a:pt x="68" y="3294"/>
                    <a:pt x="203" y="2958"/>
                    <a:pt x="471" y="2622"/>
                  </a:cubicBezTo>
                  <a:cubicBezTo>
                    <a:pt x="707" y="2319"/>
                    <a:pt x="1043" y="1983"/>
                    <a:pt x="1480" y="1714"/>
                  </a:cubicBezTo>
                  <a:lnTo>
                    <a:pt x="1" y="841"/>
                  </a:lnTo>
                  <a:lnTo>
                    <a:pt x="841" y="337"/>
                  </a:lnTo>
                  <a:lnTo>
                    <a:pt x="2320" y="1210"/>
                  </a:lnTo>
                  <a:cubicBezTo>
                    <a:pt x="2992" y="841"/>
                    <a:pt x="3731" y="605"/>
                    <a:pt x="4471" y="404"/>
                  </a:cubicBezTo>
                  <a:cubicBezTo>
                    <a:pt x="5210" y="202"/>
                    <a:pt x="5916" y="101"/>
                    <a:pt x="6622" y="0"/>
                  </a:cubicBezTo>
                  <a:lnTo>
                    <a:pt x="7361" y="1479"/>
                  </a:lnTo>
                  <a:cubicBezTo>
                    <a:pt x="7227" y="1446"/>
                    <a:pt x="7025" y="1479"/>
                    <a:pt x="6790" y="1513"/>
                  </a:cubicBezTo>
                  <a:cubicBezTo>
                    <a:pt x="6521" y="1546"/>
                    <a:pt x="6252" y="1614"/>
                    <a:pt x="5916" y="1647"/>
                  </a:cubicBezTo>
                  <a:cubicBezTo>
                    <a:pt x="5614" y="1714"/>
                    <a:pt x="5277" y="1815"/>
                    <a:pt x="4941" y="1916"/>
                  </a:cubicBezTo>
                  <a:cubicBezTo>
                    <a:pt x="4605" y="2017"/>
                    <a:pt x="4269" y="2151"/>
                    <a:pt x="3967" y="2286"/>
                  </a:cubicBezTo>
                  <a:lnTo>
                    <a:pt x="6454" y="3731"/>
                  </a:lnTo>
                  <a:lnTo>
                    <a:pt x="6924" y="3597"/>
                  </a:lnTo>
                  <a:cubicBezTo>
                    <a:pt x="7563" y="3361"/>
                    <a:pt x="8134" y="3193"/>
                    <a:pt x="8706" y="3025"/>
                  </a:cubicBezTo>
                  <a:cubicBezTo>
                    <a:pt x="9277" y="2891"/>
                    <a:pt x="9815" y="2790"/>
                    <a:pt x="10319" y="2756"/>
                  </a:cubicBezTo>
                  <a:cubicBezTo>
                    <a:pt x="10857" y="2723"/>
                    <a:pt x="11327" y="2790"/>
                    <a:pt x="11831" y="2857"/>
                  </a:cubicBezTo>
                  <a:cubicBezTo>
                    <a:pt x="12302" y="2958"/>
                    <a:pt x="12772" y="3160"/>
                    <a:pt x="13243" y="3429"/>
                  </a:cubicBezTo>
                  <a:cubicBezTo>
                    <a:pt x="13780" y="3731"/>
                    <a:pt x="14150" y="4067"/>
                    <a:pt x="14318" y="4370"/>
                  </a:cubicBezTo>
                  <a:cubicBezTo>
                    <a:pt x="14520" y="4706"/>
                    <a:pt x="14587" y="5042"/>
                    <a:pt x="14486" y="5378"/>
                  </a:cubicBezTo>
                  <a:cubicBezTo>
                    <a:pt x="14419" y="5680"/>
                    <a:pt x="14217" y="6016"/>
                    <a:pt x="13915" y="6319"/>
                  </a:cubicBezTo>
                  <a:cubicBezTo>
                    <a:pt x="13612" y="6655"/>
                    <a:pt x="13243" y="6957"/>
                    <a:pt x="12772" y="7226"/>
                  </a:cubicBezTo>
                  <a:close/>
                  <a:moveTo>
                    <a:pt x="8538" y="4941"/>
                  </a:moveTo>
                  <a:lnTo>
                    <a:pt x="10857" y="6285"/>
                  </a:lnTo>
                  <a:cubicBezTo>
                    <a:pt x="11865" y="5680"/>
                    <a:pt x="12033" y="5176"/>
                    <a:pt x="11327" y="4773"/>
                  </a:cubicBezTo>
                  <a:cubicBezTo>
                    <a:pt x="11025" y="4571"/>
                    <a:pt x="10621" y="4504"/>
                    <a:pt x="10184" y="4571"/>
                  </a:cubicBezTo>
                  <a:cubicBezTo>
                    <a:pt x="9714" y="4605"/>
                    <a:pt x="9176" y="4739"/>
                    <a:pt x="8538" y="4941"/>
                  </a:cubicBezTo>
                  <a:close/>
                  <a:moveTo>
                    <a:pt x="4202" y="4336"/>
                  </a:moveTo>
                  <a:cubicBezTo>
                    <a:pt x="4605" y="4302"/>
                    <a:pt x="5109" y="4168"/>
                    <a:pt x="5681" y="4000"/>
                  </a:cubicBezTo>
                  <a:lnTo>
                    <a:pt x="3328" y="2622"/>
                  </a:lnTo>
                  <a:cubicBezTo>
                    <a:pt x="2488" y="3193"/>
                    <a:pt x="2421" y="3664"/>
                    <a:pt x="3127" y="4101"/>
                  </a:cubicBezTo>
                  <a:cubicBezTo>
                    <a:pt x="3463" y="4269"/>
                    <a:pt x="3799" y="4370"/>
                    <a:pt x="4202" y="4336"/>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44" name="Google Shape;3539;p49"/>
            <p:cNvSpPr/>
            <p:nvPr/>
          </p:nvSpPr>
          <p:spPr>
            <a:xfrm>
              <a:off x="-25746700" y="11570125"/>
              <a:ext cx="25" cy="215950"/>
            </a:xfrm>
            <a:custGeom>
              <a:avLst/>
              <a:gdLst/>
              <a:ahLst/>
              <a:cxnLst/>
              <a:rect l="l" t="t" r="r" b="b"/>
              <a:pathLst>
                <a:path w="1" h="8638" fill="none" extrusionOk="0">
                  <a:moveTo>
                    <a:pt x="0" y="0"/>
                  </a:moveTo>
                  <a:lnTo>
                    <a:pt x="0"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45" name="Google Shape;3540;p49"/>
            <p:cNvSpPr/>
            <p:nvPr/>
          </p:nvSpPr>
          <p:spPr>
            <a:xfrm>
              <a:off x="-25722325" y="11612975"/>
              <a:ext cx="0" cy="215950"/>
            </a:xfrm>
            <a:custGeom>
              <a:avLst/>
              <a:gdLst/>
              <a:ahLst/>
              <a:cxnLst/>
              <a:rect l="l" t="t" r="r" b="b"/>
              <a:pathLst>
                <a:path h="8638" fill="none" extrusionOk="0">
                  <a:moveTo>
                    <a:pt x="0" y="0"/>
                  </a:moveTo>
                  <a:lnTo>
                    <a:pt x="0"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46" name="Google Shape;3541;p49"/>
            <p:cNvSpPr/>
            <p:nvPr/>
          </p:nvSpPr>
          <p:spPr>
            <a:xfrm>
              <a:off x="-25697975" y="116558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47" name="Google Shape;3542;p49"/>
            <p:cNvSpPr/>
            <p:nvPr/>
          </p:nvSpPr>
          <p:spPr>
            <a:xfrm>
              <a:off x="-25674450" y="11697825"/>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48" name="Google Shape;3543;p49"/>
            <p:cNvSpPr/>
            <p:nvPr/>
          </p:nvSpPr>
          <p:spPr>
            <a:xfrm>
              <a:off x="-25650075" y="116927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49" name="Google Shape;3544;p49"/>
            <p:cNvSpPr/>
            <p:nvPr/>
          </p:nvSpPr>
          <p:spPr>
            <a:xfrm>
              <a:off x="-25616475" y="117045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50" name="Google Shape;3545;p49"/>
            <p:cNvSpPr/>
            <p:nvPr/>
          </p:nvSpPr>
          <p:spPr>
            <a:xfrm>
              <a:off x="-25583700" y="117163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51" name="Google Shape;3546;p49"/>
            <p:cNvSpPr/>
            <p:nvPr/>
          </p:nvSpPr>
          <p:spPr>
            <a:xfrm>
              <a:off x="-25550100" y="117272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52" name="Google Shape;3547;p49"/>
            <p:cNvSpPr/>
            <p:nvPr/>
          </p:nvSpPr>
          <p:spPr>
            <a:xfrm>
              <a:off x="-25516475" y="117390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53" name="Google Shape;3548;p49"/>
            <p:cNvSpPr/>
            <p:nvPr/>
          </p:nvSpPr>
          <p:spPr>
            <a:xfrm>
              <a:off x="-25483725" y="117507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54" name="Google Shape;3549;p49"/>
            <p:cNvSpPr/>
            <p:nvPr/>
          </p:nvSpPr>
          <p:spPr>
            <a:xfrm>
              <a:off x="-25450100" y="117616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55" name="Google Shape;3550;p49"/>
            <p:cNvSpPr/>
            <p:nvPr/>
          </p:nvSpPr>
          <p:spPr>
            <a:xfrm>
              <a:off x="-25417350" y="117734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56" name="Google Shape;3551;p49"/>
            <p:cNvSpPr/>
            <p:nvPr/>
          </p:nvSpPr>
          <p:spPr>
            <a:xfrm>
              <a:off x="-25383725" y="117852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57" name="Google Shape;3552;p49"/>
            <p:cNvSpPr/>
            <p:nvPr/>
          </p:nvSpPr>
          <p:spPr>
            <a:xfrm>
              <a:off x="-25350950" y="11796975"/>
              <a:ext cx="0" cy="215125"/>
            </a:xfrm>
            <a:custGeom>
              <a:avLst/>
              <a:gdLst/>
              <a:ahLst/>
              <a:cxnLst/>
              <a:rect l="l" t="t" r="r" b="b"/>
              <a:pathLst>
                <a:path h="8605"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58" name="Google Shape;3553;p49"/>
            <p:cNvSpPr/>
            <p:nvPr/>
          </p:nvSpPr>
          <p:spPr>
            <a:xfrm>
              <a:off x="-25317350" y="117768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59" name="Google Shape;3554;p49"/>
            <p:cNvSpPr/>
            <p:nvPr/>
          </p:nvSpPr>
          <p:spPr>
            <a:xfrm>
              <a:off x="-25285425" y="117734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60" name="Google Shape;3555;p49"/>
            <p:cNvSpPr/>
            <p:nvPr/>
          </p:nvSpPr>
          <p:spPr>
            <a:xfrm>
              <a:off x="-25252650" y="117700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61" name="Google Shape;3556;p49"/>
            <p:cNvSpPr/>
            <p:nvPr/>
          </p:nvSpPr>
          <p:spPr>
            <a:xfrm>
              <a:off x="-25220725" y="117667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62" name="Google Shape;3557;p49"/>
            <p:cNvSpPr/>
            <p:nvPr/>
          </p:nvSpPr>
          <p:spPr>
            <a:xfrm>
              <a:off x="-25187950" y="11764200"/>
              <a:ext cx="25" cy="215125"/>
            </a:xfrm>
            <a:custGeom>
              <a:avLst/>
              <a:gdLst/>
              <a:ahLst/>
              <a:cxnLst/>
              <a:rect l="l" t="t" r="r" b="b"/>
              <a:pathLst>
                <a:path w="1" h="8605" fill="none" extrusionOk="0">
                  <a:moveTo>
                    <a:pt x="0" y="1"/>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63" name="Google Shape;3558;p49"/>
            <p:cNvSpPr/>
            <p:nvPr/>
          </p:nvSpPr>
          <p:spPr>
            <a:xfrm>
              <a:off x="-25156025" y="1176085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64" name="Google Shape;3559;p49"/>
            <p:cNvSpPr/>
            <p:nvPr/>
          </p:nvSpPr>
          <p:spPr>
            <a:xfrm>
              <a:off x="-25124100" y="117574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65" name="Google Shape;3560;p49"/>
            <p:cNvSpPr/>
            <p:nvPr/>
          </p:nvSpPr>
          <p:spPr>
            <a:xfrm>
              <a:off x="-25091325" y="117541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66" name="Google Shape;3561;p49"/>
            <p:cNvSpPr/>
            <p:nvPr/>
          </p:nvSpPr>
          <p:spPr>
            <a:xfrm>
              <a:off x="-25060250" y="116995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67" name="Google Shape;3562;p49"/>
            <p:cNvSpPr/>
            <p:nvPr/>
          </p:nvSpPr>
          <p:spPr>
            <a:xfrm>
              <a:off x="-25028325" y="11644050"/>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68" name="Google Shape;3563;p49"/>
            <p:cNvSpPr/>
            <p:nvPr/>
          </p:nvSpPr>
          <p:spPr>
            <a:xfrm>
              <a:off x="-24996400" y="1161547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69" name="Google Shape;3564;p49"/>
            <p:cNvSpPr/>
            <p:nvPr/>
          </p:nvSpPr>
          <p:spPr>
            <a:xfrm>
              <a:off x="-24963625" y="116230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70" name="Google Shape;3565;p49"/>
            <p:cNvSpPr/>
            <p:nvPr/>
          </p:nvSpPr>
          <p:spPr>
            <a:xfrm>
              <a:off x="-24931700" y="116306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71" name="Google Shape;3566;p49"/>
            <p:cNvSpPr/>
            <p:nvPr/>
          </p:nvSpPr>
          <p:spPr>
            <a:xfrm>
              <a:off x="-24906475" y="11573475"/>
              <a:ext cx="0" cy="215950"/>
            </a:xfrm>
            <a:custGeom>
              <a:avLst/>
              <a:gdLst/>
              <a:ahLst/>
              <a:cxnLst/>
              <a:rect l="l" t="t" r="r" b="b"/>
              <a:pathLst>
                <a:path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72" name="Google Shape;3567;p49"/>
            <p:cNvSpPr/>
            <p:nvPr/>
          </p:nvSpPr>
          <p:spPr>
            <a:xfrm>
              <a:off x="-25765175" y="11357550"/>
              <a:ext cx="863750" cy="338625"/>
            </a:xfrm>
            <a:custGeom>
              <a:avLst/>
              <a:gdLst/>
              <a:ahLst/>
              <a:cxnLst/>
              <a:rect l="l" t="t" r="r" b="b"/>
              <a:pathLst>
                <a:path w="34550" h="13545" extrusionOk="0">
                  <a:moveTo>
                    <a:pt x="34550" y="235"/>
                  </a:moveTo>
                  <a:cubicBezTo>
                    <a:pt x="34550" y="571"/>
                    <a:pt x="34516" y="874"/>
                    <a:pt x="34449" y="1210"/>
                  </a:cubicBezTo>
                  <a:cubicBezTo>
                    <a:pt x="34382" y="1546"/>
                    <a:pt x="34281" y="1882"/>
                    <a:pt x="34180" y="2185"/>
                  </a:cubicBezTo>
                  <a:cubicBezTo>
                    <a:pt x="34046" y="2521"/>
                    <a:pt x="33877" y="2857"/>
                    <a:pt x="33709" y="3159"/>
                  </a:cubicBezTo>
                  <a:cubicBezTo>
                    <a:pt x="33508" y="3529"/>
                    <a:pt x="33273" y="3865"/>
                    <a:pt x="33004" y="4201"/>
                  </a:cubicBezTo>
                  <a:cubicBezTo>
                    <a:pt x="32701" y="4604"/>
                    <a:pt x="32331" y="4974"/>
                    <a:pt x="31928" y="5344"/>
                  </a:cubicBezTo>
                  <a:cubicBezTo>
                    <a:pt x="31323" y="5915"/>
                    <a:pt x="30584" y="6487"/>
                    <a:pt x="29744" y="6991"/>
                  </a:cubicBezTo>
                  <a:cubicBezTo>
                    <a:pt x="29676" y="7024"/>
                    <a:pt x="29609" y="7058"/>
                    <a:pt x="29542" y="7091"/>
                  </a:cubicBezTo>
                  <a:cubicBezTo>
                    <a:pt x="28399" y="7764"/>
                    <a:pt x="27122" y="8335"/>
                    <a:pt x="25744" y="8772"/>
                  </a:cubicBezTo>
                  <a:cubicBezTo>
                    <a:pt x="24702" y="9108"/>
                    <a:pt x="23627" y="9377"/>
                    <a:pt x="22484" y="9579"/>
                  </a:cubicBezTo>
                  <a:cubicBezTo>
                    <a:pt x="21778" y="9713"/>
                    <a:pt x="21039" y="9814"/>
                    <a:pt x="20300" y="9881"/>
                  </a:cubicBezTo>
                  <a:cubicBezTo>
                    <a:pt x="19661" y="9948"/>
                    <a:pt x="19022" y="9982"/>
                    <a:pt x="18384" y="10015"/>
                  </a:cubicBezTo>
                  <a:cubicBezTo>
                    <a:pt x="17779" y="10049"/>
                    <a:pt x="17174" y="10049"/>
                    <a:pt x="16603" y="10015"/>
                  </a:cubicBezTo>
                  <a:cubicBezTo>
                    <a:pt x="16031" y="10015"/>
                    <a:pt x="15460" y="9982"/>
                    <a:pt x="14889" y="9948"/>
                  </a:cubicBezTo>
                  <a:cubicBezTo>
                    <a:pt x="14351" y="9881"/>
                    <a:pt x="13780" y="9814"/>
                    <a:pt x="13208" y="9747"/>
                  </a:cubicBezTo>
                  <a:cubicBezTo>
                    <a:pt x="12637" y="9679"/>
                    <a:pt x="12065" y="9579"/>
                    <a:pt x="11528" y="9444"/>
                  </a:cubicBezTo>
                  <a:cubicBezTo>
                    <a:pt x="10889" y="9310"/>
                    <a:pt x="10318" y="9175"/>
                    <a:pt x="9713" y="9007"/>
                  </a:cubicBezTo>
                  <a:cubicBezTo>
                    <a:pt x="9007" y="8806"/>
                    <a:pt x="8301" y="8570"/>
                    <a:pt x="7629" y="8301"/>
                  </a:cubicBezTo>
                  <a:cubicBezTo>
                    <a:pt x="6755" y="7965"/>
                    <a:pt x="5915" y="7562"/>
                    <a:pt x="5142" y="7091"/>
                  </a:cubicBezTo>
                  <a:cubicBezTo>
                    <a:pt x="1714" y="5142"/>
                    <a:pt x="34" y="2554"/>
                    <a:pt x="34" y="0"/>
                  </a:cubicBezTo>
                  <a:lnTo>
                    <a:pt x="34" y="3495"/>
                  </a:lnTo>
                  <a:cubicBezTo>
                    <a:pt x="0" y="6083"/>
                    <a:pt x="1714" y="8671"/>
                    <a:pt x="5109" y="10620"/>
                  </a:cubicBezTo>
                  <a:cubicBezTo>
                    <a:pt x="5882" y="11091"/>
                    <a:pt x="6722" y="11461"/>
                    <a:pt x="7596" y="11830"/>
                  </a:cubicBezTo>
                  <a:cubicBezTo>
                    <a:pt x="8301" y="12099"/>
                    <a:pt x="8974" y="12334"/>
                    <a:pt x="9713" y="12536"/>
                  </a:cubicBezTo>
                  <a:cubicBezTo>
                    <a:pt x="10284" y="12704"/>
                    <a:pt x="10889" y="12839"/>
                    <a:pt x="11494" y="12973"/>
                  </a:cubicBezTo>
                  <a:cubicBezTo>
                    <a:pt x="12065" y="13074"/>
                    <a:pt x="12637" y="13175"/>
                    <a:pt x="13208" y="13275"/>
                  </a:cubicBezTo>
                  <a:cubicBezTo>
                    <a:pt x="13780" y="13343"/>
                    <a:pt x="14317" y="13410"/>
                    <a:pt x="14889" y="13443"/>
                  </a:cubicBezTo>
                  <a:cubicBezTo>
                    <a:pt x="15460" y="13511"/>
                    <a:pt x="16031" y="13544"/>
                    <a:pt x="16603" y="13544"/>
                  </a:cubicBezTo>
                  <a:cubicBezTo>
                    <a:pt x="17174" y="13544"/>
                    <a:pt x="17779" y="13544"/>
                    <a:pt x="18350" y="13544"/>
                  </a:cubicBezTo>
                  <a:cubicBezTo>
                    <a:pt x="18989" y="13511"/>
                    <a:pt x="19627" y="13477"/>
                    <a:pt x="20266" y="13410"/>
                  </a:cubicBezTo>
                  <a:cubicBezTo>
                    <a:pt x="21005" y="13343"/>
                    <a:pt x="21745" y="13242"/>
                    <a:pt x="22484" y="13107"/>
                  </a:cubicBezTo>
                  <a:cubicBezTo>
                    <a:pt x="23593" y="12906"/>
                    <a:pt x="24702" y="12637"/>
                    <a:pt x="25744" y="12301"/>
                  </a:cubicBezTo>
                  <a:cubicBezTo>
                    <a:pt x="27089" y="11864"/>
                    <a:pt x="28366" y="11293"/>
                    <a:pt x="29542" y="10620"/>
                  </a:cubicBezTo>
                  <a:cubicBezTo>
                    <a:pt x="29609" y="10587"/>
                    <a:pt x="29676" y="10553"/>
                    <a:pt x="29744" y="10486"/>
                  </a:cubicBezTo>
                  <a:cubicBezTo>
                    <a:pt x="30584" y="9982"/>
                    <a:pt x="31323" y="9444"/>
                    <a:pt x="31928" y="8873"/>
                  </a:cubicBezTo>
                  <a:cubicBezTo>
                    <a:pt x="32331" y="8503"/>
                    <a:pt x="32701" y="8133"/>
                    <a:pt x="33004" y="7730"/>
                  </a:cubicBezTo>
                  <a:cubicBezTo>
                    <a:pt x="33273" y="7394"/>
                    <a:pt x="33508" y="7058"/>
                    <a:pt x="33709" y="6688"/>
                  </a:cubicBezTo>
                  <a:cubicBezTo>
                    <a:pt x="33877" y="6386"/>
                    <a:pt x="34046" y="6050"/>
                    <a:pt x="34146" y="5714"/>
                  </a:cubicBezTo>
                  <a:cubicBezTo>
                    <a:pt x="34281" y="5377"/>
                    <a:pt x="34382" y="5075"/>
                    <a:pt x="34415" y="4739"/>
                  </a:cubicBezTo>
                  <a:cubicBezTo>
                    <a:pt x="34482" y="4403"/>
                    <a:pt x="34550" y="4100"/>
                    <a:pt x="34550" y="3764"/>
                  </a:cubicBezTo>
                  <a:cubicBezTo>
                    <a:pt x="34550" y="3697"/>
                    <a:pt x="34550" y="3663"/>
                    <a:pt x="34550" y="3596"/>
                  </a:cubicBezTo>
                  <a:lnTo>
                    <a:pt x="34550" y="67"/>
                  </a:lnTo>
                  <a:cubicBezTo>
                    <a:pt x="34550" y="134"/>
                    <a:pt x="34550" y="168"/>
                    <a:pt x="34550" y="235"/>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73" name="Google Shape;3568;p49"/>
            <p:cNvSpPr/>
            <p:nvPr/>
          </p:nvSpPr>
          <p:spPr>
            <a:xfrm>
              <a:off x="-25807200" y="11083625"/>
              <a:ext cx="948625" cy="549525"/>
            </a:xfrm>
            <a:custGeom>
              <a:avLst/>
              <a:gdLst/>
              <a:ahLst/>
              <a:cxnLst/>
              <a:rect l="l" t="t" r="r" b="b"/>
              <a:pathLst>
                <a:path w="37945" h="21981" extrusionOk="0">
                  <a:moveTo>
                    <a:pt x="31156" y="3933"/>
                  </a:moveTo>
                  <a:cubicBezTo>
                    <a:pt x="37911" y="7831"/>
                    <a:pt x="37945" y="14150"/>
                    <a:pt x="31223" y="18048"/>
                  </a:cubicBezTo>
                  <a:cubicBezTo>
                    <a:pt x="24501" y="21981"/>
                    <a:pt x="13578" y="21981"/>
                    <a:pt x="6790" y="18082"/>
                  </a:cubicBezTo>
                  <a:cubicBezTo>
                    <a:pt x="34" y="14150"/>
                    <a:pt x="1" y="7831"/>
                    <a:pt x="6722" y="3933"/>
                  </a:cubicBezTo>
                  <a:cubicBezTo>
                    <a:pt x="13444" y="1"/>
                    <a:pt x="24367" y="1"/>
                    <a:pt x="31156" y="3933"/>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74" name="Google Shape;3569;p49"/>
            <p:cNvSpPr/>
            <p:nvPr/>
          </p:nvSpPr>
          <p:spPr>
            <a:xfrm>
              <a:off x="-25747550" y="11118075"/>
              <a:ext cx="829325" cy="480625"/>
            </a:xfrm>
            <a:custGeom>
              <a:avLst/>
              <a:gdLst/>
              <a:ahLst/>
              <a:cxnLst/>
              <a:rect l="l" t="t" r="r" b="b"/>
              <a:pathLst>
                <a:path w="33173" h="19225" extrusionOk="0">
                  <a:moveTo>
                    <a:pt x="27224" y="3429"/>
                  </a:moveTo>
                  <a:cubicBezTo>
                    <a:pt x="33139" y="6857"/>
                    <a:pt x="33172" y="12369"/>
                    <a:pt x="27291" y="15797"/>
                  </a:cubicBezTo>
                  <a:cubicBezTo>
                    <a:pt x="21409" y="19225"/>
                    <a:pt x="11865" y="19225"/>
                    <a:pt x="5950" y="15797"/>
                  </a:cubicBezTo>
                  <a:cubicBezTo>
                    <a:pt x="34" y="12369"/>
                    <a:pt x="1" y="6857"/>
                    <a:pt x="5882" y="3429"/>
                  </a:cubicBezTo>
                  <a:cubicBezTo>
                    <a:pt x="11764" y="1"/>
                    <a:pt x="21309" y="1"/>
                    <a:pt x="27224" y="3429"/>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75" name="Google Shape;3570;p49"/>
            <p:cNvSpPr/>
            <p:nvPr/>
          </p:nvSpPr>
          <p:spPr>
            <a:xfrm>
              <a:off x="-25518175" y="11229825"/>
              <a:ext cx="364700" cy="228575"/>
            </a:xfrm>
            <a:custGeom>
              <a:avLst/>
              <a:gdLst/>
              <a:ahLst/>
              <a:cxnLst/>
              <a:rect l="l" t="t" r="r" b="b"/>
              <a:pathLst>
                <a:path w="14588" h="9143" extrusionOk="0">
                  <a:moveTo>
                    <a:pt x="12772" y="7226"/>
                  </a:moveTo>
                  <a:lnTo>
                    <a:pt x="14385" y="8167"/>
                  </a:lnTo>
                  <a:lnTo>
                    <a:pt x="13512" y="8672"/>
                  </a:lnTo>
                  <a:lnTo>
                    <a:pt x="11898" y="7731"/>
                  </a:lnTo>
                  <a:cubicBezTo>
                    <a:pt x="11193" y="8100"/>
                    <a:pt x="10386" y="8403"/>
                    <a:pt x="9512" y="8638"/>
                  </a:cubicBezTo>
                  <a:cubicBezTo>
                    <a:pt x="8638" y="8873"/>
                    <a:pt x="7765" y="9041"/>
                    <a:pt x="6891" y="9142"/>
                  </a:cubicBezTo>
                  <a:lnTo>
                    <a:pt x="6050" y="7630"/>
                  </a:lnTo>
                  <a:cubicBezTo>
                    <a:pt x="6185" y="7630"/>
                    <a:pt x="6454" y="7596"/>
                    <a:pt x="6756" y="7562"/>
                  </a:cubicBezTo>
                  <a:cubicBezTo>
                    <a:pt x="7059" y="7529"/>
                    <a:pt x="7395" y="7462"/>
                    <a:pt x="7798" y="7394"/>
                  </a:cubicBezTo>
                  <a:cubicBezTo>
                    <a:pt x="8168" y="7294"/>
                    <a:pt x="8605" y="7193"/>
                    <a:pt x="9008" y="7058"/>
                  </a:cubicBezTo>
                  <a:cubicBezTo>
                    <a:pt x="9445" y="6958"/>
                    <a:pt x="9848" y="6789"/>
                    <a:pt x="10218" y="6621"/>
                  </a:cubicBezTo>
                  <a:lnTo>
                    <a:pt x="7731" y="5176"/>
                  </a:lnTo>
                  <a:cubicBezTo>
                    <a:pt x="7630" y="5210"/>
                    <a:pt x="7529" y="5243"/>
                    <a:pt x="7428" y="5277"/>
                  </a:cubicBezTo>
                  <a:cubicBezTo>
                    <a:pt x="7294" y="5311"/>
                    <a:pt x="7193" y="5344"/>
                    <a:pt x="7059" y="5378"/>
                  </a:cubicBezTo>
                  <a:cubicBezTo>
                    <a:pt x="6454" y="5613"/>
                    <a:pt x="5882" y="5748"/>
                    <a:pt x="5345" y="5882"/>
                  </a:cubicBezTo>
                  <a:cubicBezTo>
                    <a:pt x="4841" y="5983"/>
                    <a:pt x="4336" y="6050"/>
                    <a:pt x="3900" y="6084"/>
                  </a:cubicBezTo>
                  <a:cubicBezTo>
                    <a:pt x="3429" y="6084"/>
                    <a:pt x="2992" y="6050"/>
                    <a:pt x="2589" y="5949"/>
                  </a:cubicBezTo>
                  <a:cubicBezTo>
                    <a:pt x="2185" y="5848"/>
                    <a:pt x="1782" y="5714"/>
                    <a:pt x="1379" y="5479"/>
                  </a:cubicBezTo>
                  <a:cubicBezTo>
                    <a:pt x="908" y="5176"/>
                    <a:pt x="539" y="4874"/>
                    <a:pt x="337" y="4571"/>
                  </a:cubicBezTo>
                  <a:cubicBezTo>
                    <a:pt x="135" y="4269"/>
                    <a:pt x="35" y="3933"/>
                    <a:pt x="35" y="3597"/>
                  </a:cubicBezTo>
                  <a:cubicBezTo>
                    <a:pt x="68" y="3294"/>
                    <a:pt x="203" y="2958"/>
                    <a:pt x="471" y="2622"/>
                  </a:cubicBezTo>
                  <a:cubicBezTo>
                    <a:pt x="707" y="2320"/>
                    <a:pt x="1043" y="1983"/>
                    <a:pt x="1480" y="1715"/>
                  </a:cubicBezTo>
                  <a:lnTo>
                    <a:pt x="1" y="841"/>
                  </a:lnTo>
                  <a:lnTo>
                    <a:pt x="841" y="337"/>
                  </a:lnTo>
                  <a:lnTo>
                    <a:pt x="2320" y="1210"/>
                  </a:lnTo>
                  <a:cubicBezTo>
                    <a:pt x="2992" y="841"/>
                    <a:pt x="3731" y="605"/>
                    <a:pt x="4471" y="404"/>
                  </a:cubicBezTo>
                  <a:cubicBezTo>
                    <a:pt x="5210" y="202"/>
                    <a:pt x="5916" y="101"/>
                    <a:pt x="6622" y="1"/>
                  </a:cubicBezTo>
                  <a:lnTo>
                    <a:pt x="7361" y="1479"/>
                  </a:lnTo>
                  <a:cubicBezTo>
                    <a:pt x="7227" y="1446"/>
                    <a:pt x="7025" y="1479"/>
                    <a:pt x="6790" y="1513"/>
                  </a:cubicBezTo>
                  <a:cubicBezTo>
                    <a:pt x="6521" y="1547"/>
                    <a:pt x="6252" y="1580"/>
                    <a:pt x="5916" y="1647"/>
                  </a:cubicBezTo>
                  <a:cubicBezTo>
                    <a:pt x="5614" y="1715"/>
                    <a:pt x="5277" y="1815"/>
                    <a:pt x="4941" y="1916"/>
                  </a:cubicBezTo>
                  <a:cubicBezTo>
                    <a:pt x="4605" y="2017"/>
                    <a:pt x="4269" y="2151"/>
                    <a:pt x="3967" y="2286"/>
                  </a:cubicBezTo>
                  <a:lnTo>
                    <a:pt x="6454" y="3731"/>
                  </a:lnTo>
                  <a:lnTo>
                    <a:pt x="6924" y="3597"/>
                  </a:lnTo>
                  <a:cubicBezTo>
                    <a:pt x="7563" y="3361"/>
                    <a:pt x="8134" y="3193"/>
                    <a:pt x="8706" y="3025"/>
                  </a:cubicBezTo>
                  <a:cubicBezTo>
                    <a:pt x="9277" y="2891"/>
                    <a:pt x="9815" y="2790"/>
                    <a:pt x="10319" y="2756"/>
                  </a:cubicBezTo>
                  <a:cubicBezTo>
                    <a:pt x="10857" y="2723"/>
                    <a:pt x="11327" y="2790"/>
                    <a:pt x="11831" y="2857"/>
                  </a:cubicBezTo>
                  <a:cubicBezTo>
                    <a:pt x="12302" y="2958"/>
                    <a:pt x="12772" y="3160"/>
                    <a:pt x="13243" y="3429"/>
                  </a:cubicBezTo>
                  <a:cubicBezTo>
                    <a:pt x="13780" y="3731"/>
                    <a:pt x="14150" y="4067"/>
                    <a:pt x="14318" y="4370"/>
                  </a:cubicBezTo>
                  <a:cubicBezTo>
                    <a:pt x="14520" y="4706"/>
                    <a:pt x="14587" y="5042"/>
                    <a:pt x="14486" y="5378"/>
                  </a:cubicBezTo>
                  <a:cubicBezTo>
                    <a:pt x="14419" y="5680"/>
                    <a:pt x="14217" y="6016"/>
                    <a:pt x="13915" y="6319"/>
                  </a:cubicBezTo>
                  <a:cubicBezTo>
                    <a:pt x="13612" y="6655"/>
                    <a:pt x="13243" y="6958"/>
                    <a:pt x="12772" y="7226"/>
                  </a:cubicBezTo>
                  <a:close/>
                  <a:moveTo>
                    <a:pt x="8538" y="4941"/>
                  </a:moveTo>
                  <a:lnTo>
                    <a:pt x="10857" y="6285"/>
                  </a:lnTo>
                  <a:cubicBezTo>
                    <a:pt x="11865" y="5680"/>
                    <a:pt x="12033" y="5176"/>
                    <a:pt x="11327" y="4773"/>
                  </a:cubicBezTo>
                  <a:cubicBezTo>
                    <a:pt x="11025" y="4605"/>
                    <a:pt x="10621" y="4504"/>
                    <a:pt x="10184" y="4571"/>
                  </a:cubicBezTo>
                  <a:cubicBezTo>
                    <a:pt x="9714" y="4605"/>
                    <a:pt x="9176" y="4739"/>
                    <a:pt x="8538" y="4941"/>
                  </a:cubicBezTo>
                  <a:close/>
                  <a:moveTo>
                    <a:pt x="4202" y="4336"/>
                  </a:moveTo>
                  <a:cubicBezTo>
                    <a:pt x="4605" y="4302"/>
                    <a:pt x="5109" y="4168"/>
                    <a:pt x="5681" y="4000"/>
                  </a:cubicBezTo>
                  <a:lnTo>
                    <a:pt x="3328" y="2622"/>
                  </a:lnTo>
                  <a:cubicBezTo>
                    <a:pt x="2488" y="3193"/>
                    <a:pt x="2421" y="3697"/>
                    <a:pt x="3127" y="4101"/>
                  </a:cubicBezTo>
                  <a:cubicBezTo>
                    <a:pt x="3463" y="4269"/>
                    <a:pt x="3799" y="4370"/>
                    <a:pt x="4202" y="4336"/>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76" name="Google Shape;3571;p49"/>
            <p:cNvSpPr/>
            <p:nvPr/>
          </p:nvSpPr>
          <p:spPr>
            <a:xfrm>
              <a:off x="-25746700" y="11366775"/>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77" name="Google Shape;3572;p49"/>
            <p:cNvSpPr/>
            <p:nvPr/>
          </p:nvSpPr>
          <p:spPr>
            <a:xfrm>
              <a:off x="-25722325" y="11408800"/>
              <a:ext cx="0" cy="215950"/>
            </a:xfrm>
            <a:custGeom>
              <a:avLst/>
              <a:gdLst/>
              <a:ahLst/>
              <a:cxnLst/>
              <a:rect l="l" t="t" r="r" b="b"/>
              <a:pathLst>
                <a:path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78" name="Google Shape;3573;p49"/>
            <p:cNvSpPr/>
            <p:nvPr/>
          </p:nvSpPr>
          <p:spPr>
            <a:xfrm>
              <a:off x="-25697975" y="114516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79" name="Google Shape;3574;p49"/>
            <p:cNvSpPr/>
            <p:nvPr/>
          </p:nvSpPr>
          <p:spPr>
            <a:xfrm>
              <a:off x="-25674450" y="1149365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80" name="Google Shape;3575;p49"/>
            <p:cNvSpPr/>
            <p:nvPr/>
          </p:nvSpPr>
          <p:spPr>
            <a:xfrm>
              <a:off x="-25650075" y="114886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81" name="Google Shape;3576;p49"/>
            <p:cNvSpPr/>
            <p:nvPr/>
          </p:nvSpPr>
          <p:spPr>
            <a:xfrm>
              <a:off x="-25616475" y="11500375"/>
              <a:ext cx="25" cy="215950"/>
            </a:xfrm>
            <a:custGeom>
              <a:avLst/>
              <a:gdLst/>
              <a:ahLst/>
              <a:cxnLst/>
              <a:rect l="l" t="t" r="r" b="b"/>
              <a:pathLst>
                <a:path w="1" h="8638"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82" name="Google Shape;3577;p49"/>
            <p:cNvSpPr/>
            <p:nvPr/>
          </p:nvSpPr>
          <p:spPr>
            <a:xfrm>
              <a:off x="-25583700" y="11512150"/>
              <a:ext cx="25" cy="215950"/>
            </a:xfrm>
            <a:custGeom>
              <a:avLst/>
              <a:gdLst/>
              <a:ahLst/>
              <a:cxnLst/>
              <a:rect l="l" t="t" r="r" b="b"/>
              <a:pathLst>
                <a:path w="1" h="8638" fill="none" extrusionOk="0">
                  <a:moveTo>
                    <a:pt x="0" y="0"/>
                  </a:moveTo>
                  <a:lnTo>
                    <a:pt x="0"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83" name="Google Shape;3578;p49"/>
            <p:cNvSpPr/>
            <p:nvPr/>
          </p:nvSpPr>
          <p:spPr>
            <a:xfrm>
              <a:off x="-25550100" y="11523900"/>
              <a:ext cx="25" cy="215125"/>
            </a:xfrm>
            <a:custGeom>
              <a:avLst/>
              <a:gdLst/>
              <a:ahLst/>
              <a:cxnLst/>
              <a:rect l="l" t="t" r="r" b="b"/>
              <a:pathLst>
                <a:path w="1" h="8605" fill="none" extrusionOk="0">
                  <a:moveTo>
                    <a:pt x="1" y="1"/>
                  </a:moveTo>
                  <a:lnTo>
                    <a:pt x="1"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84" name="Google Shape;3579;p49"/>
            <p:cNvSpPr/>
            <p:nvPr/>
          </p:nvSpPr>
          <p:spPr>
            <a:xfrm>
              <a:off x="-25516475" y="1153482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85" name="Google Shape;3580;p49"/>
            <p:cNvSpPr/>
            <p:nvPr/>
          </p:nvSpPr>
          <p:spPr>
            <a:xfrm>
              <a:off x="-25483725" y="1154657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86" name="Google Shape;3581;p49"/>
            <p:cNvSpPr/>
            <p:nvPr/>
          </p:nvSpPr>
          <p:spPr>
            <a:xfrm>
              <a:off x="-25450100" y="11558350"/>
              <a:ext cx="25" cy="215125"/>
            </a:xfrm>
            <a:custGeom>
              <a:avLst/>
              <a:gdLst/>
              <a:ahLst/>
              <a:cxnLst/>
              <a:rect l="l" t="t" r="r" b="b"/>
              <a:pathLst>
                <a:path w="1" h="8605" fill="none" extrusionOk="0">
                  <a:moveTo>
                    <a:pt x="0" y="1"/>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87" name="Google Shape;3582;p49"/>
            <p:cNvSpPr/>
            <p:nvPr/>
          </p:nvSpPr>
          <p:spPr>
            <a:xfrm>
              <a:off x="-25417350" y="115692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88" name="Google Shape;3583;p49"/>
            <p:cNvSpPr/>
            <p:nvPr/>
          </p:nvSpPr>
          <p:spPr>
            <a:xfrm>
              <a:off x="-25383725" y="115810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89" name="Google Shape;3584;p49"/>
            <p:cNvSpPr/>
            <p:nvPr/>
          </p:nvSpPr>
          <p:spPr>
            <a:xfrm>
              <a:off x="-25350950" y="11592800"/>
              <a:ext cx="0" cy="215950"/>
            </a:xfrm>
            <a:custGeom>
              <a:avLst/>
              <a:gdLst/>
              <a:ahLst/>
              <a:cxnLst/>
              <a:rect l="l" t="t" r="r" b="b"/>
              <a:pathLst>
                <a:path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90" name="Google Shape;3585;p49"/>
            <p:cNvSpPr/>
            <p:nvPr/>
          </p:nvSpPr>
          <p:spPr>
            <a:xfrm>
              <a:off x="-25317350" y="115726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91" name="Google Shape;3586;p49"/>
            <p:cNvSpPr/>
            <p:nvPr/>
          </p:nvSpPr>
          <p:spPr>
            <a:xfrm>
              <a:off x="-25285425" y="115692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92" name="Google Shape;3587;p49"/>
            <p:cNvSpPr/>
            <p:nvPr/>
          </p:nvSpPr>
          <p:spPr>
            <a:xfrm>
              <a:off x="-25252650" y="115659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93" name="Google Shape;3588;p49"/>
            <p:cNvSpPr/>
            <p:nvPr/>
          </p:nvSpPr>
          <p:spPr>
            <a:xfrm>
              <a:off x="-25220725" y="11563400"/>
              <a:ext cx="25" cy="215100"/>
            </a:xfrm>
            <a:custGeom>
              <a:avLst/>
              <a:gdLst/>
              <a:ahLst/>
              <a:cxnLst/>
              <a:rect l="l" t="t" r="r" b="b"/>
              <a:pathLst>
                <a:path w="1" h="8604"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94" name="Google Shape;3589;p49"/>
            <p:cNvSpPr/>
            <p:nvPr/>
          </p:nvSpPr>
          <p:spPr>
            <a:xfrm>
              <a:off x="-25187950" y="115600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95" name="Google Shape;3590;p49"/>
            <p:cNvSpPr/>
            <p:nvPr/>
          </p:nvSpPr>
          <p:spPr>
            <a:xfrm>
              <a:off x="-25156025" y="115566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96" name="Google Shape;3591;p49"/>
            <p:cNvSpPr/>
            <p:nvPr/>
          </p:nvSpPr>
          <p:spPr>
            <a:xfrm>
              <a:off x="-25124100" y="1155330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97" name="Google Shape;3592;p49"/>
            <p:cNvSpPr/>
            <p:nvPr/>
          </p:nvSpPr>
          <p:spPr>
            <a:xfrm>
              <a:off x="-25091325" y="1154995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98" name="Google Shape;3593;p49"/>
            <p:cNvSpPr/>
            <p:nvPr/>
          </p:nvSpPr>
          <p:spPr>
            <a:xfrm>
              <a:off x="-25060250" y="114953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099" name="Google Shape;3594;p49"/>
            <p:cNvSpPr/>
            <p:nvPr/>
          </p:nvSpPr>
          <p:spPr>
            <a:xfrm>
              <a:off x="-25028325" y="1143987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00" name="Google Shape;3595;p49"/>
            <p:cNvSpPr/>
            <p:nvPr/>
          </p:nvSpPr>
          <p:spPr>
            <a:xfrm>
              <a:off x="-24996400" y="114113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01" name="Google Shape;3596;p49"/>
            <p:cNvSpPr/>
            <p:nvPr/>
          </p:nvSpPr>
          <p:spPr>
            <a:xfrm>
              <a:off x="-24963625" y="1141887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02" name="Google Shape;3597;p49"/>
            <p:cNvSpPr/>
            <p:nvPr/>
          </p:nvSpPr>
          <p:spPr>
            <a:xfrm>
              <a:off x="-24931700" y="11426425"/>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03" name="Google Shape;3598;p49"/>
            <p:cNvSpPr/>
            <p:nvPr/>
          </p:nvSpPr>
          <p:spPr>
            <a:xfrm>
              <a:off x="-24906475" y="11369300"/>
              <a:ext cx="0" cy="215950"/>
            </a:xfrm>
            <a:custGeom>
              <a:avLst/>
              <a:gdLst/>
              <a:ahLst/>
              <a:cxnLst/>
              <a:rect l="l" t="t" r="r" b="b"/>
              <a:pathLst>
                <a:path h="8638"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04" name="Google Shape;3599;p49"/>
            <p:cNvSpPr/>
            <p:nvPr/>
          </p:nvSpPr>
          <p:spPr>
            <a:xfrm>
              <a:off x="-25765175" y="11142450"/>
              <a:ext cx="863750" cy="339475"/>
            </a:xfrm>
            <a:custGeom>
              <a:avLst/>
              <a:gdLst/>
              <a:ahLst/>
              <a:cxnLst/>
              <a:rect l="l" t="t" r="r" b="b"/>
              <a:pathLst>
                <a:path w="34550" h="13579" extrusionOk="0">
                  <a:moveTo>
                    <a:pt x="34550" y="235"/>
                  </a:moveTo>
                  <a:cubicBezTo>
                    <a:pt x="34550" y="572"/>
                    <a:pt x="34516" y="908"/>
                    <a:pt x="34449" y="1244"/>
                  </a:cubicBezTo>
                  <a:cubicBezTo>
                    <a:pt x="34382" y="1580"/>
                    <a:pt x="34281" y="1882"/>
                    <a:pt x="34180" y="2218"/>
                  </a:cubicBezTo>
                  <a:cubicBezTo>
                    <a:pt x="34046" y="2554"/>
                    <a:pt x="33877" y="2857"/>
                    <a:pt x="33709" y="3193"/>
                  </a:cubicBezTo>
                  <a:cubicBezTo>
                    <a:pt x="33508" y="3529"/>
                    <a:pt x="33273" y="3899"/>
                    <a:pt x="33004" y="4235"/>
                  </a:cubicBezTo>
                  <a:cubicBezTo>
                    <a:pt x="32701" y="4638"/>
                    <a:pt x="32331" y="5008"/>
                    <a:pt x="31928" y="5378"/>
                  </a:cubicBezTo>
                  <a:cubicBezTo>
                    <a:pt x="31323" y="5949"/>
                    <a:pt x="30584" y="6487"/>
                    <a:pt x="29744" y="6991"/>
                  </a:cubicBezTo>
                  <a:cubicBezTo>
                    <a:pt x="29676" y="7058"/>
                    <a:pt x="29609" y="7092"/>
                    <a:pt x="29542" y="7125"/>
                  </a:cubicBezTo>
                  <a:cubicBezTo>
                    <a:pt x="28399" y="7797"/>
                    <a:pt x="27122" y="8369"/>
                    <a:pt x="25744" y="8806"/>
                  </a:cubicBezTo>
                  <a:cubicBezTo>
                    <a:pt x="24702" y="9142"/>
                    <a:pt x="23627" y="9411"/>
                    <a:pt x="22484" y="9612"/>
                  </a:cubicBezTo>
                  <a:cubicBezTo>
                    <a:pt x="21778" y="9747"/>
                    <a:pt x="21039" y="9848"/>
                    <a:pt x="20300" y="9915"/>
                  </a:cubicBezTo>
                  <a:cubicBezTo>
                    <a:pt x="19661" y="9982"/>
                    <a:pt x="19022" y="10016"/>
                    <a:pt x="18384" y="10049"/>
                  </a:cubicBezTo>
                  <a:cubicBezTo>
                    <a:pt x="17779" y="10049"/>
                    <a:pt x="17174" y="10049"/>
                    <a:pt x="16603" y="10049"/>
                  </a:cubicBezTo>
                  <a:cubicBezTo>
                    <a:pt x="16031" y="10049"/>
                    <a:pt x="15460" y="10016"/>
                    <a:pt x="14889" y="9948"/>
                  </a:cubicBezTo>
                  <a:cubicBezTo>
                    <a:pt x="14351" y="9915"/>
                    <a:pt x="13780" y="9848"/>
                    <a:pt x="13208" y="9780"/>
                  </a:cubicBezTo>
                  <a:cubicBezTo>
                    <a:pt x="12637" y="9680"/>
                    <a:pt x="12065" y="9579"/>
                    <a:pt x="11528" y="9478"/>
                  </a:cubicBezTo>
                  <a:cubicBezTo>
                    <a:pt x="10889" y="9343"/>
                    <a:pt x="10318" y="9209"/>
                    <a:pt x="9713" y="9041"/>
                  </a:cubicBezTo>
                  <a:cubicBezTo>
                    <a:pt x="9007" y="8806"/>
                    <a:pt x="8301" y="8570"/>
                    <a:pt x="7629" y="8335"/>
                  </a:cubicBezTo>
                  <a:cubicBezTo>
                    <a:pt x="6755" y="7965"/>
                    <a:pt x="5915" y="7562"/>
                    <a:pt x="5142" y="7125"/>
                  </a:cubicBezTo>
                  <a:cubicBezTo>
                    <a:pt x="1714" y="5176"/>
                    <a:pt x="34" y="2588"/>
                    <a:pt x="34" y="0"/>
                  </a:cubicBezTo>
                  <a:lnTo>
                    <a:pt x="34" y="3529"/>
                  </a:lnTo>
                  <a:cubicBezTo>
                    <a:pt x="0" y="6083"/>
                    <a:pt x="1714" y="8671"/>
                    <a:pt x="5109" y="10654"/>
                  </a:cubicBezTo>
                  <a:cubicBezTo>
                    <a:pt x="5882" y="11091"/>
                    <a:pt x="6722" y="11494"/>
                    <a:pt x="7596" y="11830"/>
                  </a:cubicBezTo>
                  <a:cubicBezTo>
                    <a:pt x="8301" y="12099"/>
                    <a:pt x="8974" y="12335"/>
                    <a:pt x="9713" y="12536"/>
                  </a:cubicBezTo>
                  <a:cubicBezTo>
                    <a:pt x="10284" y="12704"/>
                    <a:pt x="10889" y="12872"/>
                    <a:pt x="11494" y="12973"/>
                  </a:cubicBezTo>
                  <a:cubicBezTo>
                    <a:pt x="12065" y="13108"/>
                    <a:pt x="12637" y="13208"/>
                    <a:pt x="13208" y="13276"/>
                  </a:cubicBezTo>
                  <a:cubicBezTo>
                    <a:pt x="13780" y="13376"/>
                    <a:pt x="14317" y="13410"/>
                    <a:pt x="14889" y="13477"/>
                  </a:cubicBezTo>
                  <a:cubicBezTo>
                    <a:pt x="15460" y="13511"/>
                    <a:pt x="16031" y="13545"/>
                    <a:pt x="16603" y="13578"/>
                  </a:cubicBezTo>
                  <a:cubicBezTo>
                    <a:pt x="17174" y="13578"/>
                    <a:pt x="17779" y="13578"/>
                    <a:pt x="18350" y="13545"/>
                  </a:cubicBezTo>
                  <a:cubicBezTo>
                    <a:pt x="18989" y="13545"/>
                    <a:pt x="19627" y="13477"/>
                    <a:pt x="20266" y="13444"/>
                  </a:cubicBezTo>
                  <a:cubicBezTo>
                    <a:pt x="21005" y="13343"/>
                    <a:pt x="21745" y="13242"/>
                    <a:pt x="22484" y="13108"/>
                  </a:cubicBezTo>
                  <a:cubicBezTo>
                    <a:pt x="23593" y="12906"/>
                    <a:pt x="24702" y="12637"/>
                    <a:pt x="25744" y="12301"/>
                  </a:cubicBezTo>
                  <a:cubicBezTo>
                    <a:pt x="27089" y="11864"/>
                    <a:pt x="28366" y="11326"/>
                    <a:pt x="29542" y="10654"/>
                  </a:cubicBezTo>
                  <a:cubicBezTo>
                    <a:pt x="29609" y="10587"/>
                    <a:pt x="29676" y="10553"/>
                    <a:pt x="29744" y="10520"/>
                  </a:cubicBezTo>
                  <a:cubicBezTo>
                    <a:pt x="30584" y="10016"/>
                    <a:pt x="31323" y="9478"/>
                    <a:pt x="31928" y="8907"/>
                  </a:cubicBezTo>
                  <a:cubicBezTo>
                    <a:pt x="32331" y="8537"/>
                    <a:pt x="32701" y="8134"/>
                    <a:pt x="33004" y="7730"/>
                  </a:cubicBezTo>
                  <a:cubicBezTo>
                    <a:pt x="33273" y="7394"/>
                    <a:pt x="33508" y="7058"/>
                    <a:pt x="33709" y="6722"/>
                  </a:cubicBezTo>
                  <a:cubicBezTo>
                    <a:pt x="33877" y="6386"/>
                    <a:pt x="34046" y="6050"/>
                    <a:pt x="34146" y="5714"/>
                  </a:cubicBezTo>
                  <a:cubicBezTo>
                    <a:pt x="34281" y="5411"/>
                    <a:pt x="34382" y="5075"/>
                    <a:pt x="34415" y="4773"/>
                  </a:cubicBezTo>
                  <a:cubicBezTo>
                    <a:pt x="34482" y="4437"/>
                    <a:pt x="34550" y="4100"/>
                    <a:pt x="34550" y="3764"/>
                  </a:cubicBezTo>
                  <a:cubicBezTo>
                    <a:pt x="34550" y="3731"/>
                    <a:pt x="34550" y="3664"/>
                    <a:pt x="34550" y="3630"/>
                  </a:cubicBezTo>
                  <a:lnTo>
                    <a:pt x="34550" y="101"/>
                  </a:lnTo>
                  <a:cubicBezTo>
                    <a:pt x="34550" y="135"/>
                    <a:pt x="34550" y="202"/>
                    <a:pt x="34550" y="235"/>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05" name="Google Shape;3600;p49"/>
            <p:cNvSpPr/>
            <p:nvPr/>
          </p:nvSpPr>
          <p:spPr>
            <a:xfrm>
              <a:off x="-25807200" y="10869375"/>
              <a:ext cx="948625" cy="548675"/>
            </a:xfrm>
            <a:custGeom>
              <a:avLst/>
              <a:gdLst/>
              <a:ahLst/>
              <a:cxnLst/>
              <a:rect l="l" t="t" r="r" b="b"/>
              <a:pathLst>
                <a:path w="37945" h="21947" extrusionOk="0">
                  <a:moveTo>
                    <a:pt x="31156" y="3899"/>
                  </a:moveTo>
                  <a:cubicBezTo>
                    <a:pt x="37911" y="7798"/>
                    <a:pt x="37945" y="14150"/>
                    <a:pt x="31223" y="18048"/>
                  </a:cubicBezTo>
                  <a:cubicBezTo>
                    <a:pt x="24501" y="21947"/>
                    <a:pt x="13578" y="21947"/>
                    <a:pt x="6790" y="18048"/>
                  </a:cubicBezTo>
                  <a:cubicBezTo>
                    <a:pt x="34" y="14150"/>
                    <a:pt x="1" y="7831"/>
                    <a:pt x="6722" y="3899"/>
                  </a:cubicBezTo>
                  <a:cubicBezTo>
                    <a:pt x="13444" y="0"/>
                    <a:pt x="24367" y="0"/>
                    <a:pt x="31156" y="389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06" name="Google Shape;3601;p49"/>
            <p:cNvSpPr/>
            <p:nvPr/>
          </p:nvSpPr>
          <p:spPr>
            <a:xfrm>
              <a:off x="-25747550" y="10903825"/>
              <a:ext cx="829325" cy="479775"/>
            </a:xfrm>
            <a:custGeom>
              <a:avLst/>
              <a:gdLst/>
              <a:ahLst/>
              <a:cxnLst/>
              <a:rect l="l" t="t" r="r" b="b"/>
              <a:pathLst>
                <a:path w="33173" h="19191" extrusionOk="0">
                  <a:moveTo>
                    <a:pt x="27224" y="3428"/>
                  </a:moveTo>
                  <a:cubicBezTo>
                    <a:pt x="33139" y="6823"/>
                    <a:pt x="33172" y="12368"/>
                    <a:pt x="27291" y="15796"/>
                  </a:cubicBezTo>
                  <a:cubicBezTo>
                    <a:pt x="21409" y="19191"/>
                    <a:pt x="11865" y="19191"/>
                    <a:pt x="5950" y="15796"/>
                  </a:cubicBezTo>
                  <a:cubicBezTo>
                    <a:pt x="34" y="12368"/>
                    <a:pt x="1" y="6823"/>
                    <a:pt x="5882" y="3428"/>
                  </a:cubicBezTo>
                  <a:cubicBezTo>
                    <a:pt x="11764" y="0"/>
                    <a:pt x="21309" y="0"/>
                    <a:pt x="27224" y="3428"/>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07" name="Google Shape;3602;p49"/>
            <p:cNvSpPr/>
            <p:nvPr/>
          </p:nvSpPr>
          <p:spPr>
            <a:xfrm>
              <a:off x="-25518175" y="11015575"/>
              <a:ext cx="364700" cy="227725"/>
            </a:xfrm>
            <a:custGeom>
              <a:avLst/>
              <a:gdLst/>
              <a:ahLst/>
              <a:cxnLst/>
              <a:rect l="l" t="t" r="r" b="b"/>
              <a:pathLst>
                <a:path w="14588" h="9109" extrusionOk="0">
                  <a:moveTo>
                    <a:pt x="12772" y="7226"/>
                  </a:moveTo>
                  <a:lnTo>
                    <a:pt x="14385" y="8134"/>
                  </a:lnTo>
                  <a:lnTo>
                    <a:pt x="13512" y="8638"/>
                  </a:lnTo>
                  <a:lnTo>
                    <a:pt x="11898" y="7730"/>
                  </a:lnTo>
                  <a:cubicBezTo>
                    <a:pt x="11193" y="8066"/>
                    <a:pt x="10386" y="8369"/>
                    <a:pt x="9512" y="8604"/>
                  </a:cubicBezTo>
                  <a:cubicBezTo>
                    <a:pt x="8638" y="8873"/>
                    <a:pt x="7765" y="9041"/>
                    <a:pt x="6891" y="9108"/>
                  </a:cubicBezTo>
                  <a:lnTo>
                    <a:pt x="6050" y="7596"/>
                  </a:lnTo>
                  <a:cubicBezTo>
                    <a:pt x="6185" y="7596"/>
                    <a:pt x="6454" y="7596"/>
                    <a:pt x="6756" y="7562"/>
                  </a:cubicBezTo>
                  <a:cubicBezTo>
                    <a:pt x="7059" y="7529"/>
                    <a:pt x="7395" y="7461"/>
                    <a:pt x="7798" y="7361"/>
                  </a:cubicBezTo>
                  <a:cubicBezTo>
                    <a:pt x="8168" y="7293"/>
                    <a:pt x="8605" y="7193"/>
                    <a:pt x="9008" y="7058"/>
                  </a:cubicBezTo>
                  <a:cubicBezTo>
                    <a:pt x="9445" y="6924"/>
                    <a:pt x="9848" y="6789"/>
                    <a:pt x="10218" y="6588"/>
                  </a:cubicBezTo>
                  <a:lnTo>
                    <a:pt x="7731" y="5176"/>
                  </a:lnTo>
                  <a:cubicBezTo>
                    <a:pt x="7630" y="5210"/>
                    <a:pt x="7529" y="5243"/>
                    <a:pt x="7428" y="5277"/>
                  </a:cubicBezTo>
                  <a:cubicBezTo>
                    <a:pt x="7294" y="5310"/>
                    <a:pt x="7193" y="5344"/>
                    <a:pt x="7059" y="5378"/>
                  </a:cubicBezTo>
                  <a:cubicBezTo>
                    <a:pt x="6454" y="5579"/>
                    <a:pt x="5882" y="5747"/>
                    <a:pt x="5345" y="5882"/>
                  </a:cubicBezTo>
                  <a:cubicBezTo>
                    <a:pt x="4841" y="5983"/>
                    <a:pt x="4336" y="6050"/>
                    <a:pt x="3900" y="6050"/>
                  </a:cubicBezTo>
                  <a:cubicBezTo>
                    <a:pt x="3429" y="6083"/>
                    <a:pt x="2992" y="6050"/>
                    <a:pt x="2589" y="5949"/>
                  </a:cubicBezTo>
                  <a:cubicBezTo>
                    <a:pt x="2185" y="5848"/>
                    <a:pt x="1782" y="5680"/>
                    <a:pt x="1379" y="5445"/>
                  </a:cubicBezTo>
                  <a:cubicBezTo>
                    <a:pt x="908" y="5176"/>
                    <a:pt x="539" y="4874"/>
                    <a:pt x="337" y="4571"/>
                  </a:cubicBezTo>
                  <a:cubicBezTo>
                    <a:pt x="135" y="4235"/>
                    <a:pt x="35" y="3933"/>
                    <a:pt x="35" y="3596"/>
                  </a:cubicBezTo>
                  <a:cubicBezTo>
                    <a:pt x="68" y="3260"/>
                    <a:pt x="203" y="2924"/>
                    <a:pt x="471" y="2622"/>
                  </a:cubicBezTo>
                  <a:cubicBezTo>
                    <a:pt x="707" y="2286"/>
                    <a:pt x="1043" y="1983"/>
                    <a:pt x="1480" y="1681"/>
                  </a:cubicBezTo>
                  <a:lnTo>
                    <a:pt x="1" y="841"/>
                  </a:lnTo>
                  <a:lnTo>
                    <a:pt x="841" y="336"/>
                  </a:lnTo>
                  <a:lnTo>
                    <a:pt x="2320" y="1177"/>
                  </a:lnTo>
                  <a:cubicBezTo>
                    <a:pt x="2992" y="841"/>
                    <a:pt x="3731" y="572"/>
                    <a:pt x="4471" y="404"/>
                  </a:cubicBezTo>
                  <a:cubicBezTo>
                    <a:pt x="5210" y="202"/>
                    <a:pt x="5916" y="68"/>
                    <a:pt x="6622" y="0"/>
                  </a:cubicBezTo>
                  <a:lnTo>
                    <a:pt x="7361" y="1445"/>
                  </a:lnTo>
                  <a:cubicBezTo>
                    <a:pt x="7227" y="1445"/>
                    <a:pt x="7025" y="1445"/>
                    <a:pt x="6790" y="1479"/>
                  </a:cubicBezTo>
                  <a:cubicBezTo>
                    <a:pt x="6521" y="1546"/>
                    <a:pt x="6252" y="1580"/>
                    <a:pt x="5916" y="1647"/>
                  </a:cubicBezTo>
                  <a:cubicBezTo>
                    <a:pt x="5614" y="1714"/>
                    <a:pt x="5277" y="1815"/>
                    <a:pt x="4941" y="1916"/>
                  </a:cubicBezTo>
                  <a:cubicBezTo>
                    <a:pt x="4605" y="2017"/>
                    <a:pt x="4269" y="2118"/>
                    <a:pt x="3967" y="2286"/>
                  </a:cubicBezTo>
                  <a:lnTo>
                    <a:pt x="6454" y="3731"/>
                  </a:lnTo>
                  <a:lnTo>
                    <a:pt x="6924" y="3563"/>
                  </a:lnTo>
                  <a:cubicBezTo>
                    <a:pt x="7563" y="3361"/>
                    <a:pt x="8134" y="3193"/>
                    <a:pt x="8706" y="3025"/>
                  </a:cubicBezTo>
                  <a:cubicBezTo>
                    <a:pt x="9277" y="2891"/>
                    <a:pt x="9815" y="2790"/>
                    <a:pt x="10319" y="2756"/>
                  </a:cubicBezTo>
                  <a:cubicBezTo>
                    <a:pt x="10857" y="2723"/>
                    <a:pt x="11327" y="2756"/>
                    <a:pt x="11831" y="2857"/>
                  </a:cubicBezTo>
                  <a:cubicBezTo>
                    <a:pt x="12302" y="2958"/>
                    <a:pt x="12772" y="3126"/>
                    <a:pt x="13243" y="3428"/>
                  </a:cubicBezTo>
                  <a:cubicBezTo>
                    <a:pt x="13780" y="3731"/>
                    <a:pt x="14150" y="4033"/>
                    <a:pt x="14318" y="4369"/>
                  </a:cubicBezTo>
                  <a:cubicBezTo>
                    <a:pt x="14520" y="4706"/>
                    <a:pt x="14587" y="5008"/>
                    <a:pt x="14486" y="5344"/>
                  </a:cubicBezTo>
                  <a:cubicBezTo>
                    <a:pt x="14419" y="5680"/>
                    <a:pt x="14217" y="6016"/>
                    <a:pt x="13915" y="6319"/>
                  </a:cubicBezTo>
                  <a:cubicBezTo>
                    <a:pt x="13612" y="6621"/>
                    <a:pt x="13243" y="6924"/>
                    <a:pt x="12772" y="7226"/>
                  </a:cubicBezTo>
                  <a:close/>
                  <a:moveTo>
                    <a:pt x="8538" y="4907"/>
                  </a:moveTo>
                  <a:lnTo>
                    <a:pt x="10857" y="6252"/>
                  </a:lnTo>
                  <a:cubicBezTo>
                    <a:pt x="11865" y="5647"/>
                    <a:pt x="12033" y="5142"/>
                    <a:pt x="11327" y="4773"/>
                  </a:cubicBezTo>
                  <a:cubicBezTo>
                    <a:pt x="11025" y="4571"/>
                    <a:pt x="10621" y="4504"/>
                    <a:pt x="10184" y="4571"/>
                  </a:cubicBezTo>
                  <a:cubicBezTo>
                    <a:pt x="9714" y="4605"/>
                    <a:pt x="9176" y="4739"/>
                    <a:pt x="8538" y="4907"/>
                  </a:cubicBezTo>
                  <a:close/>
                  <a:moveTo>
                    <a:pt x="4202" y="4302"/>
                  </a:moveTo>
                  <a:cubicBezTo>
                    <a:pt x="4605" y="4269"/>
                    <a:pt x="5109" y="4168"/>
                    <a:pt x="5681" y="3966"/>
                  </a:cubicBezTo>
                  <a:lnTo>
                    <a:pt x="3328" y="2622"/>
                  </a:lnTo>
                  <a:cubicBezTo>
                    <a:pt x="2488" y="3193"/>
                    <a:pt x="2421" y="3664"/>
                    <a:pt x="3127" y="4067"/>
                  </a:cubicBezTo>
                  <a:cubicBezTo>
                    <a:pt x="3463" y="4269"/>
                    <a:pt x="3799" y="4336"/>
                    <a:pt x="4202" y="4302"/>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08" name="Google Shape;3603;p49"/>
            <p:cNvSpPr/>
            <p:nvPr/>
          </p:nvSpPr>
          <p:spPr>
            <a:xfrm>
              <a:off x="-25746700" y="1115167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09" name="Google Shape;3604;p49"/>
            <p:cNvSpPr/>
            <p:nvPr/>
          </p:nvSpPr>
          <p:spPr>
            <a:xfrm>
              <a:off x="-25722325" y="11194525"/>
              <a:ext cx="0" cy="215975"/>
            </a:xfrm>
            <a:custGeom>
              <a:avLst/>
              <a:gdLst/>
              <a:ahLst/>
              <a:cxnLst/>
              <a:rect l="l" t="t" r="r" b="b"/>
              <a:pathLst>
                <a:path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10" name="Google Shape;3605;p49"/>
            <p:cNvSpPr/>
            <p:nvPr/>
          </p:nvSpPr>
          <p:spPr>
            <a:xfrm>
              <a:off x="-25697975" y="1123655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11" name="Google Shape;3606;p49"/>
            <p:cNvSpPr/>
            <p:nvPr/>
          </p:nvSpPr>
          <p:spPr>
            <a:xfrm>
              <a:off x="-25674450" y="11279400"/>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12" name="Google Shape;3607;p49"/>
            <p:cNvSpPr/>
            <p:nvPr/>
          </p:nvSpPr>
          <p:spPr>
            <a:xfrm>
              <a:off x="-25650075" y="112743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13" name="Google Shape;3608;p49"/>
            <p:cNvSpPr/>
            <p:nvPr/>
          </p:nvSpPr>
          <p:spPr>
            <a:xfrm>
              <a:off x="-25616475" y="112861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14" name="Google Shape;3609;p49"/>
            <p:cNvSpPr/>
            <p:nvPr/>
          </p:nvSpPr>
          <p:spPr>
            <a:xfrm>
              <a:off x="-25583700" y="11297875"/>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15" name="Google Shape;3610;p49"/>
            <p:cNvSpPr/>
            <p:nvPr/>
          </p:nvSpPr>
          <p:spPr>
            <a:xfrm>
              <a:off x="-25550100" y="11308800"/>
              <a:ext cx="25" cy="215975"/>
            </a:xfrm>
            <a:custGeom>
              <a:avLst/>
              <a:gdLst/>
              <a:ahLst/>
              <a:cxnLst/>
              <a:rect l="l" t="t" r="r" b="b"/>
              <a:pathLst>
                <a:path w="1" h="8639" fill="none" extrusionOk="0">
                  <a:moveTo>
                    <a:pt x="1" y="1"/>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16" name="Google Shape;3611;p49"/>
            <p:cNvSpPr/>
            <p:nvPr/>
          </p:nvSpPr>
          <p:spPr>
            <a:xfrm>
              <a:off x="-25516475" y="11320575"/>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17" name="Google Shape;3612;p49"/>
            <p:cNvSpPr/>
            <p:nvPr/>
          </p:nvSpPr>
          <p:spPr>
            <a:xfrm>
              <a:off x="-25483725" y="11332325"/>
              <a:ext cx="25" cy="215125"/>
            </a:xfrm>
            <a:custGeom>
              <a:avLst/>
              <a:gdLst/>
              <a:ahLst/>
              <a:cxnLst/>
              <a:rect l="l" t="t" r="r" b="b"/>
              <a:pathLst>
                <a:path w="1" h="8605" fill="none" extrusionOk="0">
                  <a:moveTo>
                    <a:pt x="1" y="1"/>
                  </a:moveTo>
                  <a:lnTo>
                    <a:pt x="1"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18" name="Google Shape;3613;p49"/>
            <p:cNvSpPr/>
            <p:nvPr/>
          </p:nvSpPr>
          <p:spPr>
            <a:xfrm>
              <a:off x="-25450100" y="113432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19" name="Google Shape;3614;p49"/>
            <p:cNvSpPr/>
            <p:nvPr/>
          </p:nvSpPr>
          <p:spPr>
            <a:xfrm>
              <a:off x="-25417350" y="113550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20" name="Google Shape;3615;p49"/>
            <p:cNvSpPr/>
            <p:nvPr/>
          </p:nvSpPr>
          <p:spPr>
            <a:xfrm>
              <a:off x="-25383725" y="11366775"/>
              <a:ext cx="25" cy="215125"/>
            </a:xfrm>
            <a:custGeom>
              <a:avLst/>
              <a:gdLst/>
              <a:ahLst/>
              <a:cxnLst/>
              <a:rect l="l" t="t" r="r" b="b"/>
              <a:pathLst>
                <a:path w="1" h="8605" fill="none" extrusionOk="0">
                  <a:moveTo>
                    <a:pt x="0" y="1"/>
                  </a:moveTo>
                  <a:lnTo>
                    <a:pt x="0"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21" name="Google Shape;3616;p49"/>
            <p:cNvSpPr/>
            <p:nvPr/>
          </p:nvSpPr>
          <p:spPr>
            <a:xfrm>
              <a:off x="-25350950" y="11377700"/>
              <a:ext cx="0" cy="215975"/>
            </a:xfrm>
            <a:custGeom>
              <a:avLst/>
              <a:gdLst/>
              <a:ahLst/>
              <a:cxnLst/>
              <a:rect l="l" t="t" r="r" b="b"/>
              <a:pathLst>
                <a:path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22" name="Google Shape;3617;p49"/>
            <p:cNvSpPr/>
            <p:nvPr/>
          </p:nvSpPr>
          <p:spPr>
            <a:xfrm>
              <a:off x="-25317350" y="11358375"/>
              <a:ext cx="25" cy="215125"/>
            </a:xfrm>
            <a:custGeom>
              <a:avLst/>
              <a:gdLst/>
              <a:ahLst/>
              <a:cxnLst/>
              <a:rect l="l" t="t" r="r" b="b"/>
              <a:pathLst>
                <a:path w="1" h="8605" fill="none" extrusionOk="0">
                  <a:moveTo>
                    <a:pt x="0" y="1"/>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23" name="Google Shape;3618;p49"/>
            <p:cNvSpPr/>
            <p:nvPr/>
          </p:nvSpPr>
          <p:spPr>
            <a:xfrm>
              <a:off x="-25285425" y="113550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24" name="Google Shape;3619;p49"/>
            <p:cNvSpPr/>
            <p:nvPr/>
          </p:nvSpPr>
          <p:spPr>
            <a:xfrm>
              <a:off x="-25252650" y="113516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25" name="Google Shape;3620;p49"/>
            <p:cNvSpPr/>
            <p:nvPr/>
          </p:nvSpPr>
          <p:spPr>
            <a:xfrm>
              <a:off x="-25220725" y="113483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26" name="Google Shape;3621;p49"/>
            <p:cNvSpPr/>
            <p:nvPr/>
          </p:nvSpPr>
          <p:spPr>
            <a:xfrm>
              <a:off x="-25187950" y="11344925"/>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27" name="Google Shape;3622;p49"/>
            <p:cNvSpPr/>
            <p:nvPr/>
          </p:nvSpPr>
          <p:spPr>
            <a:xfrm>
              <a:off x="-25156025" y="11342425"/>
              <a:ext cx="25" cy="215100"/>
            </a:xfrm>
            <a:custGeom>
              <a:avLst/>
              <a:gdLst/>
              <a:ahLst/>
              <a:cxnLst/>
              <a:rect l="l" t="t" r="r" b="b"/>
              <a:pathLst>
                <a:path w="1" h="8604" fill="none" extrusionOk="0">
                  <a:moveTo>
                    <a:pt x="0" y="0"/>
                  </a:moveTo>
                  <a:lnTo>
                    <a:pt x="0" y="8604"/>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28" name="Google Shape;3623;p49"/>
            <p:cNvSpPr/>
            <p:nvPr/>
          </p:nvSpPr>
          <p:spPr>
            <a:xfrm>
              <a:off x="-25124100" y="11339050"/>
              <a:ext cx="25" cy="215975"/>
            </a:xfrm>
            <a:custGeom>
              <a:avLst/>
              <a:gdLst/>
              <a:ahLst/>
              <a:cxnLst/>
              <a:rect l="l" t="t" r="r" b="b"/>
              <a:pathLst>
                <a:path w="1" h="8639" fill="none" extrusionOk="0">
                  <a:moveTo>
                    <a:pt x="0" y="1"/>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29" name="Google Shape;3624;p49"/>
            <p:cNvSpPr/>
            <p:nvPr/>
          </p:nvSpPr>
          <p:spPr>
            <a:xfrm>
              <a:off x="-25091325" y="11335700"/>
              <a:ext cx="25" cy="215950"/>
            </a:xfrm>
            <a:custGeom>
              <a:avLst/>
              <a:gdLst/>
              <a:ahLst/>
              <a:cxnLst/>
              <a:rect l="l" t="t" r="r" b="b"/>
              <a:pathLst>
                <a:path w="1"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30" name="Google Shape;3625;p49"/>
            <p:cNvSpPr/>
            <p:nvPr/>
          </p:nvSpPr>
          <p:spPr>
            <a:xfrm>
              <a:off x="-25060250" y="11280250"/>
              <a:ext cx="25" cy="215950"/>
            </a:xfrm>
            <a:custGeom>
              <a:avLst/>
              <a:gdLst/>
              <a:ahLst/>
              <a:cxnLst/>
              <a:rect l="l" t="t" r="r" b="b"/>
              <a:pathLst>
                <a:path w="1" h="8638" fill="none" extrusionOk="0">
                  <a:moveTo>
                    <a:pt x="1" y="0"/>
                  </a:moveTo>
                  <a:lnTo>
                    <a:pt x="1" y="8637"/>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31" name="Google Shape;3626;p49"/>
            <p:cNvSpPr/>
            <p:nvPr/>
          </p:nvSpPr>
          <p:spPr>
            <a:xfrm>
              <a:off x="-25028325" y="112256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32" name="Google Shape;3627;p49"/>
            <p:cNvSpPr/>
            <p:nvPr/>
          </p:nvSpPr>
          <p:spPr>
            <a:xfrm>
              <a:off x="-24996400" y="11197050"/>
              <a:ext cx="25" cy="215125"/>
            </a:xfrm>
            <a:custGeom>
              <a:avLst/>
              <a:gdLst/>
              <a:ahLst/>
              <a:cxnLst/>
              <a:rect l="l" t="t" r="r" b="b"/>
              <a:pathLst>
                <a:path w="1" h="8605" fill="none" extrusionOk="0">
                  <a:moveTo>
                    <a:pt x="1" y="1"/>
                  </a:moveTo>
                  <a:lnTo>
                    <a:pt x="1"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33" name="Google Shape;3628;p49"/>
            <p:cNvSpPr/>
            <p:nvPr/>
          </p:nvSpPr>
          <p:spPr>
            <a:xfrm>
              <a:off x="-24963625" y="11204625"/>
              <a:ext cx="25" cy="215950"/>
            </a:xfrm>
            <a:custGeom>
              <a:avLst/>
              <a:gdLst/>
              <a:ahLst/>
              <a:cxnLst/>
              <a:rect l="l" t="t" r="r" b="b"/>
              <a:pathLst>
                <a:path w="1" h="8638" fill="none" extrusionOk="0">
                  <a:moveTo>
                    <a:pt x="1" y="0"/>
                  </a:moveTo>
                  <a:lnTo>
                    <a:pt x="1"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34" name="Google Shape;3629;p49"/>
            <p:cNvSpPr/>
            <p:nvPr/>
          </p:nvSpPr>
          <p:spPr>
            <a:xfrm>
              <a:off x="-24931700" y="11212175"/>
              <a:ext cx="25" cy="215125"/>
            </a:xfrm>
            <a:custGeom>
              <a:avLst/>
              <a:gdLst/>
              <a:ahLst/>
              <a:cxnLst/>
              <a:rect l="l" t="t" r="r" b="b"/>
              <a:pathLst>
                <a:path w="1" h="8605" fill="none" extrusionOk="0">
                  <a:moveTo>
                    <a:pt x="1" y="1"/>
                  </a:moveTo>
                  <a:lnTo>
                    <a:pt x="1" y="8605"/>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35" name="Google Shape;3630;p49"/>
            <p:cNvSpPr/>
            <p:nvPr/>
          </p:nvSpPr>
          <p:spPr>
            <a:xfrm>
              <a:off x="-24906475" y="11155050"/>
              <a:ext cx="0" cy="215950"/>
            </a:xfrm>
            <a:custGeom>
              <a:avLst/>
              <a:gdLst/>
              <a:ahLst/>
              <a:cxnLst/>
              <a:rect l="l" t="t" r="r" b="b"/>
              <a:pathLst>
                <a:path h="8638" fill="none" extrusionOk="0">
                  <a:moveTo>
                    <a:pt x="0" y="0"/>
                  </a:moveTo>
                  <a:lnTo>
                    <a:pt x="0" y="8638"/>
                  </a:lnTo>
                </a:path>
              </a:pathLst>
            </a:custGeom>
            <a:noFill/>
            <a:ln w="1675" cap="flat" cmpd="sng">
              <a:solidFill>
                <a:srgbClr val="EADCFA"/>
              </a:solidFill>
              <a:prstDash val="solid"/>
              <a:miter lim="33608"/>
              <a:headEnd type="none" w="sm" len="sm"/>
              <a:tailEnd type="none" w="sm" len="sm"/>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36" name="Google Shape;3631;p49"/>
            <p:cNvSpPr/>
            <p:nvPr/>
          </p:nvSpPr>
          <p:spPr>
            <a:xfrm>
              <a:off x="-21758200" y="8173950"/>
              <a:ext cx="1650200" cy="1937575"/>
            </a:xfrm>
            <a:custGeom>
              <a:avLst/>
              <a:gdLst/>
              <a:ahLst/>
              <a:cxnLst/>
              <a:rect l="l" t="t" r="r" b="b"/>
              <a:pathLst>
                <a:path w="66008" h="77503" extrusionOk="0">
                  <a:moveTo>
                    <a:pt x="65974" y="38785"/>
                  </a:moveTo>
                  <a:cubicBezTo>
                    <a:pt x="65974" y="38718"/>
                    <a:pt x="65974" y="38651"/>
                    <a:pt x="65974" y="38584"/>
                  </a:cubicBezTo>
                  <a:cubicBezTo>
                    <a:pt x="65974" y="38550"/>
                    <a:pt x="65974" y="38516"/>
                    <a:pt x="65974" y="38483"/>
                  </a:cubicBezTo>
                  <a:cubicBezTo>
                    <a:pt x="65974" y="38449"/>
                    <a:pt x="65974" y="38449"/>
                    <a:pt x="65974" y="38416"/>
                  </a:cubicBezTo>
                  <a:cubicBezTo>
                    <a:pt x="65974" y="38416"/>
                    <a:pt x="65974" y="38382"/>
                    <a:pt x="65974" y="38348"/>
                  </a:cubicBezTo>
                  <a:lnTo>
                    <a:pt x="65941" y="38113"/>
                  </a:lnTo>
                  <a:cubicBezTo>
                    <a:pt x="65941" y="38046"/>
                    <a:pt x="65907" y="37979"/>
                    <a:pt x="65907" y="37878"/>
                  </a:cubicBezTo>
                  <a:lnTo>
                    <a:pt x="65907" y="37878"/>
                  </a:lnTo>
                  <a:lnTo>
                    <a:pt x="65907" y="37878"/>
                  </a:lnTo>
                  <a:cubicBezTo>
                    <a:pt x="65907" y="37811"/>
                    <a:pt x="65873" y="37743"/>
                    <a:pt x="65873" y="37676"/>
                  </a:cubicBezTo>
                  <a:cubicBezTo>
                    <a:pt x="65840" y="37575"/>
                    <a:pt x="65840" y="37508"/>
                    <a:pt x="65806" y="37407"/>
                  </a:cubicBezTo>
                  <a:cubicBezTo>
                    <a:pt x="65806" y="37407"/>
                    <a:pt x="65806" y="37374"/>
                    <a:pt x="65806" y="37340"/>
                  </a:cubicBezTo>
                  <a:lnTo>
                    <a:pt x="65773" y="37306"/>
                  </a:lnTo>
                  <a:cubicBezTo>
                    <a:pt x="65773" y="37239"/>
                    <a:pt x="65773" y="37206"/>
                    <a:pt x="65773" y="37172"/>
                  </a:cubicBezTo>
                  <a:cubicBezTo>
                    <a:pt x="65739" y="37105"/>
                    <a:pt x="65705" y="37004"/>
                    <a:pt x="65705" y="36937"/>
                  </a:cubicBezTo>
                  <a:cubicBezTo>
                    <a:pt x="65672" y="36870"/>
                    <a:pt x="65672" y="36836"/>
                    <a:pt x="65638" y="36769"/>
                  </a:cubicBezTo>
                  <a:lnTo>
                    <a:pt x="65638" y="36735"/>
                  </a:lnTo>
                  <a:cubicBezTo>
                    <a:pt x="65638" y="36701"/>
                    <a:pt x="65638" y="36701"/>
                    <a:pt x="65638" y="36701"/>
                  </a:cubicBezTo>
                  <a:cubicBezTo>
                    <a:pt x="65605" y="36601"/>
                    <a:pt x="65571" y="36533"/>
                    <a:pt x="65537" y="36466"/>
                  </a:cubicBezTo>
                  <a:cubicBezTo>
                    <a:pt x="65537" y="36365"/>
                    <a:pt x="65504" y="36298"/>
                    <a:pt x="65470" y="36231"/>
                  </a:cubicBezTo>
                  <a:lnTo>
                    <a:pt x="65470" y="36197"/>
                  </a:lnTo>
                  <a:cubicBezTo>
                    <a:pt x="65470" y="36164"/>
                    <a:pt x="65436" y="36164"/>
                    <a:pt x="65436" y="36164"/>
                  </a:cubicBezTo>
                  <a:cubicBezTo>
                    <a:pt x="65436" y="36097"/>
                    <a:pt x="65403" y="36063"/>
                    <a:pt x="65403" y="35996"/>
                  </a:cubicBezTo>
                  <a:cubicBezTo>
                    <a:pt x="65369" y="35928"/>
                    <a:pt x="65336" y="35861"/>
                    <a:pt x="65302" y="35794"/>
                  </a:cubicBezTo>
                  <a:cubicBezTo>
                    <a:pt x="65268" y="35727"/>
                    <a:pt x="65268" y="35693"/>
                    <a:pt x="65235" y="35626"/>
                  </a:cubicBezTo>
                  <a:cubicBezTo>
                    <a:pt x="65235" y="35626"/>
                    <a:pt x="65235" y="35592"/>
                    <a:pt x="65235" y="35592"/>
                  </a:cubicBezTo>
                  <a:cubicBezTo>
                    <a:pt x="65201" y="35592"/>
                    <a:pt x="65201" y="35559"/>
                    <a:pt x="65201" y="35559"/>
                  </a:cubicBezTo>
                  <a:cubicBezTo>
                    <a:pt x="65168" y="35492"/>
                    <a:pt x="65134" y="35424"/>
                    <a:pt x="65100" y="35324"/>
                  </a:cubicBezTo>
                  <a:cubicBezTo>
                    <a:pt x="65067" y="35256"/>
                    <a:pt x="65033" y="35189"/>
                    <a:pt x="65000" y="35088"/>
                  </a:cubicBezTo>
                  <a:cubicBezTo>
                    <a:pt x="64966" y="35088"/>
                    <a:pt x="64966" y="35088"/>
                    <a:pt x="64966" y="35055"/>
                  </a:cubicBezTo>
                  <a:cubicBezTo>
                    <a:pt x="64966" y="35055"/>
                    <a:pt x="64966" y="35021"/>
                    <a:pt x="64932" y="35021"/>
                  </a:cubicBezTo>
                  <a:cubicBezTo>
                    <a:pt x="64899" y="34954"/>
                    <a:pt x="64865" y="34887"/>
                    <a:pt x="64832" y="34819"/>
                  </a:cubicBezTo>
                  <a:cubicBezTo>
                    <a:pt x="64798" y="34752"/>
                    <a:pt x="64764" y="34651"/>
                    <a:pt x="64697" y="34584"/>
                  </a:cubicBezTo>
                  <a:cubicBezTo>
                    <a:pt x="64697" y="34551"/>
                    <a:pt x="64663" y="34517"/>
                    <a:pt x="64630" y="34483"/>
                  </a:cubicBezTo>
                  <a:cubicBezTo>
                    <a:pt x="64630" y="34450"/>
                    <a:pt x="64630" y="34450"/>
                    <a:pt x="64630" y="34416"/>
                  </a:cubicBezTo>
                  <a:lnTo>
                    <a:pt x="64495" y="34214"/>
                  </a:lnTo>
                  <a:cubicBezTo>
                    <a:pt x="64428" y="34114"/>
                    <a:pt x="64361" y="34013"/>
                    <a:pt x="64294" y="33912"/>
                  </a:cubicBezTo>
                  <a:cubicBezTo>
                    <a:pt x="64294" y="33912"/>
                    <a:pt x="64294" y="33878"/>
                    <a:pt x="64260" y="33878"/>
                  </a:cubicBezTo>
                  <a:cubicBezTo>
                    <a:pt x="64193" y="33744"/>
                    <a:pt x="64092" y="33609"/>
                    <a:pt x="63991" y="33475"/>
                  </a:cubicBezTo>
                  <a:cubicBezTo>
                    <a:pt x="63991" y="33475"/>
                    <a:pt x="63991" y="33475"/>
                    <a:pt x="63991" y="33475"/>
                  </a:cubicBezTo>
                  <a:lnTo>
                    <a:pt x="63991" y="33475"/>
                  </a:lnTo>
                  <a:cubicBezTo>
                    <a:pt x="63924" y="33374"/>
                    <a:pt x="63857" y="33273"/>
                    <a:pt x="63790" y="33206"/>
                  </a:cubicBezTo>
                  <a:cubicBezTo>
                    <a:pt x="63722" y="33139"/>
                    <a:pt x="63689" y="33072"/>
                    <a:pt x="63622" y="33005"/>
                  </a:cubicBezTo>
                  <a:lnTo>
                    <a:pt x="63622" y="32971"/>
                  </a:lnTo>
                  <a:lnTo>
                    <a:pt x="63622" y="32971"/>
                  </a:lnTo>
                  <a:cubicBezTo>
                    <a:pt x="63554" y="32904"/>
                    <a:pt x="63487" y="32836"/>
                    <a:pt x="63420" y="32769"/>
                  </a:cubicBezTo>
                  <a:cubicBezTo>
                    <a:pt x="63353" y="32702"/>
                    <a:pt x="63319" y="32635"/>
                    <a:pt x="63252" y="32568"/>
                  </a:cubicBezTo>
                  <a:cubicBezTo>
                    <a:pt x="63252" y="32568"/>
                    <a:pt x="63252" y="32568"/>
                    <a:pt x="63218" y="32534"/>
                  </a:cubicBezTo>
                  <a:cubicBezTo>
                    <a:pt x="63218" y="32534"/>
                    <a:pt x="63218" y="32534"/>
                    <a:pt x="63185" y="32500"/>
                  </a:cubicBezTo>
                  <a:cubicBezTo>
                    <a:pt x="63151" y="32467"/>
                    <a:pt x="63117" y="32433"/>
                    <a:pt x="63084" y="32366"/>
                  </a:cubicBezTo>
                  <a:cubicBezTo>
                    <a:pt x="63017" y="32299"/>
                    <a:pt x="62949" y="32265"/>
                    <a:pt x="62882" y="32198"/>
                  </a:cubicBezTo>
                  <a:cubicBezTo>
                    <a:pt x="62849" y="32164"/>
                    <a:pt x="62849" y="32164"/>
                    <a:pt x="62815" y="32131"/>
                  </a:cubicBezTo>
                  <a:cubicBezTo>
                    <a:pt x="62815" y="32131"/>
                    <a:pt x="62781" y="32097"/>
                    <a:pt x="62781" y="32097"/>
                  </a:cubicBezTo>
                  <a:cubicBezTo>
                    <a:pt x="62748" y="32063"/>
                    <a:pt x="62714" y="32030"/>
                    <a:pt x="62681" y="31996"/>
                  </a:cubicBezTo>
                  <a:cubicBezTo>
                    <a:pt x="62613" y="31929"/>
                    <a:pt x="62546" y="31895"/>
                    <a:pt x="62479" y="31828"/>
                  </a:cubicBezTo>
                  <a:cubicBezTo>
                    <a:pt x="62445" y="31795"/>
                    <a:pt x="62412" y="31761"/>
                    <a:pt x="62378" y="31761"/>
                  </a:cubicBezTo>
                  <a:cubicBezTo>
                    <a:pt x="62378" y="31727"/>
                    <a:pt x="62344" y="31727"/>
                    <a:pt x="62344" y="31727"/>
                  </a:cubicBezTo>
                  <a:cubicBezTo>
                    <a:pt x="62311" y="31694"/>
                    <a:pt x="62277" y="31694"/>
                    <a:pt x="62277" y="31660"/>
                  </a:cubicBezTo>
                  <a:cubicBezTo>
                    <a:pt x="62210" y="31593"/>
                    <a:pt x="62143" y="31559"/>
                    <a:pt x="62076" y="31492"/>
                  </a:cubicBezTo>
                  <a:cubicBezTo>
                    <a:pt x="62008" y="31459"/>
                    <a:pt x="61975" y="31425"/>
                    <a:pt x="61908" y="31391"/>
                  </a:cubicBezTo>
                  <a:cubicBezTo>
                    <a:pt x="61908" y="31391"/>
                    <a:pt x="61908" y="31391"/>
                    <a:pt x="61908" y="31391"/>
                  </a:cubicBezTo>
                  <a:cubicBezTo>
                    <a:pt x="61874" y="31391"/>
                    <a:pt x="61874" y="31358"/>
                    <a:pt x="61874" y="31358"/>
                  </a:cubicBezTo>
                  <a:cubicBezTo>
                    <a:pt x="61807" y="31324"/>
                    <a:pt x="61740" y="31290"/>
                    <a:pt x="61672" y="31223"/>
                  </a:cubicBezTo>
                  <a:cubicBezTo>
                    <a:pt x="61605" y="31190"/>
                    <a:pt x="61538" y="31156"/>
                    <a:pt x="61471" y="31122"/>
                  </a:cubicBezTo>
                  <a:cubicBezTo>
                    <a:pt x="61471" y="31122"/>
                    <a:pt x="61471" y="31089"/>
                    <a:pt x="61437" y="31089"/>
                  </a:cubicBezTo>
                  <a:lnTo>
                    <a:pt x="8672" y="639"/>
                  </a:lnTo>
                  <a:cubicBezTo>
                    <a:pt x="8604" y="606"/>
                    <a:pt x="8571" y="572"/>
                    <a:pt x="8503" y="539"/>
                  </a:cubicBezTo>
                  <a:cubicBezTo>
                    <a:pt x="8470" y="505"/>
                    <a:pt x="8403" y="471"/>
                    <a:pt x="8335" y="438"/>
                  </a:cubicBezTo>
                  <a:cubicBezTo>
                    <a:pt x="8302" y="438"/>
                    <a:pt x="8235" y="404"/>
                    <a:pt x="8201" y="404"/>
                  </a:cubicBezTo>
                  <a:cubicBezTo>
                    <a:pt x="8201" y="371"/>
                    <a:pt x="8201" y="371"/>
                    <a:pt x="8167" y="371"/>
                  </a:cubicBezTo>
                  <a:cubicBezTo>
                    <a:pt x="8167" y="371"/>
                    <a:pt x="8167" y="371"/>
                    <a:pt x="8134" y="371"/>
                  </a:cubicBezTo>
                  <a:cubicBezTo>
                    <a:pt x="8067" y="337"/>
                    <a:pt x="8033" y="303"/>
                    <a:pt x="7966" y="303"/>
                  </a:cubicBezTo>
                  <a:cubicBezTo>
                    <a:pt x="7899" y="270"/>
                    <a:pt x="7831" y="236"/>
                    <a:pt x="7764" y="202"/>
                  </a:cubicBezTo>
                  <a:cubicBezTo>
                    <a:pt x="7764" y="202"/>
                    <a:pt x="7764" y="202"/>
                    <a:pt x="7730" y="202"/>
                  </a:cubicBezTo>
                  <a:cubicBezTo>
                    <a:pt x="7730" y="202"/>
                    <a:pt x="7730" y="202"/>
                    <a:pt x="7697" y="202"/>
                  </a:cubicBezTo>
                  <a:cubicBezTo>
                    <a:pt x="7663" y="202"/>
                    <a:pt x="7630" y="169"/>
                    <a:pt x="7596" y="169"/>
                  </a:cubicBezTo>
                  <a:cubicBezTo>
                    <a:pt x="7529" y="135"/>
                    <a:pt x="7462" y="135"/>
                    <a:pt x="7394" y="102"/>
                  </a:cubicBezTo>
                  <a:cubicBezTo>
                    <a:pt x="7361" y="102"/>
                    <a:pt x="7327" y="102"/>
                    <a:pt x="7294" y="102"/>
                  </a:cubicBezTo>
                  <a:cubicBezTo>
                    <a:pt x="7294" y="68"/>
                    <a:pt x="7294" y="68"/>
                    <a:pt x="7260" y="68"/>
                  </a:cubicBezTo>
                  <a:cubicBezTo>
                    <a:pt x="7260" y="68"/>
                    <a:pt x="7226" y="68"/>
                    <a:pt x="7226" y="68"/>
                  </a:cubicBezTo>
                  <a:cubicBezTo>
                    <a:pt x="7159" y="68"/>
                    <a:pt x="7092" y="34"/>
                    <a:pt x="7025" y="34"/>
                  </a:cubicBezTo>
                  <a:cubicBezTo>
                    <a:pt x="6957" y="34"/>
                    <a:pt x="6924" y="34"/>
                    <a:pt x="6890" y="34"/>
                  </a:cubicBezTo>
                  <a:cubicBezTo>
                    <a:pt x="6890" y="34"/>
                    <a:pt x="6857" y="1"/>
                    <a:pt x="6857" y="1"/>
                  </a:cubicBezTo>
                  <a:cubicBezTo>
                    <a:pt x="6823" y="1"/>
                    <a:pt x="6823" y="1"/>
                    <a:pt x="6823" y="1"/>
                  </a:cubicBezTo>
                  <a:cubicBezTo>
                    <a:pt x="6722" y="1"/>
                    <a:pt x="6655" y="1"/>
                    <a:pt x="6588" y="1"/>
                  </a:cubicBezTo>
                  <a:cubicBezTo>
                    <a:pt x="6554" y="1"/>
                    <a:pt x="6521" y="1"/>
                    <a:pt x="6487" y="1"/>
                  </a:cubicBezTo>
                  <a:cubicBezTo>
                    <a:pt x="6487" y="1"/>
                    <a:pt x="6453" y="1"/>
                    <a:pt x="6420" y="1"/>
                  </a:cubicBezTo>
                  <a:cubicBezTo>
                    <a:pt x="6420" y="1"/>
                    <a:pt x="6386" y="1"/>
                    <a:pt x="6353" y="1"/>
                  </a:cubicBezTo>
                  <a:cubicBezTo>
                    <a:pt x="6285" y="34"/>
                    <a:pt x="6184" y="34"/>
                    <a:pt x="6084" y="68"/>
                  </a:cubicBezTo>
                  <a:lnTo>
                    <a:pt x="6084" y="68"/>
                  </a:lnTo>
                  <a:cubicBezTo>
                    <a:pt x="6050" y="68"/>
                    <a:pt x="6050" y="68"/>
                    <a:pt x="6016" y="68"/>
                  </a:cubicBezTo>
                  <a:cubicBezTo>
                    <a:pt x="5949" y="102"/>
                    <a:pt x="5848" y="102"/>
                    <a:pt x="5781" y="135"/>
                  </a:cubicBezTo>
                  <a:cubicBezTo>
                    <a:pt x="5781" y="135"/>
                    <a:pt x="5748" y="135"/>
                    <a:pt x="5748" y="135"/>
                  </a:cubicBezTo>
                  <a:cubicBezTo>
                    <a:pt x="5613" y="202"/>
                    <a:pt x="5512" y="236"/>
                    <a:pt x="5411" y="303"/>
                  </a:cubicBezTo>
                  <a:lnTo>
                    <a:pt x="1" y="3463"/>
                  </a:lnTo>
                  <a:cubicBezTo>
                    <a:pt x="101" y="3395"/>
                    <a:pt x="202" y="3328"/>
                    <a:pt x="337" y="3294"/>
                  </a:cubicBezTo>
                  <a:cubicBezTo>
                    <a:pt x="437" y="3261"/>
                    <a:pt x="538" y="3227"/>
                    <a:pt x="605" y="3227"/>
                  </a:cubicBezTo>
                  <a:cubicBezTo>
                    <a:pt x="639" y="3227"/>
                    <a:pt x="639" y="3194"/>
                    <a:pt x="673" y="3194"/>
                  </a:cubicBezTo>
                  <a:cubicBezTo>
                    <a:pt x="773" y="3194"/>
                    <a:pt x="908" y="3160"/>
                    <a:pt x="1009" y="3160"/>
                  </a:cubicBezTo>
                  <a:cubicBezTo>
                    <a:pt x="1042" y="3160"/>
                    <a:pt x="1076" y="3160"/>
                    <a:pt x="1076" y="3160"/>
                  </a:cubicBezTo>
                  <a:cubicBezTo>
                    <a:pt x="1210" y="3160"/>
                    <a:pt x="1311" y="3160"/>
                    <a:pt x="1446" y="3160"/>
                  </a:cubicBezTo>
                  <a:cubicBezTo>
                    <a:pt x="1446" y="3160"/>
                    <a:pt x="1479" y="3160"/>
                    <a:pt x="1479" y="3160"/>
                  </a:cubicBezTo>
                  <a:cubicBezTo>
                    <a:pt x="1614" y="3194"/>
                    <a:pt x="1715" y="3194"/>
                    <a:pt x="1849" y="3227"/>
                  </a:cubicBezTo>
                  <a:cubicBezTo>
                    <a:pt x="1883" y="3227"/>
                    <a:pt x="1883" y="3227"/>
                    <a:pt x="1883" y="3227"/>
                  </a:cubicBezTo>
                  <a:cubicBezTo>
                    <a:pt x="2017" y="3261"/>
                    <a:pt x="2151" y="3294"/>
                    <a:pt x="2286" y="3362"/>
                  </a:cubicBezTo>
                  <a:cubicBezTo>
                    <a:pt x="2319" y="3362"/>
                    <a:pt x="2319" y="3362"/>
                    <a:pt x="2319" y="3362"/>
                  </a:cubicBezTo>
                  <a:cubicBezTo>
                    <a:pt x="2488" y="3395"/>
                    <a:pt x="2622" y="3463"/>
                    <a:pt x="2756" y="3530"/>
                  </a:cubicBezTo>
                  <a:cubicBezTo>
                    <a:pt x="2756" y="3530"/>
                    <a:pt x="2790" y="3530"/>
                    <a:pt x="2790" y="3530"/>
                  </a:cubicBezTo>
                  <a:cubicBezTo>
                    <a:pt x="2958" y="3597"/>
                    <a:pt x="3092" y="3698"/>
                    <a:pt x="3261" y="3765"/>
                  </a:cubicBezTo>
                  <a:lnTo>
                    <a:pt x="56026" y="34248"/>
                  </a:lnTo>
                  <a:cubicBezTo>
                    <a:pt x="56194" y="34315"/>
                    <a:pt x="56329" y="34416"/>
                    <a:pt x="56497" y="34517"/>
                  </a:cubicBezTo>
                  <a:cubicBezTo>
                    <a:pt x="56497" y="34551"/>
                    <a:pt x="56497" y="34551"/>
                    <a:pt x="56497" y="34551"/>
                  </a:cubicBezTo>
                  <a:cubicBezTo>
                    <a:pt x="56665" y="34651"/>
                    <a:pt x="56799" y="34752"/>
                    <a:pt x="56933" y="34853"/>
                  </a:cubicBezTo>
                  <a:cubicBezTo>
                    <a:pt x="56933" y="34887"/>
                    <a:pt x="56967" y="34887"/>
                    <a:pt x="56967" y="34887"/>
                  </a:cubicBezTo>
                  <a:cubicBezTo>
                    <a:pt x="57102" y="35021"/>
                    <a:pt x="57236" y="35122"/>
                    <a:pt x="57370" y="35256"/>
                  </a:cubicBezTo>
                  <a:cubicBezTo>
                    <a:pt x="57370" y="35256"/>
                    <a:pt x="57404" y="35256"/>
                    <a:pt x="57404" y="35290"/>
                  </a:cubicBezTo>
                  <a:cubicBezTo>
                    <a:pt x="57538" y="35391"/>
                    <a:pt x="57673" y="35525"/>
                    <a:pt x="57774" y="35660"/>
                  </a:cubicBezTo>
                  <a:lnTo>
                    <a:pt x="57807" y="35693"/>
                  </a:lnTo>
                  <a:cubicBezTo>
                    <a:pt x="57942" y="35828"/>
                    <a:pt x="58076" y="35996"/>
                    <a:pt x="58211" y="36130"/>
                  </a:cubicBezTo>
                  <a:lnTo>
                    <a:pt x="58211" y="36130"/>
                  </a:lnTo>
                  <a:cubicBezTo>
                    <a:pt x="58345" y="36298"/>
                    <a:pt x="58479" y="36466"/>
                    <a:pt x="58580" y="36601"/>
                  </a:cubicBezTo>
                  <a:cubicBezTo>
                    <a:pt x="58580" y="36634"/>
                    <a:pt x="58580" y="36634"/>
                    <a:pt x="58614" y="36634"/>
                  </a:cubicBezTo>
                  <a:cubicBezTo>
                    <a:pt x="58715" y="36769"/>
                    <a:pt x="58816" y="36937"/>
                    <a:pt x="58916" y="37071"/>
                  </a:cubicBezTo>
                  <a:cubicBezTo>
                    <a:pt x="58950" y="37172"/>
                    <a:pt x="59017" y="37273"/>
                    <a:pt x="59084" y="37374"/>
                  </a:cubicBezTo>
                  <a:cubicBezTo>
                    <a:pt x="59152" y="37441"/>
                    <a:pt x="59185" y="37542"/>
                    <a:pt x="59252" y="37609"/>
                  </a:cubicBezTo>
                  <a:cubicBezTo>
                    <a:pt x="59252" y="37676"/>
                    <a:pt x="59286" y="37710"/>
                    <a:pt x="59320" y="37743"/>
                  </a:cubicBezTo>
                  <a:cubicBezTo>
                    <a:pt x="59387" y="37878"/>
                    <a:pt x="59454" y="38012"/>
                    <a:pt x="59555" y="38180"/>
                  </a:cubicBezTo>
                  <a:cubicBezTo>
                    <a:pt x="59555" y="38180"/>
                    <a:pt x="59555" y="38214"/>
                    <a:pt x="59555" y="38214"/>
                  </a:cubicBezTo>
                  <a:cubicBezTo>
                    <a:pt x="59656" y="38382"/>
                    <a:pt x="59723" y="38584"/>
                    <a:pt x="59824" y="38752"/>
                  </a:cubicBezTo>
                  <a:cubicBezTo>
                    <a:pt x="59824" y="38752"/>
                    <a:pt x="59824" y="38752"/>
                    <a:pt x="59824" y="38785"/>
                  </a:cubicBezTo>
                  <a:cubicBezTo>
                    <a:pt x="59891" y="38953"/>
                    <a:pt x="59958" y="39121"/>
                    <a:pt x="60025" y="39289"/>
                  </a:cubicBezTo>
                  <a:cubicBezTo>
                    <a:pt x="60059" y="39323"/>
                    <a:pt x="60059" y="39323"/>
                    <a:pt x="60059" y="39323"/>
                  </a:cubicBezTo>
                  <a:cubicBezTo>
                    <a:pt x="60126" y="39525"/>
                    <a:pt x="60194" y="39693"/>
                    <a:pt x="60227" y="39894"/>
                  </a:cubicBezTo>
                  <a:cubicBezTo>
                    <a:pt x="60227" y="39894"/>
                    <a:pt x="60227" y="39894"/>
                    <a:pt x="60227" y="39928"/>
                  </a:cubicBezTo>
                  <a:cubicBezTo>
                    <a:pt x="60294" y="40096"/>
                    <a:pt x="60328" y="40264"/>
                    <a:pt x="60395" y="40432"/>
                  </a:cubicBezTo>
                  <a:lnTo>
                    <a:pt x="60395" y="40499"/>
                  </a:lnTo>
                  <a:cubicBezTo>
                    <a:pt x="60429" y="40667"/>
                    <a:pt x="60462" y="40869"/>
                    <a:pt x="60496" y="41037"/>
                  </a:cubicBezTo>
                  <a:lnTo>
                    <a:pt x="60496" y="41037"/>
                  </a:lnTo>
                  <a:cubicBezTo>
                    <a:pt x="60530" y="41239"/>
                    <a:pt x="60563" y="41407"/>
                    <a:pt x="60563" y="41575"/>
                  </a:cubicBezTo>
                  <a:cubicBezTo>
                    <a:pt x="60563" y="41608"/>
                    <a:pt x="60563" y="41608"/>
                    <a:pt x="60563" y="41642"/>
                  </a:cubicBezTo>
                  <a:cubicBezTo>
                    <a:pt x="60563" y="41810"/>
                    <a:pt x="60597" y="41978"/>
                    <a:pt x="60597" y="42146"/>
                  </a:cubicBezTo>
                  <a:lnTo>
                    <a:pt x="60496" y="74545"/>
                  </a:lnTo>
                  <a:cubicBezTo>
                    <a:pt x="60496" y="74713"/>
                    <a:pt x="60496" y="74881"/>
                    <a:pt x="60462" y="75049"/>
                  </a:cubicBezTo>
                  <a:cubicBezTo>
                    <a:pt x="60462" y="75083"/>
                    <a:pt x="60462" y="75083"/>
                    <a:pt x="60462" y="75116"/>
                  </a:cubicBezTo>
                  <a:cubicBezTo>
                    <a:pt x="60462" y="75251"/>
                    <a:pt x="60429" y="75385"/>
                    <a:pt x="60395" y="75519"/>
                  </a:cubicBezTo>
                  <a:cubicBezTo>
                    <a:pt x="60395" y="75553"/>
                    <a:pt x="60395" y="75553"/>
                    <a:pt x="60395" y="75587"/>
                  </a:cubicBezTo>
                  <a:cubicBezTo>
                    <a:pt x="60362" y="75721"/>
                    <a:pt x="60328" y="75856"/>
                    <a:pt x="60294" y="75956"/>
                  </a:cubicBezTo>
                  <a:cubicBezTo>
                    <a:pt x="60294" y="75990"/>
                    <a:pt x="60261" y="76024"/>
                    <a:pt x="60261" y="76024"/>
                  </a:cubicBezTo>
                  <a:cubicBezTo>
                    <a:pt x="60227" y="76158"/>
                    <a:pt x="60194" y="76259"/>
                    <a:pt x="60160" y="76360"/>
                  </a:cubicBezTo>
                  <a:cubicBezTo>
                    <a:pt x="60126" y="76360"/>
                    <a:pt x="60126" y="76393"/>
                    <a:pt x="60126" y="76393"/>
                  </a:cubicBezTo>
                  <a:cubicBezTo>
                    <a:pt x="60059" y="76528"/>
                    <a:pt x="60025" y="76629"/>
                    <a:pt x="59958" y="76729"/>
                  </a:cubicBezTo>
                  <a:cubicBezTo>
                    <a:pt x="59857" y="76864"/>
                    <a:pt x="59757" y="76998"/>
                    <a:pt x="59622" y="77133"/>
                  </a:cubicBezTo>
                  <a:cubicBezTo>
                    <a:pt x="59589" y="77133"/>
                    <a:pt x="59555" y="77166"/>
                    <a:pt x="59555" y="77200"/>
                  </a:cubicBezTo>
                  <a:cubicBezTo>
                    <a:pt x="59421" y="77301"/>
                    <a:pt x="59286" y="77402"/>
                    <a:pt x="59152" y="77502"/>
                  </a:cubicBezTo>
                  <a:lnTo>
                    <a:pt x="64563" y="74343"/>
                  </a:lnTo>
                  <a:cubicBezTo>
                    <a:pt x="64697" y="74276"/>
                    <a:pt x="64832" y="74175"/>
                    <a:pt x="64966" y="74041"/>
                  </a:cubicBezTo>
                  <a:cubicBezTo>
                    <a:pt x="65000" y="74041"/>
                    <a:pt x="65000" y="74007"/>
                    <a:pt x="65033" y="73973"/>
                  </a:cubicBezTo>
                  <a:cubicBezTo>
                    <a:pt x="65168" y="73839"/>
                    <a:pt x="65268" y="73738"/>
                    <a:pt x="65369" y="73570"/>
                  </a:cubicBezTo>
                  <a:lnTo>
                    <a:pt x="65369" y="73570"/>
                  </a:lnTo>
                  <a:cubicBezTo>
                    <a:pt x="65436" y="73469"/>
                    <a:pt x="65470" y="73369"/>
                    <a:pt x="65537" y="73268"/>
                  </a:cubicBezTo>
                  <a:cubicBezTo>
                    <a:pt x="65537" y="73268"/>
                    <a:pt x="65537" y="73268"/>
                    <a:pt x="65537" y="73234"/>
                  </a:cubicBezTo>
                  <a:cubicBezTo>
                    <a:pt x="65537" y="73234"/>
                    <a:pt x="65537" y="73234"/>
                    <a:pt x="65571" y="73200"/>
                  </a:cubicBezTo>
                  <a:cubicBezTo>
                    <a:pt x="65571" y="73133"/>
                    <a:pt x="65605" y="73066"/>
                    <a:pt x="65638" y="72999"/>
                  </a:cubicBezTo>
                  <a:lnTo>
                    <a:pt x="65672" y="72898"/>
                  </a:lnTo>
                  <a:cubicBezTo>
                    <a:pt x="65705" y="72864"/>
                    <a:pt x="65705" y="72831"/>
                    <a:pt x="65705" y="72831"/>
                  </a:cubicBezTo>
                  <a:cubicBezTo>
                    <a:pt x="65705" y="72797"/>
                    <a:pt x="65705" y="72797"/>
                    <a:pt x="65739" y="72764"/>
                  </a:cubicBezTo>
                  <a:cubicBezTo>
                    <a:pt x="65739" y="72696"/>
                    <a:pt x="65773" y="72596"/>
                    <a:pt x="65773" y="72528"/>
                  </a:cubicBezTo>
                  <a:cubicBezTo>
                    <a:pt x="65806" y="72495"/>
                    <a:pt x="65806" y="72461"/>
                    <a:pt x="65806" y="72427"/>
                  </a:cubicBezTo>
                  <a:cubicBezTo>
                    <a:pt x="65806" y="72427"/>
                    <a:pt x="65806" y="72394"/>
                    <a:pt x="65806" y="72394"/>
                  </a:cubicBezTo>
                  <a:cubicBezTo>
                    <a:pt x="65806" y="72360"/>
                    <a:pt x="65840" y="72327"/>
                    <a:pt x="65840" y="72293"/>
                  </a:cubicBezTo>
                  <a:cubicBezTo>
                    <a:pt x="65840" y="72226"/>
                    <a:pt x="65873" y="72159"/>
                    <a:pt x="65873" y="72091"/>
                  </a:cubicBezTo>
                  <a:lnTo>
                    <a:pt x="65873" y="71957"/>
                  </a:lnTo>
                  <a:cubicBezTo>
                    <a:pt x="65873" y="71957"/>
                    <a:pt x="65873" y="71923"/>
                    <a:pt x="65873" y="71923"/>
                  </a:cubicBezTo>
                  <a:cubicBezTo>
                    <a:pt x="65873" y="71890"/>
                    <a:pt x="65873" y="71890"/>
                    <a:pt x="65873" y="71856"/>
                  </a:cubicBezTo>
                  <a:cubicBezTo>
                    <a:pt x="65907" y="71789"/>
                    <a:pt x="65907" y="71722"/>
                    <a:pt x="65907" y="71654"/>
                  </a:cubicBezTo>
                  <a:cubicBezTo>
                    <a:pt x="65907" y="71587"/>
                    <a:pt x="65907" y="71486"/>
                    <a:pt x="65907" y="71419"/>
                  </a:cubicBezTo>
                  <a:lnTo>
                    <a:pt x="65907" y="71419"/>
                  </a:lnTo>
                  <a:lnTo>
                    <a:pt x="66008" y="39020"/>
                  </a:lnTo>
                  <a:cubicBezTo>
                    <a:pt x="66008" y="38953"/>
                    <a:pt x="66008" y="38886"/>
                    <a:pt x="65974" y="38785"/>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37" name="Google Shape;3632;p49"/>
            <p:cNvSpPr/>
            <p:nvPr/>
          </p:nvSpPr>
          <p:spPr>
            <a:xfrm>
              <a:off x="-21794325" y="8231925"/>
              <a:ext cx="1551050" cy="1908175"/>
            </a:xfrm>
            <a:custGeom>
              <a:avLst/>
              <a:gdLst/>
              <a:ahLst/>
              <a:cxnLst/>
              <a:rect l="l" t="t" r="r" b="b"/>
              <a:pathLst>
                <a:path w="62042" h="76327" extrusionOk="0">
                  <a:moveTo>
                    <a:pt x="57471" y="31929"/>
                  </a:moveTo>
                  <a:cubicBezTo>
                    <a:pt x="59992" y="33374"/>
                    <a:pt x="62042" y="36937"/>
                    <a:pt x="62042" y="39827"/>
                  </a:cubicBezTo>
                  <a:lnTo>
                    <a:pt x="61941" y="72226"/>
                  </a:lnTo>
                  <a:cubicBezTo>
                    <a:pt x="61941" y="75150"/>
                    <a:pt x="59857" y="76326"/>
                    <a:pt x="57337" y="74847"/>
                  </a:cubicBezTo>
                  <a:lnTo>
                    <a:pt x="4571" y="44398"/>
                  </a:lnTo>
                  <a:cubicBezTo>
                    <a:pt x="2017" y="42919"/>
                    <a:pt x="0" y="39390"/>
                    <a:pt x="0" y="36466"/>
                  </a:cubicBezTo>
                  <a:lnTo>
                    <a:pt x="101" y="4067"/>
                  </a:lnTo>
                  <a:cubicBezTo>
                    <a:pt x="101" y="1177"/>
                    <a:pt x="2151" y="1"/>
                    <a:pt x="4672" y="1446"/>
                  </a:cubicBezTo>
                  <a:close/>
                </a:path>
              </a:pathLst>
            </a:custGeom>
            <a:solidFill>
              <a:srgbClr val="BF4CA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38" name="Google Shape;3633;p49"/>
            <p:cNvSpPr/>
            <p:nvPr/>
          </p:nvSpPr>
          <p:spPr>
            <a:xfrm>
              <a:off x="-21281800" y="8653725"/>
              <a:ext cx="573050" cy="742775"/>
            </a:xfrm>
            <a:custGeom>
              <a:avLst/>
              <a:gdLst/>
              <a:ahLst/>
              <a:cxnLst/>
              <a:rect l="l" t="t" r="r" b="b"/>
              <a:pathLst>
                <a:path w="22922" h="29711" extrusionOk="0">
                  <a:moveTo>
                    <a:pt x="101" y="0"/>
                  </a:moveTo>
                  <a:lnTo>
                    <a:pt x="1" y="29710"/>
                  </a:lnTo>
                  <a:lnTo>
                    <a:pt x="22922" y="28064"/>
                  </a:lnTo>
                  <a:lnTo>
                    <a:pt x="101"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39" name="Google Shape;3634;p49"/>
            <p:cNvSpPr/>
            <p:nvPr/>
          </p:nvSpPr>
          <p:spPr>
            <a:xfrm>
              <a:off x="-17031150" y="9080550"/>
              <a:ext cx="287375" cy="84050"/>
            </a:xfrm>
            <a:custGeom>
              <a:avLst/>
              <a:gdLst/>
              <a:ahLst/>
              <a:cxnLst/>
              <a:rect l="l" t="t" r="r" b="b"/>
              <a:pathLst>
                <a:path w="11495" h="3362" extrusionOk="0">
                  <a:moveTo>
                    <a:pt x="1278" y="2555"/>
                  </a:moveTo>
                  <a:cubicBezTo>
                    <a:pt x="1446" y="2521"/>
                    <a:pt x="1580" y="2488"/>
                    <a:pt x="1715" y="2454"/>
                  </a:cubicBezTo>
                  <a:cubicBezTo>
                    <a:pt x="1916" y="2387"/>
                    <a:pt x="2118" y="2353"/>
                    <a:pt x="2320" y="2353"/>
                  </a:cubicBezTo>
                  <a:cubicBezTo>
                    <a:pt x="2387" y="2320"/>
                    <a:pt x="2420" y="2320"/>
                    <a:pt x="2488" y="2320"/>
                  </a:cubicBezTo>
                  <a:cubicBezTo>
                    <a:pt x="2756" y="2286"/>
                    <a:pt x="3059" y="2286"/>
                    <a:pt x="3328" y="2286"/>
                  </a:cubicBezTo>
                  <a:cubicBezTo>
                    <a:pt x="3395" y="2286"/>
                    <a:pt x="3429" y="2286"/>
                    <a:pt x="3496" y="2286"/>
                  </a:cubicBezTo>
                  <a:cubicBezTo>
                    <a:pt x="3765" y="2286"/>
                    <a:pt x="4067" y="2320"/>
                    <a:pt x="4336" y="2353"/>
                  </a:cubicBezTo>
                  <a:lnTo>
                    <a:pt x="4437" y="2387"/>
                  </a:lnTo>
                  <a:cubicBezTo>
                    <a:pt x="4739" y="2420"/>
                    <a:pt x="5042" y="2488"/>
                    <a:pt x="5378" y="2555"/>
                  </a:cubicBezTo>
                  <a:cubicBezTo>
                    <a:pt x="5378" y="2588"/>
                    <a:pt x="5412" y="2588"/>
                    <a:pt x="5445" y="2588"/>
                  </a:cubicBezTo>
                  <a:cubicBezTo>
                    <a:pt x="5748" y="2656"/>
                    <a:pt x="6084" y="2756"/>
                    <a:pt x="6420" y="2891"/>
                  </a:cubicBezTo>
                  <a:cubicBezTo>
                    <a:pt x="6453" y="2891"/>
                    <a:pt x="6487" y="2891"/>
                    <a:pt x="6521" y="2925"/>
                  </a:cubicBezTo>
                  <a:cubicBezTo>
                    <a:pt x="6857" y="3059"/>
                    <a:pt x="7193" y="3193"/>
                    <a:pt x="7529" y="3361"/>
                  </a:cubicBezTo>
                  <a:lnTo>
                    <a:pt x="11495" y="1042"/>
                  </a:lnTo>
                  <a:cubicBezTo>
                    <a:pt x="11394" y="1009"/>
                    <a:pt x="11327" y="975"/>
                    <a:pt x="11259" y="942"/>
                  </a:cubicBezTo>
                  <a:cubicBezTo>
                    <a:pt x="11091" y="874"/>
                    <a:pt x="10923" y="807"/>
                    <a:pt x="10755" y="740"/>
                  </a:cubicBezTo>
                  <a:cubicBezTo>
                    <a:pt x="10655" y="706"/>
                    <a:pt x="10554" y="673"/>
                    <a:pt x="10453" y="639"/>
                  </a:cubicBezTo>
                  <a:cubicBezTo>
                    <a:pt x="10419" y="606"/>
                    <a:pt x="10386" y="606"/>
                    <a:pt x="10352" y="606"/>
                  </a:cubicBezTo>
                  <a:cubicBezTo>
                    <a:pt x="10318" y="572"/>
                    <a:pt x="10285" y="572"/>
                    <a:pt x="10251" y="572"/>
                  </a:cubicBezTo>
                  <a:cubicBezTo>
                    <a:pt x="10117" y="505"/>
                    <a:pt x="9949" y="437"/>
                    <a:pt x="9781" y="404"/>
                  </a:cubicBezTo>
                  <a:cubicBezTo>
                    <a:pt x="9646" y="370"/>
                    <a:pt x="9512" y="337"/>
                    <a:pt x="9377" y="303"/>
                  </a:cubicBezTo>
                  <a:cubicBezTo>
                    <a:pt x="9377" y="303"/>
                    <a:pt x="9344" y="269"/>
                    <a:pt x="9310" y="269"/>
                  </a:cubicBezTo>
                  <a:lnTo>
                    <a:pt x="9277" y="269"/>
                  </a:lnTo>
                  <a:cubicBezTo>
                    <a:pt x="9109" y="236"/>
                    <a:pt x="8940" y="169"/>
                    <a:pt x="8772" y="169"/>
                  </a:cubicBezTo>
                  <a:cubicBezTo>
                    <a:pt x="8638" y="135"/>
                    <a:pt x="8504" y="101"/>
                    <a:pt x="8369" y="101"/>
                  </a:cubicBezTo>
                  <a:lnTo>
                    <a:pt x="8302" y="68"/>
                  </a:lnTo>
                  <a:cubicBezTo>
                    <a:pt x="8268" y="68"/>
                    <a:pt x="8268" y="68"/>
                    <a:pt x="8235" y="68"/>
                  </a:cubicBezTo>
                  <a:cubicBezTo>
                    <a:pt x="8033" y="34"/>
                    <a:pt x="7865" y="34"/>
                    <a:pt x="7697" y="1"/>
                  </a:cubicBezTo>
                  <a:cubicBezTo>
                    <a:pt x="7596" y="1"/>
                    <a:pt x="7529" y="1"/>
                    <a:pt x="7428" y="1"/>
                  </a:cubicBezTo>
                  <a:cubicBezTo>
                    <a:pt x="7394" y="1"/>
                    <a:pt x="7327" y="1"/>
                    <a:pt x="7260" y="1"/>
                  </a:cubicBezTo>
                  <a:cubicBezTo>
                    <a:pt x="7226" y="1"/>
                    <a:pt x="7159" y="1"/>
                    <a:pt x="7126" y="1"/>
                  </a:cubicBezTo>
                  <a:cubicBezTo>
                    <a:pt x="6924" y="1"/>
                    <a:pt x="6689" y="1"/>
                    <a:pt x="6487" y="34"/>
                  </a:cubicBezTo>
                  <a:cubicBezTo>
                    <a:pt x="6487" y="34"/>
                    <a:pt x="6453" y="34"/>
                    <a:pt x="6453" y="34"/>
                  </a:cubicBezTo>
                  <a:cubicBezTo>
                    <a:pt x="6386" y="34"/>
                    <a:pt x="6353" y="34"/>
                    <a:pt x="6285" y="68"/>
                  </a:cubicBezTo>
                  <a:cubicBezTo>
                    <a:pt x="6117" y="68"/>
                    <a:pt x="5949" y="101"/>
                    <a:pt x="5781" y="135"/>
                  </a:cubicBezTo>
                  <a:cubicBezTo>
                    <a:pt x="5748" y="135"/>
                    <a:pt x="5714" y="169"/>
                    <a:pt x="5680" y="169"/>
                  </a:cubicBezTo>
                  <a:cubicBezTo>
                    <a:pt x="5512" y="202"/>
                    <a:pt x="5378" y="236"/>
                    <a:pt x="5244" y="269"/>
                  </a:cubicBezTo>
                  <a:cubicBezTo>
                    <a:pt x="5143" y="303"/>
                    <a:pt x="5042" y="337"/>
                    <a:pt x="4941" y="370"/>
                  </a:cubicBezTo>
                  <a:cubicBezTo>
                    <a:pt x="4907" y="370"/>
                    <a:pt x="4840" y="404"/>
                    <a:pt x="4773" y="404"/>
                  </a:cubicBezTo>
                  <a:cubicBezTo>
                    <a:pt x="4739" y="437"/>
                    <a:pt x="4672" y="471"/>
                    <a:pt x="4605" y="471"/>
                  </a:cubicBezTo>
                  <a:cubicBezTo>
                    <a:pt x="4370" y="572"/>
                    <a:pt x="4168" y="706"/>
                    <a:pt x="3933" y="807"/>
                  </a:cubicBezTo>
                  <a:lnTo>
                    <a:pt x="1" y="3126"/>
                  </a:lnTo>
                  <a:cubicBezTo>
                    <a:pt x="202" y="2992"/>
                    <a:pt x="437" y="2891"/>
                    <a:pt x="673" y="2790"/>
                  </a:cubicBezTo>
                  <a:cubicBezTo>
                    <a:pt x="740" y="2756"/>
                    <a:pt x="774" y="2723"/>
                    <a:pt x="841" y="2723"/>
                  </a:cubicBezTo>
                  <a:cubicBezTo>
                    <a:pt x="975" y="2656"/>
                    <a:pt x="1143" y="2622"/>
                    <a:pt x="1278" y="2555"/>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40" name="Google Shape;3635;p49"/>
            <p:cNvSpPr/>
            <p:nvPr/>
          </p:nvSpPr>
          <p:spPr>
            <a:xfrm>
              <a:off x="-16737075" y="8848650"/>
              <a:ext cx="355425" cy="107575"/>
            </a:xfrm>
            <a:custGeom>
              <a:avLst/>
              <a:gdLst/>
              <a:ahLst/>
              <a:cxnLst/>
              <a:rect l="l" t="t" r="r" b="b"/>
              <a:pathLst>
                <a:path w="14217" h="4303" extrusionOk="0">
                  <a:moveTo>
                    <a:pt x="1076" y="2756"/>
                  </a:moveTo>
                  <a:cubicBezTo>
                    <a:pt x="1143" y="2756"/>
                    <a:pt x="1177" y="2723"/>
                    <a:pt x="1244" y="2723"/>
                  </a:cubicBezTo>
                  <a:cubicBezTo>
                    <a:pt x="1547" y="2622"/>
                    <a:pt x="1849" y="2521"/>
                    <a:pt x="2152" y="2454"/>
                  </a:cubicBezTo>
                  <a:cubicBezTo>
                    <a:pt x="2185" y="2454"/>
                    <a:pt x="2185" y="2454"/>
                    <a:pt x="2219" y="2454"/>
                  </a:cubicBezTo>
                  <a:cubicBezTo>
                    <a:pt x="2420" y="2420"/>
                    <a:pt x="2656" y="2387"/>
                    <a:pt x="2891" y="2353"/>
                  </a:cubicBezTo>
                  <a:cubicBezTo>
                    <a:pt x="2992" y="2353"/>
                    <a:pt x="3059" y="2353"/>
                    <a:pt x="3126" y="2320"/>
                  </a:cubicBezTo>
                  <a:cubicBezTo>
                    <a:pt x="3294" y="2320"/>
                    <a:pt x="3429" y="2320"/>
                    <a:pt x="3597" y="2320"/>
                  </a:cubicBezTo>
                  <a:cubicBezTo>
                    <a:pt x="3664" y="2320"/>
                    <a:pt x="3765" y="2320"/>
                    <a:pt x="3832" y="2320"/>
                  </a:cubicBezTo>
                  <a:cubicBezTo>
                    <a:pt x="3966" y="2320"/>
                    <a:pt x="4101" y="2320"/>
                    <a:pt x="4202" y="2320"/>
                  </a:cubicBezTo>
                  <a:cubicBezTo>
                    <a:pt x="4303" y="2320"/>
                    <a:pt x="4403" y="2320"/>
                    <a:pt x="4504" y="2353"/>
                  </a:cubicBezTo>
                  <a:cubicBezTo>
                    <a:pt x="4605" y="2353"/>
                    <a:pt x="4706" y="2353"/>
                    <a:pt x="4840" y="2387"/>
                  </a:cubicBezTo>
                  <a:cubicBezTo>
                    <a:pt x="4941" y="2387"/>
                    <a:pt x="5042" y="2387"/>
                    <a:pt x="5176" y="2420"/>
                  </a:cubicBezTo>
                  <a:cubicBezTo>
                    <a:pt x="5277" y="2420"/>
                    <a:pt x="5378" y="2454"/>
                    <a:pt x="5479" y="2454"/>
                  </a:cubicBezTo>
                  <a:cubicBezTo>
                    <a:pt x="5580" y="2488"/>
                    <a:pt x="5714" y="2488"/>
                    <a:pt x="5848" y="2521"/>
                  </a:cubicBezTo>
                  <a:cubicBezTo>
                    <a:pt x="5916" y="2555"/>
                    <a:pt x="6017" y="2555"/>
                    <a:pt x="6084" y="2588"/>
                  </a:cubicBezTo>
                  <a:cubicBezTo>
                    <a:pt x="6218" y="2622"/>
                    <a:pt x="6353" y="2656"/>
                    <a:pt x="6487" y="2689"/>
                  </a:cubicBezTo>
                  <a:cubicBezTo>
                    <a:pt x="6588" y="2689"/>
                    <a:pt x="6655" y="2723"/>
                    <a:pt x="6756" y="2756"/>
                  </a:cubicBezTo>
                  <a:cubicBezTo>
                    <a:pt x="6890" y="2790"/>
                    <a:pt x="7025" y="2857"/>
                    <a:pt x="7193" y="2891"/>
                  </a:cubicBezTo>
                  <a:cubicBezTo>
                    <a:pt x="7260" y="2925"/>
                    <a:pt x="7327" y="2925"/>
                    <a:pt x="7394" y="2958"/>
                  </a:cubicBezTo>
                  <a:cubicBezTo>
                    <a:pt x="7596" y="3025"/>
                    <a:pt x="7831" y="3126"/>
                    <a:pt x="8033" y="3193"/>
                  </a:cubicBezTo>
                  <a:cubicBezTo>
                    <a:pt x="8067" y="3193"/>
                    <a:pt x="8067" y="3193"/>
                    <a:pt x="8067" y="3227"/>
                  </a:cubicBezTo>
                  <a:cubicBezTo>
                    <a:pt x="8268" y="3294"/>
                    <a:pt x="8504" y="3395"/>
                    <a:pt x="8705" y="3496"/>
                  </a:cubicBezTo>
                  <a:cubicBezTo>
                    <a:pt x="8772" y="3529"/>
                    <a:pt x="8840" y="3563"/>
                    <a:pt x="8907" y="3597"/>
                  </a:cubicBezTo>
                  <a:cubicBezTo>
                    <a:pt x="9075" y="3664"/>
                    <a:pt x="9243" y="3731"/>
                    <a:pt x="9411" y="3832"/>
                  </a:cubicBezTo>
                  <a:cubicBezTo>
                    <a:pt x="9478" y="3866"/>
                    <a:pt x="9545" y="3899"/>
                    <a:pt x="9646" y="3933"/>
                  </a:cubicBezTo>
                  <a:cubicBezTo>
                    <a:pt x="9848" y="4034"/>
                    <a:pt x="10050" y="4168"/>
                    <a:pt x="10251" y="4302"/>
                  </a:cubicBezTo>
                  <a:lnTo>
                    <a:pt x="14217" y="1983"/>
                  </a:lnTo>
                  <a:cubicBezTo>
                    <a:pt x="14049" y="1916"/>
                    <a:pt x="13915" y="1815"/>
                    <a:pt x="13747" y="1748"/>
                  </a:cubicBezTo>
                  <a:cubicBezTo>
                    <a:pt x="13679" y="1715"/>
                    <a:pt x="13646" y="1681"/>
                    <a:pt x="13578" y="1647"/>
                  </a:cubicBezTo>
                  <a:cubicBezTo>
                    <a:pt x="13511" y="1614"/>
                    <a:pt x="13410" y="1547"/>
                    <a:pt x="13343" y="1513"/>
                  </a:cubicBezTo>
                  <a:cubicBezTo>
                    <a:pt x="13276" y="1479"/>
                    <a:pt x="13209" y="1446"/>
                    <a:pt x="13142" y="1412"/>
                  </a:cubicBezTo>
                  <a:cubicBezTo>
                    <a:pt x="13074" y="1379"/>
                    <a:pt x="12974" y="1345"/>
                    <a:pt x="12873" y="1278"/>
                  </a:cubicBezTo>
                  <a:cubicBezTo>
                    <a:pt x="12805" y="1244"/>
                    <a:pt x="12738" y="1210"/>
                    <a:pt x="12671" y="1177"/>
                  </a:cubicBezTo>
                  <a:cubicBezTo>
                    <a:pt x="12637" y="1177"/>
                    <a:pt x="12604" y="1177"/>
                    <a:pt x="12570" y="1143"/>
                  </a:cubicBezTo>
                  <a:cubicBezTo>
                    <a:pt x="12369" y="1076"/>
                    <a:pt x="12201" y="975"/>
                    <a:pt x="11999" y="908"/>
                  </a:cubicBezTo>
                  <a:cubicBezTo>
                    <a:pt x="11999" y="908"/>
                    <a:pt x="11999" y="908"/>
                    <a:pt x="11999" y="908"/>
                  </a:cubicBezTo>
                  <a:lnTo>
                    <a:pt x="11999" y="908"/>
                  </a:lnTo>
                  <a:cubicBezTo>
                    <a:pt x="11797" y="841"/>
                    <a:pt x="11596" y="740"/>
                    <a:pt x="11394" y="673"/>
                  </a:cubicBezTo>
                  <a:cubicBezTo>
                    <a:pt x="11394" y="673"/>
                    <a:pt x="11360" y="673"/>
                    <a:pt x="11327" y="673"/>
                  </a:cubicBezTo>
                  <a:cubicBezTo>
                    <a:pt x="11259" y="639"/>
                    <a:pt x="11192" y="606"/>
                    <a:pt x="11125" y="606"/>
                  </a:cubicBezTo>
                  <a:cubicBezTo>
                    <a:pt x="11024" y="572"/>
                    <a:pt x="10923" y="538"/>
                    <a:pt x="10823" y="505"/>
                  </a:cubicBezTo>
                  <a:cubicBezTo>
                    <a:pt x="10789" y="505"/>
                    <a:pt x="10722" y="471"/>
                    <a:pt x="10688" y="471"/>
                  </a:cubicBezTo>
                  <a:cubicBezTo>
                    <a:pt x="10587" y="437"/>
                    <a:pt x="10520" y="404"/>
                    <a:pt x="10419" y="404"/>
                  </a:cubicBezTo>
                  <a:cubicBezTo>
                    <a:pt x="10352" y="370"/>
                    <a:pt x="10285" y="370"/>
                    <a:pt x="10218" y="337"/>
                  </a:cubicBezTo>
                  <a:cubicBezTo>
                    <a:pt x="10150" y="337"/>
                    <a:pt x="10083" y="303"/>
                    <a:pt x="10016" y="303"/>
                  </a:cubicBezTo>
                  <a:cubicBezTo>
                    <a:pt x="9949" y="269"/>
                    <a:pt x="9848" y="269"/>
                    <a:pt x="9781" y="236"/>
                  </a:cubicBezTo>
                  <a:cubicBezTo>
                    <a:pt x="9747" y="236"/>
                    <a:pt x="9680" y="202"/>
                    <a:pt x="9646" y="202"/>
                  </a:cubicBezTo>
                  <a:cubicBezTo>
                    <a:pt x="9545" y="202"/>
                    <a:pt x="9478" y="169"/>
                    <a:pt x="9411" y="169"/>
                  </a:cubicBezTo>
                  <a:cubicBezTo>
                    <a:pt x="9310" y="169"/>
                    <a:pt x="9209" y="135"/>
                    <a:pt x="9109" y="135"/>
                  </a:cubicBezTo>
                  <a:cubicBezTo>
                    <a:pt x="9075" y="101"/>
                    <a:pt x="9041" y="101"/>
                    <a:pt x="9008" y="101"/>
                  </a:cubicBezTo>
                  <a:cubicBezTo>
                    <a:pt x="8940" y="101"/>
                    <a:pt x="8840" y="101"/>
                    <a:pt x="8772" y="68"/>
                  </a:cubicBezTo>
                  <a:cubicBezTo>
                    <a:pt x="8672" y="68"/>
                    <a:pt x="8571" y="68"/>
                    <a:pt x="8470" y="34"/>
                  </a:cubicBezTo>
                  <a:cubicBezTo>
                    <a:pt x="8436" y="34"/>
                    <a:pt x="8403" y="34"/>
                    <a:pt x="8369" y="34"/>
                  </a:cubicBezTo>
                  <a:cubicBezTo>
                    <a:pt x="8302" y="34"/>
                    <a:pt x="8235" y="34"/>
                    <a:pt x="8167" y="34"/>
                  </a:cubicBezTo>
                  <a:cubicBezTo>
                    <a:pt x="8033" y="34"/>
                    <a:pt x="7932" y="34"/>
                    <a:pt x="7798" y="34"/>
                  </a:cubicBezTo>
                  <a:cubicBezTo>
                    <a:pt x="7764" y="34"/>
                    <a:pt x="7731" y="1"/>
                    <a:pt x="7697" y="1"/>
                  </a:cubicBezTo>
                  <a:cubicBezTo>
                    <a:pt x="7630" y="1"/>
                    <a:pt x="7596" y="34"/>
                    <a:pt x="7529" y="34"/>
                  </a:cubicBezTo>
                  <a:cubicBezTo>
                    <a:pt x="7394" y="34"/>
                    <a:pt x="7226" y="34"/>
                    <a:pt x="7092" y="34"/>
                  </a:cubicBezTo>
                  <a:cubicBezTo>
                    <a:pt x="7025" y="34"/>
                    <a:pt x="6991" y="34"/>
                    <a:pt x="6958" y="34"/>
                  </a:cubicBezTo>
                  <a:cubicBezTo>
                    <a:pt x="6924" y="68"/>
                    <a:pt x="6890" y="68"/>
                    <a:pt x="6857" y="68"/>
                  </a:cubicBezTo>
                  <a:cubicBezTo>
                    <a:pt x="6621" y="101"/>
                    <a:pt x="6386" y="101"/>
                    <a:pt x="6185" y="169"/>
                  </a:cubicBezTo>
                  <a:cubicBezTo>
                    <a:pt x="6151" y="169"/>
                    <a:pt x="6151" y="169"/>
                    <a:pt x="6117" y="169"/>
                  </a:cubicBezTo>
                  <a:cubicBezTo>
                    <a:pt x="6117" y="169"/>
                    <a:pt x="6117" y="169"/>
                    <a:pt x="6117" y="169"/>
                  </a:cubicBezTo>
                  <a:cubicBezTo>
                    <a:pt x="5781" y="236"/>
                    <a:pt x="5479" y="337"/>
                    <a:pt x="5176" y="437"/>
                  </a:cubicBezTo>
                  <a:cubicBezTo>
                    <a:pt x="5176" y="437"/>
                    <a:pt x="5143" y="437"/>
                    <a:pt x="5109" y="437"/>
                  </a:cubicBezTo>
                  <a:lnTo>
                    <a:pt x="5042" y="471"/>
                  </a:lnTo>
                  <a:cubicBezTo>
                    <a:pt x="4907" y="505"/>
                    <a:pt x="4807" y="572"/>
                    <a:pt x="4672" y="639"/>
                  </a:cubicBezTo>
                  <a:cubicBezTo>
                    <a:pt x="4605" y="639"/>
                    <a:pt x="4538" y="673"/>
                    <a:pt x="4471" y="706"/>
                  </a:cubicBezTo>
                  <a:cubicBezTo>
                    <a:pt x="4303" y="807"/>
                    <a:pt x="4101" y="874"/>
                    <a:pt x="3933" y="975"/>
                  </a:cubicBezTo>
                  <a:lnTo>
                    <a:pt x="1" y="3294"/>
                  </a:lnTo>
                  <a:cubicBezTo>
                    <a:pt x="169" y="3193"/>
                    <a:pt x="337" y="3093"/>
                    <a:pt x="538" y="2992"/>
                  </a:cubicBezTo>
                  <a:cubicBezTo>
                    <a:pt x="606" y="2958"/>
                    <a:pt x="639" y="2958"/>
                    <a:pt x="706" y="2925"/>
                  </a:cubicBezTo>
                  <a:cubicBezTo>
                    <a:pt x="841" y="2857"/>
                    <a:pt x="975" y="2824"/>
                    <a:pt x="1076" y="2756"/>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41" name="Google Shape;3636;p49"/>
            <p:cNvSpPr/>
            <p:nvPr/>
          </p:nvSpPr>
          <p:spPr>
            <a:xfrm>
              <a:off x="-16119525" y="9523350"/>
              <a:ext cx="373925" cy="762100"/>
            </a:xfrm>
            <a:custGeom>
              <a:avLst/>
              <a:gdLst/>
              <a:ahLst/>
              <a:cxnLst/>
              <a:rect l="l" t="t" r="r" b="b"/>
              <a:pathLst>
                <a:path w="14957" h="30484" extrusionOk="0">
                  <a:moveTo>
                    <a:pt x="14923" y="19829"/>
                  </a:moveTo>
                  <a:cubicBezTo>
                    <a:pt x="14923" y="19628"/>
                    <a:pt x="14923" y="19426"/>
                    <a:pt x="14890" y="19224"/>
                  </a:cubicBezTo>
                  <a:cubicBezTo>
                    <a:pt x="14890" y="19157"/>
                    <a:pt x="14890" y="19090"/>
                    <a:pt x="14890" y="19056"/>
                  </a:cubicBezTo>
                  <a:cubicBezTo>
                    <a:pt x="14890" y="18989"/>
                    <a:pt x="14890" y="18956"/>
                    <a:pt x="14890" y="18922"/>
                  </a:cubicBezTo>
                  <a:cubicBezTo>
                    <a:pt x="14890" y="18821"/>
                    <a:pt x="14856" y="18720"/>
                    <a:pt x="14856" y="18653"/>
                  </a:cubicBezTo>
                  <a:cubicBezTo>
                    <a:pt x="14856" y="18451"/>
                    <a:pt x="14822" y="18250"/>
                    <a:pt x="14789" y="18048"/>
                  </a:cubicBezTo>
                  <a:cubicBezTo>
                    <a:pt x="14789" y="17914"/>
                    <a:pt x="14755" y="17779"/>
                    <a:pt x="14722" y="17645"/>
                  </a:cubicBezTo>
                  <a:lnTo>
                    <a:pt x="14722" y="17544"/>
                  </a:lnTo>
                  <a:cubicBezTo>
                    <a:pt x="14722" y="17510"/>
                    <a:pt x="14722" y="17477"/>
                    <a:pt x="14688" y="17443"/>
                  </a:cubicBezTo>
                  <a:cubicBezTo>
                    <a:pt x="14688" y="17208"/>
                    <a:pt x="14621" y="17006"/>
                    <a:pt x="14587" y="16805"/>
                  </a:cubicBezTo>
                  <a:cubicBezTo>
                    <a:pt x="14553" y="16603"/>
                    <a:pt x="14520" y="16401"/>
                    <a:pt x="14486" y="16166"/>
                  </a:cubicBezTo>
                  <a:cubicBezTo>
                    <a:pt x="14486" y="16166"/>
                    <a:pt x="14453" y="16166"/>
                    <a:pt x="14453" y="16166"/>
                  </a:cubicBezTo>
                  <a:cubicBezTo>
                    <a:pt x="14453" y="16166"/>
                    <a:pt x="14453" y="16132"/>
                    <a:pt x="14453" y="16132"/>
                  </a:cubicBezTo>
                  <a:cubicBezTo>
                    <a:pt x="14419" y="15931"/>
                    <a:pt x="14385" y="15729"/>
                    <a:pt x="14318" y="15528"/>
                  </a:cubicBezTo>
                  <a:cubicBezTo>
                    <a:pt x="14251" y="15326"/>
                    <a:pt x="14217" y="15091"/>
                    <a:pt x="14150" y="14889"/>
                  </a:cubicBezTo>
                  <a:lnTo>
                    <a:pt x="14117" y="14755"/>
                  </a:lnTo>
                  <a:cubicBezTo>
                    <a:pt x="14083" y="14721"/>
                    <a:pt x="14083" y="14687"/>
                    <a:pt x="14083" y="14654"/>
                  </a:cubicBezTo>
                  <a:cubicBezTo>
                    <a:pt x="14049" y="14519"/>
                    <a:pt x="14016" y="14385"/>
                    <a:pt x="13949" y="14250"/>
                  </a:cubicBezTo>
                  <a:cubicBezTo>
                    <a:pt x="13881" y="14049"/>
                    <a:pt x="13814" y="13813"/>
                    <a:pt x="13747" y="13612"/>
                  </a:cubicBezTo>
                  <a:cubicBezTo>
                    <a:pt x="13713" y="13511"/>
                    <a:pt x="13680" y="13444"/>
                    <a:pt x="13646" y="13343"/>
                  </a:cubicBezTo>
                  <a:cubicBezTo>
                    <a:pt x="13646" y="13309"/>
                    <a:pt x="13646" y="13276"/>
                    <a:pt x="13612" y="13209"/>
                  </a:cubicBezTo>
                  <a:cubicBezTo>
                    <a:pt x="13579" y="13141"/>
                    <a:pt x="13579" y="13074"/>
                    <a:pt x="13545" y="13007"/>
                  </a:cubicBezTo>
                  <a:cubicBezTo>
                    <a:pt x="13478" y="12805"/>
                    <a:pt x="13377" y="12604"/>
                    <a:pt x="13310" y="12402"/>
                  </a:cubicBezTo>
                  <a:cubicBezTo>
                    <a:pt x="13243" y="12234"/>
                    <a:pt x="13176" y="12066"/>
                    <a:pt x="13108" y="11898"/>
                  </a:cubicBezTo>
                  <a:cubicBezTo>
                    <a:pt x="13108" y="11864"/>
                    <a:pt x="13108" y="11864"/>
                    <a:pt x="13108" y="11831"/>
                  </a:cubicBezTo>
                  <a:cubicBezTo>
                    <a:pt x="13075" y="11831"/>
                    <a:pt x="13075" y="11831"/>
                    <a:pt x="13075" y="11797"/>
                  </a:cubicBezTo>
                  <a:cubicBezTo>
                    <a:pt x="13007" y="11595"/>
                    <a:pt x="12907" y="11427"/>
                    <a:pt x="12839" y="11226"/>
                  </a:cubicBezTo>
                  <a:cubicBezTo>
                    <a:pt x="12739" y="11024"/>
                    <a:pt x="12638" y="10822"/>
                    <a:pt x="12537" y="10621"/>
                  </a:cubicBezTo>
                  <a:cubicBezTo>
                    <a:pt x="12537" y="10587"/>
                    <a:pt x="12503" y="10553"/>
                    <a:pt x="12503" y="10486"/>
                  </a:cubicBezTo>
                  <a:cubicBezTo>
                    <a:pt x="12470" y="10453"/>
                    <a:pt x="12470" y="10419"/>
                    <a:pt x="12436" y="10385"/>
                  </a:cubicBezTo>
                  <a:cubicBezTo>
                    <a:pt x="12369" y="10251"/>
                    <a:pt x="12302" y="10117"/>
                    <a:pt x="12234" y="9982"/>
                  </a:cubicBezTo>
                  <a:cubicBezTo>
                    <a:pt x="12134" y="9747"/>
                    <a:pt x="11999" y="9512"/>
                    <a:pt x="11865" y="9276"/>
                  </a:cubicBezTo>
                  <a:cubicBezTo>
                    <a:pt x="11865" y="9243"/>
                    <a:pt x="11831" y="9209"/>
                    <a:pt x="11798" y="9142"/>
                  </a:cubicBezTo>
                  <a:cubicBezTo>
                    <a:pt x="11730" y="9041"/>
                    <a:pt x="11663" y="8940"/>
                    <a:pt x="11630" y="8806"/>
                  </a:cubicBezTo>
                  <a:cubicBezTo>
                    <a:pt x="11495" y="8604"/>
                    <a:pt x="11394" y="8402"/>
                    <a:pt x="11260" y="8201"/>
                  </a:cubicBezTo>
                  <a:cubicBezTo>
                    <a:pt x="11226" y="8134"/>
                    <a:pt x="11193" y="8066"/>
                    <a:pt x="11159" y="7999"/>
                  </a:cubicBezTo>
                  <a:cubicBezTo>
                    <a:pt x="10957" y="7663"/>
                    <a:pt x="10722" y="7327"/>
                    <a:pt x="10520" y="6991"/>
                  </a:cubicBezTo>
                  <a:cubicBezTo>
                    <a:pt x="10453" y="6890"/>
                    <a:pt x="10386" y="6756"/>
                    <a:pt x="10285" y="6655"/>
                  </a:cubicBezTo>
                  <a:lnTo>
                    <a:pt x="10218" y="6520"/>
                  </a:lnTo>
                  <a:cubicBezTo>
                    <a:pt x="10117" y="6386"/>
                    <a:pt x="10016" y="6252"/>
                    <a:pt x="9949" y="6117"/>
                  </a:cubicBezTo>
                  <a:cubicBezTo>
                    <a:pt x="9815" y="5949"/>
                    <a:pt x="9680" y="5747"/>
                    <a:pt x="9546" y="5579"/>
                  </a:cubicBezTo>
                  <a:cubicBezTo>
                    <a:pt x="9479" y="5479"/>
                    <a:pt x="9411" y="5378"/>
                    <a:pt x="9311" y="5277"/>
                  </a:cubicBezTo>
                  <a:lnTo>
                    <a:pt x="9176" y="5075"/>
                  </a:lnTo>
                  <a:cubicBezTo>
                    <a:pt x="9109" y="5008"/>
                    <a:pt x="9075" y="4941"/>
                    <a:pt x="9008" y="4874"/>
                  </a:cubicBezTo>
                  <a:lnTo>
                    <a:pt x="8538" y="4302"/>
                  </a:lnTo>
                  <a:cubicBezTo>
                    <a:pt x="8470" y="4201"/>
                    <a:pt x="8403" y="4134"/>
                    <a:pt x="8336" y="4033"/>
                  </a:cubicBezTo>
                  <a:cubicBezTo>
                    <a:pt x="8302" y="4000"/>
                    <a:pt x="8269" y="3966"/>
                    <a:pt x="8235" y="3899"/>
                  </a:cubicBezTo>
                  <a:lnTo>
                    <a:pt x="8067" y="3731"/>
                  </a:lnTo>
                  <a:cubicBezTo>
                    <a:pt x="7933" y="3563"/>
                    <a:pt x="7765" y="3395"/>
                    <a:pt x="7596" y="3193"/>
                  </a:cubicBezTo>
                  <a:lnTo>
                    <a:pt x="7328" y="2924"/>
                  </a:lnTo>
                  <a:cubicBezTo>
                    <a:pt x="7294" y="2891"/>
                    <a:pt x="7260" y="2857"/>
                    <a:pt x="7227" y="2823"/>
                  </a:cubicBezTo>
                  <a:cubicBezTo>
                    <a:pt x="7160" y="2756"/>
                    <a:pt x="7126" y="2723"/>
                    <a:pt x="7092" y="2689"/>
                  </a:cubicBezTo>
                  <a:cubicBezTo>
                    <a:pt x="6924" y="2487"/>
                    <a:pt x="6756" y="2319"/>
                    <a:pt x="6555" y="2151"/>
                  </a:cubicBezTo>
                  <a:cubicBezTo>
                    <a:pt x="6487" y="2084"/>
                    <a:pt x="6387" y="1983"/>
                    <a:pt x="6286" y="1882"/>
                  </a:cubicBezTo>
                  <a:cubicBezTo>
                    <a:pt x="6219" y="1849"/>
                    <a:pt x="6185" y="1815"/>
                    <a:pt x="6151" y="1782"/>
                  </a:cubicBezTo>
                  <a:cubicBezTo>
                    <a:pt x="6118" y="1748"/>
                    <a:pt x="6084" y="1681"/>
                    <a:pt x="6017" y="1647"/>
                  </a:cubicBezTo>
                  <a:cubicBezTo>
                    <a:pt x="5849" y="1479"/>
                    <a:pt x="5647" y="1345"/>
                    <a:pt x="5479" y="1177"/>
                  </a:cubicBezTo>
                  <a:cubicBezTo>
                    <a:pt x="5378" y="1076"/>
                    <a:pt x="5277" y="1009"/>
                    <a:pt x="5177" y="908"/>
                  </a:cubicBezTo>
                  <a:cubicBezTo>
                    <a:pt x="5109" y="874"/>
                    <a:pt x="5076" y="841"/>
                    <a:pt x="5042" y="841"/>
                  </a:cubicBezTo>
                  <a:cubicBezTo>
                    <a:pt x="5009" y="807"/>
                    <a:pt x="4975" y="773"/>
                    <a:pt x="4908" y="740"/>
                  </a:cubicBezTo>
                  <a:cubicBezTo>
                    <a:pt x="4740" y="572"/>
                    <a:pt x="4572" y="437"/>
                    <a:pt x="4370" y="303"/>
                  </a:cubicBezTo>
                  <a:cubicBezTo>
                    <a:pt x="4236" y="202"/>
                    <a:pt x="4101" y="101"/>
                    <a:pt x="3933" y="0"/>
                  </a:cubicBezTo>
                  <a:lnTo>
                    <a:pt x="1" y="2286"/>
                  </a:lnTo>
                  <a:cubicBezTo>
                    <a:pt x="371" y="2555"/>
                    <a:pt x="740" y="2823"/>
                    <a:pt x="1110" y="3126"/>
                  </a:cubicBezTo>
                  <a:cubicBezTo>
                    <a:pt x="1144" y="3160"/>
                    <a:pt x="1177" y="3193"/>
                    <a:pt x="1211" y="3227"/>
                  </a:cubicBezTo>
                  <a:cubicBezTo>
                    <a:pt x="1547" y="3496"/>
                    <a:pt x="1883" y="3764"/>
                    <a:pt x="2185" y="4067"/>
                  </a:cubicBezTo>
                  <a:cubicBezTo>
                    <a:pt x="2253" y="4101"/>
                    <a:pt x="2286" y="4134"/>
                    <a:pt x="2320" y="4168"/>
                  </a:cubicBezTo>
                  <a:cubicBezTo>
                    <a:pt x="2622" y="4470"/>
                    <a:pt x="2958" y="4773"/>
                    <a:pt x="3261" y="5109"/>
                  </a:cubicBezTo>
                  <a:cubicBezTo>
                    <a:pt x="3295" y="5142"/>
                    <a:pt x="3328" y="5176"/>
                    <a:pt x="3362" y="5210"/>
                  </a:cubicBezTo>
                  <a:cubicBezTo>
                    <a:pt x="3698" y="5546"/>
                    <a:pt x="3967" y="5882"/>
                    <a:pt x="4269" y="6218"/>
                  </a:cubicBezTo>
                  <a:cubicBezTo>
                    <a:pt x="4303" y="6252"/>
                    <a:pt x="4370" y="6319"/>
                    <a:pt x="4404" y="6352"/>
                  </a:cubicBezTo>
                  <a:cubicBezTo>
                    <a:pt x="4673" y="6688"/>
                    <a:pt x="4941" y="7025"/>
                    <a:pt x="5244" y="7361"/>
                  </a:cubicBezTo>
                  <a:cubicBezTo>
                    <a:pt x="5277" y="7428"/>
                    <a:pt x="5345" y="7495"/>
                    <a:pt x="5378" y="7562"/>
                  </a:cubicBezTo>
                  <a:cubicBezTo>
                    <a:pt x="5580" y="7865"/>
                    <a:pt x="5782" y="8134"/>
                    <a:pt x="5983" y="8436"/>
                  </a:cubicBezTo>
                  <a:cubicBezTo>
                    <a:pt x="6084" y="8571"/>
                    <a:pt x="6185" y="8671"/>
                    <a:pt x="6286" y="8806"/>
                  </a:cubicBezTo>
                  <a:cubicBezTo>
                    <a:pt x="6387" y="8974"/>
                    <a:pt x="6487" y="9142"/>
                    <a:pt x="6588" y="9310"/>
                  </a:cubicBezTo>
                  <a:cubicBezTo>
                    <a:pt x="6790" y="9612"/>
                    <a:pt x="7025" y="9948"/>
                    <a:pt x="7227" y="10285"/>
                  </a:cubicBezTo>
                  <a:cubicBezTo>
                    <a:pt x="7361" y="10553"/>
                    <a:pt x="7529" y="10822"/>
                    <a:pt x="7697" y="11091"/>
                  </a:cubicBezTo>
                  <a:cubicBezTo>
                    <a:pt x="7765" y="11226"/>
                    <a:pt x="7832" y="11326"/>
                    <a:pt x="7865" y="11461"/>
                  </a:cubicBezTo>
                  <a:cubicBezTo>
                    <a:pt x="8101" y="11864"/>
                    <a:pt x="8302" y="12267"/>
                    <a:pt x="8504" y="12671"/>
                  </a:cubicBezTo>
                  <a:cubicBezTo>
                    <a:pt x="8504" y="12704"/>
                    <a:pt x="8538" y="12738"/>
                    <a:pt x="8571" y="12805"/>
                  </a:cubicBezTo>
                  <a:cubicBezTo>
                    <a:pt x="8773" y="13242"/>
                    <a:pt x="8974" y="13679"/>
                    <a:pt x="9176" y="14150"/>
                  </a:cubicBezTo>
                  <a:cubicBezTo>
                    <a:pt x="9176" y="14150"/>
                    <a:pt x="9176" y="14183"/>
                    <a:pt x="9176" y="14183"/>
                  </a:cubicBezTo>
                  <a:cubicBezTo>
                    <a:pt x="9344" y="14620"/>
                    <a:pt x="9546" y="15057"/>
                    <a:pt x="9680" y="15528"/>
                  </a:cubicBezTo>
                  <a:cubicBezTo>
                    <a:pt x="9714" y="15561"/>
                    <a:pt x="9714" y="15595"/>
                    <a:pt x="9747" y="15628"/>
                  </a:cubicBezTo>
                  <a:cubicBezTo>
                    <a:pt x="9882" y="16065"/>
                    <a:pt x="10016" y="16502"/>
                    <a:pt x="10151" y="16939"/>
                  </a:cubicBezTo>
                  <a:cubicBezTo>
                    <a:pt x="10151" y="16973"/>
                    <a:pt x="10184" y="17006"/>
                    <a:pt x="10184" y="17040"/>
                  </a:cubicBezTo>
                  <a:cubicBezTo>
                    <a:pt x="10319" y="17510"/>
                    <a:pt x="10420" y="17981"/>
                    <a:pt x="10520" y="18418"/>
                  </a:cubicBezTo>
                  <a:cubicBezTo>
                    <a:pt x="10520" y="18418"/>
                    <a:pt x="10520" y="18451"/>
                    <a:pt x="10520" y="18451"/>
                  </a:cubicBezTo>
                  <a:cubicBezTo>
                    <a:pt x="10621" y="18922"/>
                    <a:pt x="10722" y="19359"/>
                    <a:pt x="10789" y="19829"/>
                  </a:cubicBezTo>
                  <a:lnTo>
                    <a:pt x="10789" y="19930"/>
                  </a:lnTo>
                  <a:cubicBezTo>
                    <a:pt x="10857" y="20367"/>
                    <a:pt x="10924" y="20804"/>
                    <a:pt x="10957" y="21207"/>
                  </a:cubicBezTo>
                  <a:cubicBezTo>
                    <a:pt x="10957" y="21241"/>
                    <a:pt x="10957" y="21308"/>
                    <a:pt x="10957" y="21342"/>
                  </a:cubicBezTo>
                  <a:cubicBezTo>
                    <a:pt x="10991" y="21779"/>
                    <a:pt x="10991" y="22216"/>
                    <a:pt x="10991" y="22653"/>
                  </a:cubicBezTo>
                  <a:cubicBezTo>
                    <a:pt x="10991" y="23123"/>
                    <a:pt x="10991" y="23560"/>
                    <a:pt x="10924" y="23997"/>
                  </a:cubicBezTo>
                  <a:lnTo>
                    <a:pt x="10924" y="24098"/>
                  </a:lnTo>
                  <a:cubicBezTo>
                    <a:pt x="10890" y="24501"/>
                    <a:pt x="10823" y="24871"/>
                    <a:pt x="10756" y="25240"/>
                  </a:cubicBezTo>
                  <a:cubicBezTo>
                    <a:pt x="10756" y="25308"/>
                    <a:pt x="10756" y="25341"/>
                    <a:pt x="10722" y="25408"/>
                  </a:cubicBezTo>
                  <a:cubicBezTo>
                    <a:pt x="10655" y="25745"/>
                    <a:pt x="10588" y="26081"/>
                    <a:pt x="10487" y="26417"/>
                  </a:cubicBezTo>
                  <a:cubicBezTo>
                    <a:pt x="10453" y="26484"/>
                    <a:pt x="10420" y="26518"/>
                    <a:pt x="10420" y="26585"/>
                  </a:cubicBezTo>
                  <a:cubicBezTo>
                    <a:pt x="10319" y="26887"/>
                    <a:pt x="10184" y="27156"/>
                    <a:pt x="10084" y="27425"/>
                  </a:cubicBezTo>
                  <a:cubicBezTo>
                    <a:pt x="10050" y="27492"/>
                    <a:pt x="10050" y="27526"/>
                    <a:pt x="10016" y="27559"/>
                  </a:cubicBezTo>
                  <a:cubicBezTo>
                    <a:pt x="9882" y="27862"/>
                    <a:pt x="9714" y="28164"/>
                    <a:pt x="9546" y="28433"/>
                  </a:cubicBezTo>
                  <a:cubicBezTo>
                    <a:pt x="9512" y="28467"/>
                    <a:pt x="9512" y="28500"/>
                    <a:pt x="9479" y="28534"/>
                  </a:cubicBezTo>
                  <a:cubicBezTo>
                    <a:pt x="9344" y="28769"/>
                    <a:pt x="9176" y="28971"/>
                    <a:pt x="9008" y="29173"/>
                  </a:cubicBezTo>
                  <a:cubicBezTo>
                    <a:pt x="8941" y="29240"/>
                    <a:pt x="8874" y="29307"/>
                    <a:pt x="8806" y="29374"/>
                  </a:cubicBezTo>
                  <a:cubicBezTo>
                    <a:pt x="8672" y="29542"/>
                    <a:pt x="8504" y="29677"/>
                    <a:pt x="8369" y="29811"/>
                  </a:cubicBezTo>
                  <a:cubicBezTo>
                    <a:pt x="8302" y="29878"/>
                    <a:pt x="8235" y="29946"/>
                    <a:pt x="8168" y="29979"/>
                  </a:cubicBezTo>
                  <a:cubicBezTo>
                    <a:pt x="7933" y="30181"/>
                    <a:pt x="7697" y="30315"/>
                    <a:pt x="7462" y="30483"/>
                  </a:cubicBezTo>
                  <a:lnTo>
                    <a:pt x="11394" y="28198"/>
                  </a:lnTo>
                  <a:cubicBezTo>
                    <a:pt x="11663" y="28030"/>
                    <a:pt x="11865" y="27862"/>
                    <a:pt x="12100" y="27694"/>
                  </a:cubicBezTo>
                  <a:cubicBezTo>
                    <a:pt x="12167" y="27627"/>
                    <a:pt x="12234" y="27593"/>
                    <a:pt x="12302" y="27526"/>
                  </a:cubicBezTo>
                  <a:cubicBezTo>
                    <a:pt x="12470" y="27391"/>
                    <a:pt x="12604" y="27257"/>
                    <a:pt x="12772" y="27089"/>
                  </a:cubicBezTo>
                  <a:cubicBezTo>
                    <a:pt x="12806" y="27022"/>
                    <a:pt x="12873" y="26954"/>
                    <a:pt x="12940" y="26887"/>
                  </a:cubicBezTo>
                  <a:cubicBezTo>
                    <a:pt x="13108" y="26686"/>
                    <a:pt x="13276" y="26450"/>
                    <a:pt x="13444" y="26249"/>
                  </a:cubicBezTo>
                  <a:cubicBezTo>
                    <a:pt x="13444" y="26215"/>
                    <a:pt x="13478" y="26181"/>
                    <a:pt x="13478" y="26148"/>
                  </a:cubicBezTo>
                  <a:cubicBezTo>
                    <a:pt x="13478" y="26148"/>
                    <a:pt x="13512" y="26148"/>
                    <a:pt x="13512" y="26148"/>
                  </a:cubicBezTo>
                  <a:cubicBezTo>
                    <a:pt x="13680" y="25879"/>
                    <a:pt x="13814" y="25610"/>
                    <a:pt x="13949" y="25308"/>
                  </a:cubicBezTo>
                  <a:cubicBezTo>
                    <a:pt x="13949" y="25308"/>
                    <a:pt x="13982" y="25274"/>
                    <a:pt x="13982" y="25274"/>
                  </a:cubicBezTo>
                  <a:cubicBezTo>
                    <a:pt x="13982" y="25240"/>
                    <a:pt x="14016" y="25173"/>
                    <a:pt x="14016" y="25140"/>
                  </a:cubicBezTo>
                  <a:cubicBezTo>
                    <a:pt x="14117" y="24972"/>
                    <a:pt x="14184" y="24804"/>
                    <a:pt x="14251" y="24602"/>
                  </a:cubicBezTo>
                  <a:cubicBezTo>
                    <a:pt x="14285" y="24501"/>
                    <a:pt x="14318" y="24400"/>
                    <a:pt x="14352" y="24299"/>
                  </a:cubicBezTo>
                  <a:cubicBezTo>
                    <a:pt x="14385" y="24232"/>
                    <a:pt x="14385" y="24165"/>
                    <a:pt x="14419" y="24131"/>
                  </a:cubicBezTo>
                  <a:cubicBezTo>
                    <a:pt x="14453" y="24064"/>
                    <a:pt x="14453" y="23997"/>
                    <a:pt x="14486" y="23963"/>
                  </a:cubicBezTo>
                  <a:cubicBezTo>
                    <a:pt x="14553" y="23762"/>
                    <a:pt x="14587" y="23560"/>
                    <a:pt x="14654" y="23325"/>
                  </a:cubicBezTo>
                  <a:cubicBezTo>
                    <a:pt x="14654" y="23258"/>
                    <a:pt x="14688" y="23190"/>
                    <a:pt x="14688" y="23089"/>
                  </a:cubicBezTo>
                  <a:cubicBezTo>
                    <a:pt x="14688" y="23056"/>
                    <a:pt x="14722" y="23022"/>
                    <a:pt x="14722" y="22955"/>
                  </a:cubicBezTo>
                  <a:cubicBezTo>
                    <a:pt x="14722" y="22888"/>
                    <a:pt x="14755" y="22821"/>
                    <a:pt x="14755" y="22753"/>
                  </a:cubicBezTo>
                  <a:cubicBezTo>
                    <a:pt x="14789" y="22552"/>
                    <a:pt x="14822" y="22350"/>
                    <a:pt x="14856" y="22148"/>
                  </a:cubicBezTo>
                  <a:cubicBezTo>
                    <a:pt x="14856" y="22048"/>
                    <a:pt x="14856" y="21947"/>
                    <a:pt x="14890" y="21812"/>
                  </a:cubicBezTo>
                  <a:lnTo>
                    <a:pt x="14890" y="21712"/>
                  </a:lnTo>
                  <a:cubicBezTo>
                    <a:pt x="14890" y="21678"/>
                    <a:pt x="14890" y="21611"/>
                    <a:pt x="14890" y="21577"/>
                  </a:cubicBezTo>
                  <a:cubicBezTo>
                    <a:pt x="14923" y="21375"/>
                    <a:pt x="14923" y="21207"/>
                    <a:pt x="14957" y="21006"/>
                  </a:cubicBezTo>
                  <a:cubicBezTo>
                    <a:pt x="14957" y="20804"/>
                    <a:pt x="14957" y="20602"/>
                    <a:pt x="14957" y="20401"/>
                  </a:cubicBezTo>
                  <a:lnTo>
                    <a:pt x="14957" y="20367"/>
                  </a:lnTo>
                  <a:cubicBezTo>
                    <a:pt x="14957" y="20199"/>
                    <a:pt x="14923" y="19997"/>
                    <a:pt x="14923" y="1982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42" name="Google Shape;3637;p49"/>
            <p:cNvSpPr/>
            <p:nvPr/>
          </p:nvSpPr>
          <p:spPr>
            <a:xfrm>
              <a:off x="-16479975" y="8898225"/>
              <a:ext cx="458800" cy="682275"/>
            </a:xfrm>
            <a:custGeom>
              <a:avLst/>
              <a:gdLst/>
              <a:ahLst/>
              <a:cxnLst/>
              <a:rect l="l" t="t" r="r" b="b"/>
              <a:pathLst>
                <a:path w="18352" h="27291" extrusionOk="0">
                  <a:moveTo>
                    <a:pt x="9647" y="12200"/>
                  </a:moveTo>
                  <a:cubicBezTo>
                    <a:pt x="9815" y="12469"/>
                    <a:pt x="9983" y="12705"/>
                    <a:pt x="10151" y="12973"/>
                  </a:cubicBezTo>
                  <a:lnTo>
                    <a:pt x="10352" y="13377"/>
                  </a:lnTo>
                  <a:cubicBezTo>
                    <a:pt x="10621" y="13814"/>
                    <a:pt x="10856" y="14251"/>
                    <a:pt x="11092" y="14721"/>
                  </a:cubicBezTo>
                  <a:cubicBezTo>
                    <a:pt x="11125" y="14755"/>
                    <a:pt x="11125" y="14822"/>
                    <a:pt x="11159" y="14856"/>
                  </a:cubicBezTo>
                  <a:cubicBezTo>
                    <a:pt x="11461" y="15427"/>
                    <a:pt x="11697" y="15965"/>
                    <a:pt x="11966" y="16536"/>
                  </a:cubicBezTo>
                  <a:lnTo>
                    <a:pt x="11999" y="16637"/>
                  </a:lnTo>
                  <a:cubicBezTo>
                    <a:pt x="12234" y="17175"/>
                    <a:pt x="12470" y="17746"/>
                    <a:pt x="12671" y="18284"/>
                  </a:cubicBezTo>
                  <a:cubicBezTo>
                    <a:pt x="12671" y="18317"/>
                    <a:pt x="12705" y="18351"/>
                    <a:pt x="12705" y="18418"/>
                  </a:cubicBezTo>
                  <a:cubicBezTo>
                    <a:pt x="12907" y="18989"/>
                    <a:pt x="13108" y="19561"/>
                    <a:pt x="13276" y="20132"/>
                  </a:cubicBezTo>
                  <a:cubicBezTo>
                    <a:pt x="13310" y="20166"/>
                    <a:pt x="13310" y="20199"/>
                    <a:pt x="13310" y="20233"/>
                  </a:cubicBezTo>
                  <a:cubicBezTo>
                    <a:pt x="13478" y="20771"/>
                    <a:pt x="13646" y="21342"/>
                    <a:pt x="13747" y="21880"/>
                  </a:cubicBezTo>
                  <a:cubicBezTo>
                    <a:pt x="13780" y="21947"/>
                    <a:pt x="13780" y="21981"/>
                    <a:pt x="13780" y="22048"/>
                  </a:cubicBezTo>
                  <a:cubicBezTo>
                    <a:pt x="13915" y="22619"/>
                    <a:pt x="14049" y="23190"/>
                    <a:pt x="14116" y="23762"/>
                  </a:cubicBezTo>
                  <a:cubicBezTo>
                    <a:pt x="14116" y="23762"/>
                    <a:pt x="14150" y="23762"/>
                    <a:pt x="14150" y="23795"/>
                  </a:cubicBezTo>
                  <a:cubicBezTo>
                    <a:pt x="14217" y="24367"/>
                    <a:pt x="14284" y="24904"/>
                    <a:pt x="14352" y="25476"/>
                  </a:cubicBezTo>
                  <a:lnTo>
                    <a:pt x="14352" y="25610"/>
                  </a:lnTo>
                  <a:cubicBezTo>
                    <a:pt x="14385" y="26182"/>
                    <a:pt x="14419" y="26753"/>
                    <a:pt x="14419" y="27291"/>
                  </a:cubicBezTo>
                  <a:lnTo>
                    <a:pt x="18351" y="25005"/>
                  </a:lnTo>
                  <a:cubicBezTo>
                    <a:pt x="18351" y="24770"/>
                    <a:pt x="18351" y="24568"/>
                    <a:pt x="18351" y="24333"/>
                  </a:cubicBezTo>
                  <a:cubicBezTo>
                    <a:pt x="18351" y="24098"/>
                    <a:pt x="18351" y="23863"/>
                    <a:pt x="18318" y="23627"/>
                  </a:cubicBezTo>
                  <a:cubicBezTo>
                    <a:pt x="18318" y="23527"/>
                    <a:pt x="18318" y="23426"/>
                    <a:pt x="18284" y="23325"/>
                  </a:cubicBezTo>
                  <a:lnTo>
                    <a:pt x="18284" y="23190"/>
                  </a:lnTo>
                  <a:cubicBezTo>
                    <a:pt x="18284" y="23090"/>
                    <a:pt x="18284" y="23022"/>
                    <a:pt x="18284" y="22922"/>
                  </a:cubicBezTo>
                  <a:cubicBezTo>
                    <a:pt x="18250" y="22686"/>
                    <a:pt x="18217" y="22451"/>
                    <a:pt x="18183" y="22216"/>
                  </a:cubicBezTo>
                  <a:cubicBezTo>
                    <a:pt x="18149" y="21981"/>
                    <a:pt x="18116" y="21745"/>
                    <a:pt x="18082" y="21510"/>
                  </a:cubicBezTo>
                  <a:cubicBezTo>
                    <a:pt x="18082" y="21476"/>
                    <a:pt x="18082" y="21476"/>
                    <a:pt x="18082" y="21476"/>
                  </a:cubicBezTo>
                  <a:cubicBezTo>
                    <a:pt x="18082" y="21476"/>
                    <a:pt x="18082" y="21476"/>
                    <a:pt x="18082" y="21443"/>
                  </a:cubicBezTo>
                  <a:cubicBezTo>
                    <a:pt x="18049" y="21241"/>
                    <a:pt x="17981" y="21006"/>
                    <a:pt x="17948" y="20771"/>
                  </a:cubicBezTo>
                  <a:cubicBezTo>
                    <a:pt x="17914" y="20502"/>
                    <a:pt x="17847" y="20267"/>
                    <a:pt x="17813" y="19998"/>
                  </a:cubicBezTo>
                  <a:lnTo>
                    <a:pt x="17746" y="19762"/>
                  </a:lnTo>
                  <a:cubicBezTo>
                    <a:pt x="17713" y="19695"/>
                    <a:pt x="17713" y="19628"/>
                    <a:pt x="17713" y="19594"/>
                  </a:cubicBezTo>
                  <a:cubicBezTo>
                    <a:pt x="17679" y="19460"/>
                    <a:pt x="17645" y="19359"/>
                    <a:pt x="17612" y="19258"/>
                  </a:cubicBezTo>
                  <a:cubicBezTo>
                    <a:pt x="17545" y="18989"/>
                    <a:pt x="17477" y="18754"/>
                    <a:pt x="17410" y="18485"/>
                  </a:cubicBezTo>
                  <a:cubicBezTo>
                    <a:pt x="17376" y="18317"/>
                    <a:pt x="17309" y="18116"/>
                    <a:pt x="17242" y="17914"/>
                  </a:cubicBezTo>
                  <a:cubicBezTo>
                    <a:pt x="17242" y="17880"/>
                    <a:pt x="17242" y="17847"/>
                    <a:pt x="17242" y="17813"/>
                  </a:cubicBezTo>
                  <a:cubicBezTo>
                    <a:pt x="17208" y="17779"/>
                    <a:pt x="17208" y="17746"/>
                    <a:pt x="17208" y="17712"/>
                  </a:cubicBezTo>
                  <a:cubicBezTo>
                    <a:pt x="17108" y="17477"/>
                    <a:pt x="17040" y="17208"/>
                    <a:pt x="16973" y="16973"/>
                  </a:cubicBezTo>
                  <a:cubicBezTo>
                    <a:pt x="16872" y="16738"/>
                    <a:pt x="16805" y="16469"/>
                    <a:pt x="16704" y="16233"/>
                  </a:cubicBezTo>
                  <a:cubicBezTo>
                    <a:pt x="16671" y="16200"/>
                    <a:pt x="16671" y="16133"/>
                    <a:pt x="16637" y="16099"/>
                  </a:cubicBezTo>
                  <a:cubicBezTo>
                    <a:pt x="16637" y="16065"/>
                    <a:pt x="16637" y="16032"/>
                    <a:pt x="16603" y="15998"/>
                  </a:cubicBezTo>
                  <a:cubicBezTo>
                    <a:pt x="16536" y="15830"/>
                    <a:pt x="16503" y="15696"/>
                    <a:pt x="16435" y="15528"/>
                  </a:cubicBezTo>
                  <a:cubicBezTo>
                    <a:pt x="16335" y="15292"/>
                    <a:pt x="16267" y="15057"/>
                    <a:pt x="16167" y="14822"/>
                  </a:cubicBezTo>
                  <a:lnTo>
                    <a:pt x="15931" y="14318"/>
                  </a:lnTo>
                  <a:lnTo>
                    <a:pt x="15898" y="14251"/>
                  </a:lnTo>
                  <a:cubicBezTo>
                    <a:pt x="15898" y="14217"/>
                    <a:pt x="15864" y="14183"/>
                    <a:pt x="15864" y="14150"/>
                  </a:cubicBezTo>
                  <a:cubicBezTo>
                    <a:pt x="15763" y="13914"/>
                    <a:pt x="15662" y="13679"/>
                    <a:pt x="15528" y="13444"/>
                  </a:cubicBezTo>
                  <a:cubicBezTo>
                    <a:pt x="15427" y="13175"/>
                    <a:pt x="15293" y="12940"/>
                    <a:pt x="15158" y="12671"/>
                  </a:cubicBezTo>
                  <a:cubicBezTo>
                    <a:pt x="15158" y="12637"/>
                    <a:pt x="15125" y="12604"/>
                    <a:pt x="15125" y="12570"/>
                  </a:cubicBezTo>
                  <a:cubicBezTo>
                    <a:pt x="15091" y="12503"/>
                    <a:pt x="15057" y="12469"/>
                    <a:pt x="15024" y="12402"/>
                  </a:cubicBezTo>
                  <a:cubicBezTo>
                    <a:pt x="14923" y="12200"/>
                    <a:pt x="14822" y="11999"/>
                    <a:pt x="14721" y="11797"/>
                  </a:cubicBezTo>
                  <a:cubicBezTo>
                    <a:pt x="14587" y="11562"/>
                    <a:pt x="14453" y="11327"/>
                    <a:pt x="14318" y="11058"/>
                  </a:cubicBezTo>
                  <a:cubicBezTo>
                    <a:pt x="14251" y="10923"/>
                    <a:pt x="14184" y="10822"/>
                    <a:pt x="14083" y="10688"/>
                  </a:cubicBezTo>
                  <a:cubicBezTo>
                    <a:pt x="14049" y="10621"/>
                    <a:pt x="14049" y="10587"/>
                    <a:pt x="14016" y="10520"/>
                  </a:cubicBezTo>
                  <a:cubicBezTo>
                    <a:pt x="13881" y="10318"/>
                    <a:pt x="13747" y="10117"/>
                    <a:pt x="13612" y="9915"/>
                  </a:cubicBezTo>
                  <a:cubicBezTo>
                    <a:pt x="13411" y="9579"/>
                    <a:pt x="13243" y="9276"/>
                    <a:pt x="13041" y="8974"/>
                  </a:cubicBezTo>
                  <a:cubicBezTo>
                    <a:pt x="13007" y="8907"/>
                    <a:pt x="12974" y="8873"/>
                    <a:pt x="12940" y="8840"/>
                  </a:cubicBezTo>
                  <a:cubicBezTo>
                    <a:pt x="12638" y="8369"/>
                    <a:pt x="12335" y="7932"/>
                    <a:pt x="11999" y="7529"/>
                  </a:cubicBezTo>
                  <a:cubicBezTo>
                    <a:pt x="11999" y="7529"/>
                    <a:pt x="11999" y="7529"/>
                    <a:pt x="11999" y="7529"/>
                  </a:cubicBezTo>
                  <a:lnTo>
                    <a:pt x="11999" y="7529"/>
                  </a:lnTo>
                  <a:cubicBezTo>
                    <a:pt x="11797" y="7226"/>
                    <a:pt x="11596" y="6957"/>
                    <a:pt x="11361" y="6689"/>
                  </a:cubicBezTo>
                  <a:cubicBezTo>
                    <a:pt x="11193" y="6453"/>
                    <a:pt x="11024" y="6218"/>
                    <a:pt x="10823" y="6016"/>
                  </a:cubicBezTo>
                  <a:lnTo>
                    <a:pt x="10823" y="5983"/>
                  </a:lnTo>
                  <a:lnTo>
                    <a:pt x="10823" y="5983"/>
                  </a:lnTo>
                  <a:cubicBezTo>
                    <a:pt x="10621" y="5748"/>
                    <a:pt x="10453" y="5546"/>
                    <a:pt x="10251" y="5344"/>
                  </a:cubicBezTo>
                  <a:cubicBezTo>
                    <a:pt x="10083" y="5109"/>
                    <a:pt x="9882" y="4907"/>
                    <a:pt x="9680" y="4706"/>
                  </a:cubicBezTo>
                  <a:cubicBezTo>
                    <a:pt x="9647" y="4672"/>
                    <a:pt x="9613" y="4638"/>
                    <a:pt x="9613" y="4605"/>
                  </a:cubicBezTo>
                  <a:cubicBezTo>
                    <a:pt x="9579" y="4571"/>
                    <a:pt x="9546" y="4538"/>
                    <a:pt x="9512" y="4504"/>
                  </a:cubicBezTo>
                  <a:cubicBezTo>
                    <a:pt x="9378" y="4370"/>
                    <a:pt x="9243" y="4235"/>
                    <a:pt x="9109" y="4067"/>
                  </a:cubicBezTo>
                  <a:cubicBezTo>
                    <a:pt x="8907" y="3865"/>
                    <a:pt x="8705" y="3664"/>
                    <a:pt x="8504" y="3496"/>
                  </a:cubicBezTo>
                  <a:cubicBezTo>
                    <a:pt x="8437" y="3429"/>
                    <a:pt x="8369" y="3361"/>
                    <a:pt x="8302" y="3294"/>
                  </a:cubicBezTo>
                  <a:cubicBezTo>
                    <a:pt x="8269" y="3261"/>
                    <a:pt x="8201" y="3227"/>
                    <a:pt x="8168" y="3160"/>
                  </a:cubicBezTo>
                  <a:cubicBezTo>
                    <a:pt x="8067" y="3059"/>
                    <a:pt x="7966" y="2992"/>
                    <a:pt x="7865" y="2891"/>
                  </a:cubicBezTo>
                  <a:cubicBezTo>
                    <a:pt x="7630" y="2689"/>
                    <a:pt x="7428" y="2521"/>
                    <a:pt x="7227" y="2319"/>
                  </a:cubicBezTo>
                  <a:cubicBezTo>
                    <a:pt x="7126" y="2252"/>
                    <a:pt x="7025" y="2185"/>
                    <a:pt x="6924" y="2084"/>
                  </a:cubicBezTo>
                  <a:cubicBezTo>
                    <a:pt x="6891" y="2051"/>
                    <a:pt x="6823" y="2017"/>
                    <a:pt x="6790" y="1983"/>
                  </a:cubicBezTo>
                  <a:cubicBezTo>
                    <a:pt x="6723" y="1916"/>
                    <a:pt x="6655" y="1849"/>
                    <a:pt x="6555" y="1815"/>
                  </a:cubicBezTo>
                  <a:cubicBezTo>
                    <a:pt x="6353" y="1647"/>
                    <a:pt x="6151" y="1479"/>
                    <a:pt x="5950" y="1311"/>
                  </a:cubicBezTo>
                  <a:cubicBezTo>
                    <a:pt x="5782" y="1210"/>
                    <a:pt x="5613" y="1110"/>
                    <a:pt x="5479" y="975"/>
                  </a:cubicBezTo>
                  <a:cubicBezTo>
                    <a:pt x="5445" y="975"/>
                    <a:pt x="5412" y="942"/>
                    <a:pt x="5378" y="908"/>
                  </a:cubicBezTo>
                  <a:cubicBezTo>
                    <a:pt x="5345" y="908"/>
                    <a:pt x="5345" y="874"/>
                    <a:pt x="5311" y="874"/>
                  </a:cubicBezTo>
                  <a:cubicBezTo>
                    <a:pt x="5109" y="740"/>
                    <a:pt x="4908" y="605"/>
                    <a:pt x="4706" y="471"/>
                  </a:cubicBezTo>
                  <a:cubicBezTo>
                    <a:pt x="4504" y="337"/>
                    <a:pt x="4269" y="202"/>
                    <a:pt x="4067" y="101"/>
                  </a:cubicBezTo>
                  <a:cubicBezTo>
                    <a:pt x="4034" y="68"/>
                    <a:pt x="3967" y="34"/>
                    <a:pt x="3933" y="0"/>
                  </a:cubicBezTo>
                  <a:lnTo>
                    <a:pt x="1" y="2286"/>
                  </a:lnTo>
                  <a:cubicBezTo>
                    <a:pt x="471" y="2588"/>
                    <a:pt x="975" y="2891"/>
                    <a:pt x="1446" y="3227"/>
                  </a:cubicBezTo>
                  <a:cubicBezTo>
                    <a:pt x="1480" y="3227"/>
                    <a:pt x="1480" y="3261"/>
                    <a:pt x="1513" y="3261"/>
                  </a:cubicBezTo>
                  <a:cubicBezTo>
                    <a:pt x="1984" y="3597"/>
                    <a:pt x="2421" y="3933"/>
                    <a:pt x="2824" y="4269"/>
                  </a:cubicBezTo>
                  <a:cubicBezTo>
                    <a:pt x="2891" y="4302"/>
                    <a:pt x="2925" y="4336"/>
                    <a:pt x="2992" y="4370"/>
                  </a:cubicBezTo>
                  <a:cubicBezTo>
                    <a:pt x="3395" y="4739"/>
                    <a:pt x="3799" y="5075"/>
                    <a:pt x="4202" y="5445"/>
                  </a:cubicBezTo>
                  <a:cubicBezTo>
                    <a:pt x="4269" y="5512"/>
                    <a:pt x="4303" y="5546"/>
                    <a:pt x="4370" y="5580"/>
                  </a:cubicBezTo>
                  <a:cubicBezTo>
                    <a:pt x="4773" y="5983"/>
                    <a:pt x="5177" y="6386"/>
                    <a:pt x="5546" y="6789"/>
                  </a:cubicBezTo>
                  <a:cubicBezTo>
                    <a:pt x="5580" y="6823"/>
                    <a:pt x="5613" y="6857"/>
                    <a:pt x="5647" y="6890"/>
                  </a:cubicBezTo>
                  <a:cubicBezTo>
                    <a:pt x="6084" y="7361"/>
                    <a:pt x="6487" y="7798"/>
                    <a:pt x="6891" y="8302"/>
                  </a:cubicBezTo>
                  <a:cubicBezTo>
                    <a:pt x="6891" y="8302"/>
                    <a:pt x="6891" y="8302"/>
                    <a:pt x="6891" y="8302"/>
                  </a:cubicBezTo>
                  <a:cubicBezTo>
                    <a:pt x="7294" y="8806"/>
                    <a:pt x="7697" y="9310"/>
                    <a:pt x="8067" y="9814"/>
                  </a:cubicBezTo>
                  <a:lnTo>
                    <a:pt x="8067" y="9814"/>
                  </a:lnTo>
                  <a:cubicBezTo>
                    <a:pt x="8067" y="9814"/>
                    <a:pt x="8067" y="9814"/>
                    <a:pt x="8067" y="9814"/>
                  </a:cubicBezTo>
                  <a:cubicBezTo>
                    <a:pt x="8437" y="10285"/>
                    <a:pt x="8739" y="10789"/>
                    <a:pt x="9075" y="11259"/>
                  </a:cubicBezTo>
                  <a:cubicBezTo>
                    <a:pt x="9277" y="11562"/>
                    <a:pt x="9478" y="11898"/>
                    <a:pt x="9647" y="12200"/>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43" name="Google Shape;3638;p49"/>
            <p:cNvSpPr/>
            <p:nvPr/>
          </p:nvSpPr>
          <p:spPr>
            <a:xfrm>
              <a:off x="-17121050" y="8840250"/>
              <a:ext cx="1277150" cy="1511575"/>
            </a:xfrm>
            <a:custGeom>
              <a:avLst/>
              <a:gdLst/>
              <a:ahLst/>
              <a:cxnLst/>
              <a:rect l="l" t="t" r="r" b="b"/>
              <a:pathLst>
                <a:path w="51086" h="60463" extrusionOk="0">
                  <a:moveTo>
                    <a:pt x="25644" y="4638"/>
                  </a:moveTo>
                  <a:cubicBezTo>
                    <a:pt x="33609" y="9243"/>
                    <a:pt x="40096" y="20435"/>
                    <a:pt x="40062" y="29610"/>
                  </a:cubicBezTo>
                  <a:cubicBezTo>
                    <a:pt x="46246" y="33912"/>
                    <a:pt x="51086" y="42717"/>
                    <a:pt x="51052" y="49977"/>
                  </a:cubicBezTo>
                  <a:cubicBezTo>
                    <a:pt x="51018" y="57270"/>
                    <a:pt x="46179" y="60462"/>
                    <a:pt x="39995" y="57539"/>
                  </a:cubicBezTo>
                  <a:lnTo>
                    <a:pt x="12167" y="41574"/>
                  </a:lnTo>
                  <a:cubicBezTo>
                    <a:pt x="5445" y="37676"/>
                    <a:pt x="0" y="28265"/>
                    <a:pt x="34" y="20535"/>
                  </a:cubicBezTo>
                  <a:cubicBezTo>
                    <a:pt x="34" y="13242"/>
                    <a:pt x="4907" y="10049"/>
                    <a:pt x="11125" y="12973"/>
                  </a:cubicBezTo>
                  <a:cubicBezTo>
                    <a:pt x="11125" y="3697"/>
                    <a:pt x="17645" y="0"/>
                    <a:pt x="25644" y="4638"/>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44" name="Google Shape;3639;p49"/>
            <p:cNvSpPr/>
            <p:nvPr/>
          </p:nvSpPr>
          <p:spPr>
            <a:xfrm>
              <a:off x="-16753025" y="9404025"/>
              <a:ext cx="545300" cy="1007450"/>
            </a:xfrm>
            <a:custGeom>
              <a:avLst/>
              <a:gdLst/>
              <a:ahLst/>
              <a:cxnLst/>
              <a:rect l="l" t="t" r="r" b="b"/>
              <a:pathLst>
                <a:path w="21812" h="40298" extrusionOk="0">
                  <a:moveTo>
                    <a:pt x="21375" y="21746"/>
                  </a:moveTo>
                  <a:lnTo>
                    <a:pt x="11326" y="942"/>
                  </a:lnTo>
                  <a:cubicBezTo>
                    <a:pt x="11158" y="572"/>
                    <a:pt x="10889" y="303"/>
                    <a:pt x="10654" y="169"/>
                  </a:cubicBezTo>
                  <a:cubicBezTo>
                    <a:pt x="10385" y="1"/>
                    <a:pt x="10116" y="1"/>
                    <a:pt x="9948" y="169"/>
                  </a:cubicBezTo>
                  <a:lnTo>
                    <a:pt x="437" y="9680"/>
                  </a:lnTo>
                  <a:cubicBezTo>
                    <a:pt x="0" y="10117"/>
                    <a:pt x="437" y="11260"/>
                    <a:pt x="1143" y="11663"/>
                  </a:cubicBezTo>
                  <a:lnTo>
                    <a:pt x="5545" y="14217"/>
                  </a:lnTo>
                  <a:lnTo>
                    <a:pt x="5512" y="33005"/>
                  </a:lnTo>
                  <a:cubicBezTo>
                    <a:pt x="5512" y="34147"/>
                    <a:pt x="6318" y="35559"/>
                    <a:pt x="7327" y="36130"/>
                  </a:cubicBezTo>
                  <a:lnTo>
                    <a:pt x="13544" y="39726"/>
                  </a:lnTo>
                  <a:cubicBezTo>
                    <a:pt x="14519" y="40298"/>
                    <a:pt x="15359" y="39827"/>
                    <a:pt x="15359" y="38684"/>
                  </a:cubicBezTo>
                  <a:lnTo>
                    <a:pt x="15393" y="19931"/>
                  </a:lnTo>
                  <a:lnTo>
                    <a:pt x="20669" y="22956"/>
                  </a:lnTo>
                  <a:cubicBezTo>
                    <a:pt x="21409" y="23393"/>
                    <a:pt x="21812" y="22653"/>
                    <a:pt x="21375" y="21746"/>
                  </a:cubicBezTo>
                  <a:close/>
                </a:path>
              </a:pathLst>
            </a:custGeom>
            <a:solidFill>
              <a:srgbClr val="BF4CA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45" name="Google Shape;3640;p49"/>
            <p:cNvSpPr/>
            <p:nvPr/>
          </p:nvSpPr>
          <p:spPr>
            <a:xfrm>
              <a:off x="-20337400" y="7134100"/>
              <a:ext cx="671350" cy="979375"/>
            </a:xfrm>
            <a:custGeom>
              <a:avLst/>
              <a:gdLst/>
              <a:ahLst/>
              <a:cxnLst/>
              <a:rect l="l" t="t" r="r" b="b"/>
              <a:pathLst>
                <a:path w="26854" h="39175" extrusionOk="0">
                  <a:moveTo>
                    <a:pt x="7450" y="0"/>
                  </a:moveTo>
                  <a:cubicBezTo>
                    <a:pt x="3049" y="0"/>
                    <a:pt x="24" y="3477"/>
                    <a:pt x="1" y="9499"/>
                  </a:cubicBezTo>
                  <a:cubicBezTo>
                    <a:pt x="1" y="16086"/>
                    <a:pt x="3563" y="23782"/>
                    <a:pt x="8604" y="28924"/>
                  </a:cubicBezTo>
                  <a:lnTo>
                    <a:pt x="13612" y="39175"/>
                  </a:lnTo>
                  <a:lnTo>
                    <a:pt x="18116" y="34403"/>
                  </a:lnTo>
                  <a:cubicBezTo>
                    <a:pt x="18561" y="34467"/>
                    <a:pt x="18994" y="34499"/>
                    <a:pt x="19416" y="34499"/>
                  </a:cubicBezTo>
                  <a:cubicBezTo>
                    <a:pt x="23799" y="34499"/>
                    <a:pt x="26823" y="31033"/>
                    <a:pt x="26854" y="24992"/>
                  </a:cubicBezTo>
                  <a:cubicBezTo>
                    <a:pt x="26854" y="16489"/>
                    <a:pt x="20872" y="6104"/>
                    <a:pt x="13478" y="1836"/>
                  </a:cubicBezTo>
                  <a:cubicBezTo>
                    <a:pt x="11310" y="590"/>
                    <a:pt x="9263" y="0"/>
                    <a:pt x="7450" y="0"/>
                  </a:cubicBezTo>
                  <a:close/>
                </a:path>
              </a:pathLst>
            </a:custGeom>
            <a:solidFill>
              <a:srgbClr val="A96EEC"/>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46" name="Google Shape;3641;p49"/>
            <p:cNvSpPr/>
            <p:nvPr/>
          </p:nvSpPr>
          <p:spPr>
            <a:xfrm>
              <a:off x="-20239100" y="7312275"/>
              <a:ext cx="445350" cy="502925"/>
            </a:xfrm>
            <a:custGeom>
              <a:avLst/>
              <a:gdLst/>
              <a:ahLst/>
              <a:cxnLst/>
              <a:rect l="l" t="t" r="r" b="b"/>
              <a:pathLst>
                <a:path w="17814" h="20117" extrusionOk="0">
                  <a:moveTo>
                    <a:pt x="2784" y="1"/>
                  </a:moveTo>
                  <a:cubicBezTo>
                    <a:pt x="1267" y="1"/>
                    <a:pt x="94" y="1329"/>
                    <a:pt x="68" y="3212"/>
                  </a:cubicBezTo>
                  <a:cubicBezTo>
                    <a:pt x="1" y="8018"/>
                    <a:pt x="4370" y="14403"/>
                    <a:pt x="7596" y="18470"/>
                  </a:cubicBezTo>
                  <a:cubicBezTo>
                    <a:pt x="7731" y="18672"/>
                    <a:pt x="8605" y="19915"/>
                    <a:pt x="8907" y="20083"/>
                  </a:cubicBezTo>
                  <a:cubicBezTo>
                    <a:pt x="8941" y="20083"/>
                    <a:pt x="8974" y="20117"/>
                    <a:pt x="8974" y="20117"/>
                  </a:cubicBezTo>
                  <a:cubicBezTo>
                    <a:pt x="10520" y="20016"/>
                    <a:pt x="11966" y="19646"/>
                    <a:pt x="13243" y="19041"/>
                  </a:cubicBezTo>
                  <a:cubicBezTo>
                    <a:pt x="15494" y="18033"/>
                    <a:pt x="17813" y="16252"/>
                    <a:pt x="17108" y="12152"/>
                  </a:cubicBezTo>
                  <a:cubicBezTo>
                    <a:pt x="16839" y="10639"/>
                    <a:pt x="16200" y="8757"/>
                    <a:pt x="15091" y="7379"/>
                  </a:cubicBezTo>
                  <a:cubicBezTo>
                    <a:pt x="14587" y="6774"/>
                    <a:pt x="13848" y="6203"/>
                    <a:pt x="13108" y="5766"/>
                  </a:cubicBezTo>
                  <a:cubicBezTo>
                    <a:pt x="12470" y="5396"/>
                    <a:pt x="11831" y="5161"/>
                    <a:pt x="11361" y="5161"/>
                  </a:cubicBezTo>
                  <a:cubicBezTo>
                    <a:pt x="10823" y="5195"/>
                    <a:pt x="9512" y="4959"/>
                    <a:pt x="8504" y="7211"/>
                  </a:cubicBezTo>
                  <a:cubicBezTo>
                    <a:pt x="8000" y="4354"/>
                    <a:pt x="6555" y="1767"/>
                    <a:pt x="4404" y="489"/>
                  </a:cubicBezTo>
                  <a:cubicBezTo>
                    <a:pt x="4336" y="456"/>
                    <a:pt x="4269" y="422"/>
                    <a:pt x="4236" y="389"/>
                  </a:cubicBezTo>
                  <a:cubicBezTo>
                    <a:pt x="3735" y="123"/>
                    <a:pt x="3244" y="1"/>
                    <a:pt x="2784"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47" name="Google Shape;3642;p49"/>
            <p:cNvSpPr/>
            <p:nvPr/>
          </p:nvSpPr>
          <p:spPr>
            <a:xfrm>
              <a:off x="-16299325" y="11741000"/>
              <a:ext cx="557100" cy="813025"/>
            </a:xfrm>
            <a:custGeom>
              <a:avLst/>
              <a:gdLst/>
              <a:ahLst/>
              <a:cxnLst/>
              <a:rect l="l" t="t" r="r" b="b"/>
              <a:pathLst>
                <a:path w="22284" h="32521" extrusionOk="0">
                  <a:moveTo>
                    <a:pt x="6166" y="0"/>
                  </a:moveTo>
                  <a:cubicBezTo>
                    <a:pt x="2525" y="0"/>
                    <a:pt x="24" y="2898"/>
                    <a:pt x="1" y="7919"/>
                  </a:cubicBezTo>
                  <a:cubicBezTo>
                    <a:pt x="1" y="13364"/>
                    <a:pt x="2958" y="19749"/>
                    <a:pt x="7126" y="23984"/>
                  </a:cubicBezTo>
                  <a:lnTo>
                    <a:pt x="11260" y="32521"/>
                  </a:lnTo>
                  <a:lnTo>
                    <a:pt x="15024" y="28555"/>
                  </a:lnTo>
                  <a:cubicBezTo>
                    <a:pt x="15402" y="28612"/>
                    <a:pt x="15770" y="28641"/>
                    <a:pt x="16128" y="28641"/>
                  </a:cubicBezTo>
                  <a:cubicBezTo>
                    <a:pt x="19745" y="28641"/>
                    <a:pt x="22250" y="25743"/>
                    <a:pt x="22250" y="20758"/>
                  </a:cubicBezTo>
                  <a:cubicBezTo>
                    <a:pt x="22283" y="13700"/>
                    <a:pt x="17309" y="5096"/>
                    <a:pt x="11159" y="1534"/>
                  </a:cubicBezTo>
                  <a:cubicBezTo>
                    <a:pt x="9363" y="493"/>
                    <a:pt x="7667" y="0"/>
                    <a:pt x="6166" y="0"/>
                  </a:cubicBezTo>
                  <a:close/>
                </a:path>
              </a:pathLst>
            </a:custGeom>
            <a:solidFill>
              <a:srgbClr val="A96EEC"/>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48" name="Google Shape;3643;p49"/>
            <p:cNvSpPr/>
            <p:nvPr/>
          </p:nvSpPr>
          <p:spPr>
            <a:xfrm>
              <a:off x="-16182525" y="11915450"/>
              <a:ext cx="288200" cy="410875"/>
            </a:xfrm>
            <a:custGeom>
              <a:avLst/>
              <a:gdLst/>
              <a:ahLst/>
              <a:cxnLst/>
              <a:rect l="l" t="t" r="r" b="b"/>
              <a:pathLst>
                <a:path w="11528" h="16435" extrusionOk="0">
                  <a:moveTo>
                    <a:pt x="4739" y="5949"/>
                  </a:moveTo>
                  <a:lnTo>
                    <a:pt x="7361" y="7495"/>
                  </a:lnTo>
                  <a:lnTo>
                    <a:pt x="6688" y="10385"/>
                  </a:lnTo>
                  <a:lnTo>
                    <a:pt x="4033" y="8873"/>
                  </a:lnTo>
                  <a:lnTo>
                    <a:pt x="4739" y="5949"/>
                  </a:lnTo>
                  <a:close/>
                  <a:moveTo>
                    <a:pt x="4336" y="0"/>
                  </a:moveTo>
                  <a:lnTo>
                    <a:pt x="3462" y="3596"/>
                  </a:lnTo>
                  <a:lnTo>
                    <a:pt x="841" y="2084"/>
                  </a:lnTo>
                  <a:lnTo>
                    <a:pt x="841" y="3697"/>
                  </a:lnTo>
                  <a:lnTo>
                    <a:pt x="3092" y="5008"/>
                  </a:lnTo>
                  <a:lnTo>
                    <a:pt x="2420" y="7932"/>
                  </a:lnTo>
                  <a:lnTo>
                    <a:pt x="0" y="6554"/>
                  </a:lnTo>
                  <a:lnTo>
                    <a:pt x="0" y="8302"/>
                  </a:lnTo>
                  <a:lnTo>
                    <a:pt x="2050" y="9478"/>
                  </a:lnTo>
                  <a:lnTo>
                    <a:pt x="1143" y="13040"/>
                  </a:lnTo>
                  <a:lnTo>
                    <a:pt x="2790" y="13981"/>
                  </a:lnTo>
                  <a:lnTo>
                    <a:pt x="3664" y="10419"/>
                  </a:lnTo>
                  <a:lnTo>
                    <a:pt x="6285" y="11931"/>
                  </a:lnTo>
                  <a:lnTo>
                    <a:pt x="5411" y="15494"/>
                  </a:lnTo>
                  <a:lnTo>
                    <a:pt x="7058" y="16435"/>
                  </a:lnTo>
                  <a:lnTo>
                    <a:pt x="7932" y="12872"/>
                  </a:lnTo>
                  <a:lnTo>
                    <a:pt x="10688" y="14486"/>
                  </a:lnTo>
                  <a:lnTo>
                    <a:pt x="10688" y="12704"/>
                  </a:lnTo>
                  <a:lnTo>
                    <a:pt x="8268" y="11326"/>
                  </a:lnTo>
                  <a:lnTo>
                    <a:pt x="8974" y="8436"/>
                  </a:lnTo>
                  <a:lnTo>
                    <a:pt x="11528" y="9881"/>
                  </a:lnTo>
                  <a:lnTo>
                    <a:pt x="11528" y="8268"/>
                  </a:lnTo>
                  <a:lnTo>
                    <a:pt x="9343" y="6991"/>
                  </a:lnTo>
                  <a:lnTo>
                    <a:pt x="10251" y="3395"/>
                  </a:lnTo>
                  <a:lnTo>
                    <a:pt x="8604" y="2454"/>
                  </a:lnTo>
                  <a:lnTo>
                    <a:pt x="7730" y="6050"/>
                  </a:lnTo>
                  <a:lnTo>
                    <a:pt x="5109" y="4537"/>
                  </a:lnTo>
                  <a:lnTo>
                    <a:pt x="5983" y="941"/>
                  </a:lnTo>
                  <a:lnTo>
                    <a:pt x="4336" y="0"/>
                  </a:ln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49" name="Google Shape;3644;p49"/>
            <p:cNvSpPr/>
            <p:nvPr/>
          </p:nvSpPr>
          <p:spPr>
            <a:xfrm>
              <a:off x="-23480650" y="12599375"/>
              <a:ext cx="155475" cy="1765325"/>
            </a:xfrm>
            <a:custGeom>
              <a:avLst/>
              <a:gdLst/>
              <a:ahLst/>
              <a:cxnLst/>
              <a:rect l="l" t="t" r="r" b="b"/>
              <a:pathLst>
                <a:path w="6219" h="70613" extrusionOk="0">
                  <a:moveTo>
                    <a:pt x="3126" y="1"/>
                  </a:moveTo>
                  <a:cubicBezTo>
                    <a:pt x="1412" y="1"/>
                    <a:pt x="1" y="1379"/>
                    <a:pt x="1" y="3093"/>
                  </a:cubicBezTo>
                  <a:lnTo>
                    <a:pt x="1" y="67520"/>
                  </a:lnTo>
                  <a:cubicBezTo>
                    <a:pt x="1" y="69234"/>
                    <a:pt x="1412" y="70612"/>
                    <a:pt x="3126" y="70612"/>
                  </a:cubicBezTo>
                  <a:cubicBezTo>
                    <a:pt x="4840" y="70612"/>
                    <a:pt x="6218" y="69234"/>
                    <a:pt x="6218" y="67520"/>
                  </a:cubicBezTo>
                  <a:lnTo>
                    <a:pt x="6218" y="3093"/>
                  </a:lnTo>
                  <a:cubicBezTo>
                    <a:pt x="6218" y="1379"/>
                    <a:pt x="4840" y="1"/>
                    <a:pt x="3126" y="1"/>
                  </a:cubicBezTo>
                  <a:close/>
                </a:path>
              </a:pathLst>
            </a:custGeom>
            <a:solidFill>
              <a:srgbClr val="220B49"/>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50" name="Google Shape;3645;p49"/>
            <p:cNvSpPr/>
            <p:nvPr/>
          </p:nvSpPr>
          <p:spPr>
            <a:xfrm>
              <a:off x="-24168775" y="12444775"/>
              <a:ext cx="1689700" cy="1396475"/>
            </a:xfrm>
            <a:custGeom>
              <a:avLst/>
              <a:gdLst/>
              <a:ahLst/>
              <a:cxnLst/>
              <a:rect l="l" t="t" r="r" b="b"/>
              <a:pathLst>
                <a:path w="67588" h="55859" extrusionOk="0">
                  <a:moveTo>
                    <a:pt x="24837" y="1"/>
                  </a:moveTo>
                  <a:lnTo>
                    <a:pt x="0" y="31156"/>
                  </a:lnTo>
                  <a:lnTo>
                    <a:pt x="42784" y="55858"/>
                  </a:lnTo>
                  <a:lnTo>
                    <a:pt x="67587" y="24703"/>
                  </a:lnTo>
                  <a:lnTo>
                    <a:pt x="24837" y="1"/>
                  </a:lnTo>
                  <a:close/>
                </a:path>
              </a:pathLst>
            </a:custGeom>
            <a:solidFill>
              <a:srgbClr val="F8F3FE"/>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51" name="Google Shape;3646;p49"/>
            <p:cNvSpPr/>
            <p:nvPr/>
          </p:nvSpPr>
          <p:spPr>
            <a:xfrm>
              <a:off x="-23687325" y="12612825"/>
              <a:ext cx="247025" cy="125225"/>
            </a:xfrm>
            <a:custGeom>
              <a:avLst/>
              <a:gdLst/>
              <a:ahLst/>
              <a:cxnLst/>
              <a:rect l="l" t="t" r="r" b="b"/>
              <a:pathLst>
                <a:path w="9881" h="5009" extrusionOk="0">
                  <a:moveTo>
                    <a:pt x="9881" y="336"/>
                  </a:moveTo>
                  <a:lnTo>
                    <a:pt x="8940" y="1647"/>
                  </a:lnTo>
                  <a:cubicBezTo>
                    <a:pt x="6352" y="1412"/>
                    <a:pt x="3025" y="2891"/>
                    <a:pt x="1546" y="5008"/>
                  </a:cubicBezTo>
                  <a:lnTo>
                    <a:pt x="0" y="4706"/>
                  </a:lnTo>
                  <a:cubicBezTo>
                    <a:pt x="2084" y="1950"/>
                    <a:pt x="6453" y="0"/>
                    <a:pt x="9881" y="336"/>
                  </a:cubicBezTo>
                  <a:close/>
                </a:path>
              </a:pathLst>
            </a:custGeom>
            <a:solidFill>
              <a:srgbClr val="BF4CA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52" name="Google Shape;3647;p49"/>
            <p:cNvSpPr/>
            <p:nvPr/>
          </p:nvSpPr>
          <p:spPr>
            <a:xfrm>
              <a:off x="-23740275" y="12621225"/>
              <a:ext cx="417625" cy="258050"/>
            </a:xfrm>
            <a:custGeom>
              <a:avLst/>
              <a:gdLst/>
              <a:ahLst/>
              <a:cxnLst/>
              <a:rect l="l" t="t" r="r" b="b"/>
              <a:pathLst>
                <a:path w="16705" h="10322" extrusionOk="0">
                  <a:moveTo>
                    <a:pt x="11999" y="0"/>
                  </a:moveTo>
                  <a:lnTo>
                    <a:pt x="11058" y="1311"/>
                  </a:lnTo>
                  <a:cubicBezTo>
                    <a:pt x="13646" y="1580"/>
                    <a:pt x="14553" y="3496"/>
                    <a:pt x="13041" y="5613"/>
                  </a:cubicBezTo>
                  <a:cubicBezTo>
                    <a:pt x="11646" y="7535"/>
                    <a:pt x="8735" y="8971"/>
                    <a:pt x="6234" y="8971"/>
                  </a:cubicBezTo>
                  <a:cubicBezTo>
                    <a:pt x="6024" y="8971"/>
                    <a:pt x="5817" y="8961"/>
                    <a:pt x="5613" y="8940"/>
                  </a:cubicBezTo>
                  <a:cubicBezTo>
                    <a:pt x="3026" y="8705"/>
                    <a:pt x="2152" y="6789"/>
                    <a:pt x="3631" y="4672"/>
                  </a:cubicBezTo>
                  <a:lnTo>
                    <a:pt x="2118" y="4370"/>
                  </a:lnTo>
                  <a:cubicBezTo>
                    <a:pt x="2085" y="4403"/>
                    <a:pt x="2051" y="4470"/>
                    <a:pt x="2017" y="4504"/>
                  </a:cubicBezTo>
                  <a:cubicBezTo>
                    <a:pt x="1" y="7361"/>
                    <a:pt x="1177" y="9915"/>
                    <a:pt x="4672" y="10285"/>
                  </a:cubicBezTo>
                  <a:cubicBezTo>
                    <a:pt x="4928" y="10309"/>
                    <a:pt x="5189" y="10321"/>
                    <a:pt x="5454" y="10321"/>
                  </a:cubicBezTo>
                  <a:cubicBezTo>
                    <a:pt x="8813" y="10321"/>
                    <a:pt x="12819" y="8395"/>
                    <a:pt x="14688" y="5748"/>
                  </a:cubicBezTo>
                  <a:cubicBezTo>
                    <a:pt x="16704" y="2924"/>
                    <a:pt x="15494" y="337"/>
                    <a:pt x="11999" y="0"/>
                  </a:cubicBezTo>
                  <a:close/>
                </a:path>
              </a:pathLst>
            </a:custGeom>
            <a:solidFill>
              <a:srgbClr val="220B49"/>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53" name="Google Shape;3648;p49"/>
            <p:cNvSpPr/>
            <p:nvPr/>
          </p:nvSpPr>
          <p:spPr>
            <a:xfrm>
              <a:off x="-23431900" y="12758775"/>
              <a:ext cx="317625" cy="270825"/>
            </a:xfrm>
            <a:custGeom>
              <a:avLst/>
              <a:gdLst/>
              <a:ahLst/>
              <a:cxnLst/>
              <a:rect l="l" t="t" r="r" b="b"/>
              <a:pathLst>
                <a:path w="12705" h="10833" extrusionOk="0">
                  <a:moveTo>
                    <a:pt x="11829" y="0"/>
                  </a:moveTo>
                  <a:cubicBezTo>
                    <a:pt x="8386" y="0"/>
                    <a:pt x="4296" y="1920"/>
                    <a:pt x="2286" y="4581"/>
                  </a:cubicBezTo>
                  <a:lnTo>
                    <a:pt x="2151" y="4749"/>
                  </a:lnTo>
                  <a:cubicBezTo>
                    <a:pt x="0" y="7707"/>
                    <a:pt x="1244" y="10463"/>
                    <a:pt x="4941" y="10832"/>
                  </a:cubicBezTo>
                  <a:lnTo>
                    <a:pt x="5915" y="9421"/>
                  </a:lnTo>
                  <a:cubicBezTo>
                    <a:pt x="3193" y="9152"/>
                    <a:pt x="2286" y="7135"/>
                    <a:pt x="3865" y="4917"/>
                  </a:cubicBezTo>
                  <a:cubicBezTo>
                    <a:pt x="5356" y="2867"/>
                    <a:pt x="8454" y="1391"/>
                    <a:pt x="11064" y="1391"/>
                  </a:cubicBezTo>
                  <a:cubicBezTo>
                    <a:pt x="11278" y="1391"/>
                    <a:pt x="11489" y="1401"/>
                    <a:pt x="11696" y="1422"/>
                  </a:cubicBezTo>
                  <a:lnTo>
                    <a:pt x="12704" y="44"/>
                  </a:lnTo>
                  <a:cubicBezTo>
                    <a:pt x="12418" y="15"/>
                    <a:pt x="12126" y="0"/>
                    <a:pt x="11829" y="0"/>
                  </a:cubicBezTo>
                  <a:close/>
                </a:path>
              </a:pathLst>
            </a:custGeom>
            <a:solidFill>
              <a:srgbClr val="220B49"/>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54" name="Google Shape;3649;p49"/>
            <p:cNvSpPr/>
            <p:nvPr/>
          </p:nvSpPr>
          <p:spPr>
            <a:xfrm>
              <a:off x="-23308400" y="12759850"/>
              <a:ext cx="316775" cy="278975"/>
            </a:xfrm>
            <a:custGeom>
              <a:avLst/>
              <a:gdLst/>
              <a:ahLst/>
              <a:cxnLst/>
              <a:rect l="l" t="t" r="r" b="b"/>
              <a:pathLst>
                <a:path w="12671" h="11159" extrusionOk="0">
                  <a:moveTo>
                    <a:pt x="7764" y="1"/>
                  </a:moveTo>
                  <a:cubicBezTo>
                    <a:pt x="11428" y="371"/>
                    <a:pt x="12671" y="3093"/>
                    <a:pt x="10520" y="6084"/>
                  </a:cubicBezTo>
                  <a:cubicBezTo>
                    <a:pt x="8369" y="9075"/>
                    <a:pt x="3664" y="11159"/>
                    <a:pt x="1" y="10789"/>
                  </a:cubicBezTo>
                  <a:lnTo>
                    <a:pt x="975" y="9411"/>
                  </a:lnTo>
                  <a:cubicBezTo>
                    <a:pt x="3698" y="9680"/>
                    <a:pt x="7193" y="8101"/>
                    <a:pt x="8806" y="5916"/>
                  </a:cubicBezTo>
                  <a:cubicBezTo>
                    <a:pt x="10386" y="3698"/>
                    <a:pt x="9478" y="1681"/>
                    <a:pt x="6756" y="1379"/>
                  </a:cubicBezTo>
                  <a:close/>
                </a:path>
              </a:pathLst>
            </a:custGeom>
            <a:solidFill>
              <a:srgbClr val="BF4CA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55" name="Google Shape;3650;p49"/>
            <p:cNvSpPr/>
            <p:nvPr/>
          </p:nvSpPr>
          <p:spPr>
            <a:xfrm>
              <a:off x="-23118500" y="13001850"/>
              <a:ext cx="447000" cy="212750"/>
            </a:xfrm>
            <a:custGeom>
              <a:avLst/>
              <a:gdLst/>
              <a:ahLst/>
              <a:cxnLst/>
              <a:rect l="l" t="t" r="r" b="b"/>
              <a:pathLst>
                <a:path w="17880" h="8510" extrusionOk="0">
                  <a:moveTo>
                    <a:pt x="17208" y="0"/>
                  </a:moveTo>
                  <a:lnTo>
                    <a:pt x="15191" y="807"/>
                  </a:lnTo>
                  <a:cubicBezTo>
                    <a:pt x="15695" y="1748"/>
                    <a:pt x="15460" y="2958"/>
                    <a:pt x="14418" y="4168"/>
                  </a:cubicBezTo>
                  <a:cubicBezTo>
                    <a:pt x="12840" y="5943"/>
                    <a:pt x="9916" y="7127"/>
                    <a:pt x="7369" y="7127"/>
                  </a:cubicBezTo>
                  <a:cubicBezTo>
                    <a:pt x="6877" y="7127"/>
                    <a:pt x="6400" y="7083"/>
                    <a:pt x="5949" y="6991"/>
                  </a:cubicBezTo>
                  <a:cubicBezTo>
                    <a:pt x="3159" y="6419"/>
                    <a:pt x="2386" y="4235"/>
                    <a:pt x="4268" y="2084"/>
                  </a:cubicBezTo>
                  <a:lnTo>
                    <a:pt x="4302" y="2050"/>
                  </a:lnTo>
                  <a:lnTo>
                    <a:pt x="2554" y="1681"/>
                  </a:lnTo>
                  <a:lnTo>
                    <a:pt x="2521" y="1714"/>
                  </a:lnTo>
                  <a:cubicBezTo>
                    <a:pt x="0" y="4605"/>
                    <a:pt x="975" y="7562"/>
                    <a:pt x="4773" y="8335"/>
                  </a:cubicBezTo>
                  <a:cubicBezTo>
                    <a:pt x="5371" y="8453"/>
                    <a:pt x="6004" y="8509"/>
                    <a:pt x="6656" y="8509"/>
                  </a:cubicBezTo>
                  <a:cubicBezTo>
                    <a:pt x="10097" y="8509"/>
                    <a:pt x="14046" y="6934"/>
                    <a:pt x="16166" y="4504"/>
                  </a:cubicBezTo>
                  <a:cubicBezTo>
                    <a:pt x="17577" y="2891"/>
                    <a:pt x="17880" y="1277"/>
                    <a:pt x="17208" y="0"/>
                  </a:cubicBezTo>
                  <a:close/>
                </a:path>
              </a:pathLst>
            </a:custGeom>
            <a:solidFill>
              <a:srgbClr val="220B49"/>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56" name="Google Shape;3651;p49"/>
            <p:cNvSpPr/>
            <p:nvPr/>
          </p:nvSpPr>
          <p:spPr>
            <a:xfrm>
              <a:off x="-23054650" y="12931275"/>
              <a:ext cx="366350" cy="121850"/>
            </a:xfrm>
            <a:custGeom>
              <a:avLst/>
              <a:gdLst/>
              <a:ahLst/>
              <a:cxnLst/>
              <a:rect l="l" t="t" r="r" b="b"/>
              <a:pathLst>
                <a:path w="14654" h="4874" extrusionOk="0">
                  <a:moveTo>
                    <a:pt x="11360" y="739"/>
                  </a:moveTo>
                  <a:cubicBezTo>
                    <a:pt x="13007" y="1076"/>
                    <a:pt x="14150" y="1849"/>
                    <a:pt x="14654" y="2823"/>
                  </a:cubicBezTo>
                  <a:lnTo>
                    <a:pt x="12637" y="3630"/>
                  </a:lnTo>
                  <a:cubicBezTo>
                    <a:pt x="12234" y="2890"/>
                    <a:pt x="11394" y="2353"/>
                    <a:pt x="10184" y="2084"/>
                  </a:cubicBezTo>
                  <a:cubicBezTo>
                    <a:pt x="7394" y="1512"/>
                    <a:pt x="3664" y="2756"/>
                    <a:pt x="1782" y="4873"/>
                  </a:cubicBezTo>
                  <a:lnTo>
                    <a:pt x="0" y="4504"/>
                  </a:lnTo>
                  <a:lnTo>
                    <a:pt x="101" y="4403"/>
                  </a:lnTo>
                  <a:cubicBezTo>
                    <a:pt x="2655" y="1647"/>
                    <a:pt x="7663" y="0"/>
                    <a:pt x="11360" y="739"/>
                  </a:cubicBezTo>
                  <a:close/>
                </a:path>
              </a:pathLst>
            </a:custGeom>
            <a:solidFill>
              <a:srgbClr val="BF4CA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57" name="Google Shape;3652;p49"/>
            <p:cNvSpPr/>
            <p:nvPr/>
          </p:nvSpPr>
          <p:spPr>
            <a:xfrm>
              <a:off x="-23799075" y="12860675"/>
              <a:ext cx="236950" cy="160525"/>
            </a:xfrm>
            <a:custGeom>
              <a:avLst/>
              <a:gdLst/>
              <a:ahLst/>
              <a:cxnLst/>
              <a:rect l="l" t="t" r="r" b="b"/>
              <a:pathLst>
                <a:path w="9478" h="6421" extrusionOk="0">
                  <a:moveTo>
                    <a:pt x="8906" y="6319"/>
                  </a:moveTo>
                  <a:lnTo>
                    <a:pt x="202" y="673"/>
                  </a:lnTo>
                  <a:cubicBezTo>
                    <a:pt x="34" y="572"/>
                    <a:pt x="0" y="371"/>
                    <a:pt x="101" y="203"/>
                  </a:cubicBezTo>
                  <a:lnTo>
                    <a:pt x="101" y="203"/>
                  </a:lnTo>
                  <a:cubicBezTo>
                    <a:pt x="202" y="35"/>
                    <a:pt x="403" y="1"/>
                    <a:pt x="572" y="102"/>
                  </a:cubicBezTo>
                  <a:lnTo>
                    <a:pt x="9276" y="5748"/>
                  </a:lnTo>
                  <a:cubicBezTo>
                    <a:pt x="9444" y="5849"/>
                    <a:pt x="9478" y="6050"/>
                    <a:pt x="9377" y="6219"/>
                  </a:cubicBezTo>
                  <a:lnTo>
                    <a:pt x="9377" y="6219"/>
                  </a:lnTo>
                  <a:cubicBezTo>
                    <a:pt x="9276" y="6387"/>
                    <a:pt x="9074" y="6420"/>
                    <a:pt x="8906" y="631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58" name="Google Shape;3653;p49"/>
            <p:cNvSpPr/>
            <p:nvPr/>
          </p:nvSpPr>
          <p:spPr>
            <a:xfrm>
              <a:off x="-23834375" y="12889250"/>
              <a:ext cx="165550" cy="115125"/>
            </a:xfrm>
            <a:custGeom>
              <a:avLst/>
              <a:gdLst/>
              <a:ahLst/>
              <a:cxnLst/>
              <a:rect l="l" t="t" r="r" b="b"/>
              <a:pathLst>
                <a:path w="6622" h="4605" extrusionOk="0">
                  <a:moveTo>
                    <a:pt x="6185" y="4605"/>
                  </a:moveTo>
                  <a:lnTo>
                    <a:pt x="34" y="606"/>
                  </a:lnTo>
                  <a:cubicBezTo>
                    <a:pt x="1" y="606"/>
                    <a:pt x="1" y="538"/>
                    <a:pt x="1" y="505"/>
                  </a:cubicBezTo>
                  <a:lnTo>
                    <a:pt x="303" y="68"/>
                  </a:lnTo>
                  <a:cubicBezTo>
                    <a:pt x="303" y="34"/>
                    <a:pt x="370" y="1"/>
                    <a:pt x="438" y="34"/>
                  </a:cubicBezTo>
                  <a:lnTo>
                    <a:pt x="6554" y="4000"/>
                  </a:lnTo>
                  <a:cubicBezTo>
                    <a:pt x="6588" y="4034"/>
                    <a:pt x="6622" y="4101"/>
                    <a:pt x="6588" y="4134"/>
                  </a:cubicBezTo>
                  <a:lnTo>
                    <a:pt x="6319" y="4571"/>
                  </a:lnTo>
                  <a:cubicBezTo>
                    <a:pt x="6285" y="4605"/>
                    <a:pt x="6218" y="4605"/>
                    <a:pt x="6185" y="4605"/>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59" name="Google Shape;3654;p49"/>
            <p:cNvSpPr/>
            <p:nvPr/>
          </p:nvSpPr>
          <p:spPr>
            <a:xfrm>
              <a:off x="-23498275" y="13044700"/>
              <a:ext cx="236950" cy="160500"/>
            </a:xfrm>
            <a:custGeom>
              <a:avLst/>
              <a:gdLst/>
              <a:ahLst/>
              <a:cxnLst/>
              <a:rect l="l" t="t" r="r" b="b"/>
              <a:pathLst>
                <a:path w="9478" h="6420" extrusionOk="0">
                  <a:moveTo>
                    <a:pt x="8906" y="6319"/>
                  </a:moveTo>
                  <a:lnTo>
                    <a:pt x="202" y="672"/>
                  </a:lnTo>
                  <a:cubicBezTo>
                    <a:pt x="34" y="572"/>
                    <a:pt x="0" y="370"/>
                    <a:pt x="101" y="202"/>
                  </a:cubicBezTo>
                  <a:lnTo>
                    <a:pt x="101" y="202"/>
                  </a:lnTo>
                  <a:cubicBezTo>
                    <a:pt x="202" y="34"/>
                    <a:pt x="403" y="0"/>
                    <a:pt x="571" y="101"/>
                  </a:cubicBezTo>
                  <a:lnTo>
                    <a:pt x="9276" y="5747"/>
                  </a:lnTo>
                  <a:cubicBezTo>
                    <a:pt x="9444" y="5848"/>
                    <a:pt x="9478" y="6050"/>
                    <a:pt x="9377" y="6218"/>
                  </a:cubicBezTo>
                  <a:lnTo>
                    <a:pt x="9377" y="6218"/>
                  </a:lnTo>
                  <a:cubicBezTo>
                    <a:pt x="9276" y="6386"/>
                    <a:pt x="9074" y="6419"/>
                    <a:pt x="8906" y="631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60" name="Google Shape;3655;p49"/>
            <p:cNvSpPr/>
            <p:nvPr/>
          </p:nvSpPr>
          <p:spPr>
            <a:xfrm>
              <a:off x="-23532725" y="13074950"/>
              <a:ext cx="163025" cy="112600"/>
            </a:xfrm>
            <a:custGeom>
              <a:avLst/>
              <a:gdLst/>
              <a:ahLst/>
              <a:cxnLst/>
              <a:rect l="l" t="t" r="r" b="b"/>
              <a:pathLst>
                <a:path w="6521" h="4504" extrusionOk="0">
                  <a:moveTo>
                    <a:pt x="5982" y="4403"/>
                  </a:moveTo>
                  <a:lnTo>
                    <a:pt x="168" y="672"/>
                  </a:lnTo>
                  <a:cubicBezTo>
                    <a:pt x="34" y="571"/>
                    <a:pt x="0" y="403"/>
                    <a:pt x="101" y="235"/>
                  </a:cubicBezTo>
                  <a:lnTo>
                    <a:pt x="135" y="168"/>
                  </a:lnTo>
                  <a:cubicBezTo>
                    <a:pt x="235" y="34"/>
                    <a:pt x="403" y="0"/>
                    <a:pt x="571" y="67"/>
                  </a:cubicBezTo>
                  <a:lnTo>
                    <a:pt x="6352" y="3832"/>
                  </a:lnTo>
                  <a:cubicBezTo>
                    <a:pt x="6487" y="3932"/>
                    <a:pt x="6520" y="4100"/>
                    <a:pt x="6453" y="4235"/>
                  </a:cubicBezTo>
                  <a:lnTo>
                    <a:pt x="6386" y="4336"/>
                  </a:lnTo>
                  <a:cubicBezTo>
                    <a:pt x="6285" y="4470"/>
                    <a:pt x="6117" y="4504"/>
                    <a:pt x="5982" y="4403"/>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61" name="Google Shape;3656;p49"/>
            <p:cNvSpPr/>
            <p:nvPr/>
          </p:nvSpPr>
          <p:spPr>
            <a:xfrm>
              <a:off x="-23185725" y="13236275"/>
              <a:ext cx="236975" cy="160500"/>
            </a:xfrm>
            <a:custGeom>
              <a:avLst/>
              <a:gdLst/>
              <a:ahLst/>
              <a:cxnLst/>
              <a:rect l="l" t="t" r="r" b="b"/>
              <a:pathLst>
                <a:path w="9479" h="6420" extrusionOk="0">
                  <a:moveTo>
                    <a:pt x="8907" y="6318"/>
                  </a:moveTo>
                  <a:lnTo>
                    <a:pt x="202" y="672"/>
                  </a:lnTo>
                  <a:cubicBezTo>
                    <a:pt x="34" y="571"/>
                    <a:pt x="0" y="370"/>
                    <a:pt x="101" y="202"/>
                  </a:cubicBezTo>
                  <a:lnTo>
                    <a:pt x="101" y="202"/>
                  </a:lnTo>
                  <a:cubicBezTo>
                    <a:pt x="202" y="34"/>
                    <a:pt x="437" y="0"/>
                    <a:pt x="572" y="101"/>
                  </a:cubicBezTo>
                  <a:lnTo>
                    <a:pt x="9276" y="5747"/>
                  </a:lnTo>
                  <a:cubicBezTo>
                    <a:pt x="9444" y="5848"/>
                    <a:pt x="9478" y="6050"/>
                    <a:pt x="9377" y="6218"/>
                  </a:cubicBezTo>
                  <a:lnTo>
                    <a:pt x="9377" y="6218"/>
                  </a:lnTo>
                  <a:cubicBezTo>
                    <a:pt x="9276" y="6386"/>
                    <a:pt x="9075" y="6419"/>
                    <a:pt x="8907" y="6318"/>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62" name="Google Shape;3657;p49"/>
            <p:cNvSpPr/>
            <p:nvPr/>
          </p:nvSpPr>
          <p:spPr>
            <a:xfrm>
              <a:off x="-23220175" y="13265675"/>
              <a:ext cx="163025" cy="113450"/>
            </a:xfrm>
            <a:custGeom>
              <a:avLst/>
              <a:gdLst/>
              <a:ahLst/>
              <a:cxnLst/>
              <a:rect l="l" t="t" r="r" b="b"/>
              <a:pathLst>
                <a:path w="6521" h="4538" extrusionOk="0">
                  <a:moveTo>
                    <a:pt x="5983" y="4437"/>
                  </a:moveTo>
                  <a:lnTo>
                    <a:pt x="202" y="672"/>
                  </a:lnTo>
                  <a:cubicBezTo>
                    <a:pt x="68" y="605"/>
                    <a:pt x="1" y="404"/>
                    <a:pt x="101" y="269"/>
                  </a:cubicBezTo>
                  <a:lnTo>
                    <a:pt x="169" y="202"/>
                  </a:lnTo>
                  <a:cubicBezTo>
                    <a:pt x="236" y="68"/>
                    <a:pt x="437" y="0"/>
                    <a:pt x="572" y="101"/>
                  </a:cubicBezTo>
                  <a:lnTo>
                    <a:pt x="6353" y="3865"/>
                  </a:lnTo>
                  <a:cubicBezTo>
                    <a:pt x="6487" y="3933"/>
                    <a:pt x="6521" y="4134"/>
                    <a:pt x="6453" y="4269"/>
                  </a:cubicBezTo>
                  <a:lnTo>
                    <a:pt x="6386" y="4369"/>
                  </a:lnTo>
                  <a:cubicBezTo>
                    <a:pt x="6319" y="4504"/>
                    <a:pt x="6117" y="4537"/>
                    <a:pt x="5983" y="4437"/>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63" name="Google Shape;3658;p49"/>
            <p:cNvSpPr/>
            <p:nvPr/>
          </p:nvSpPr>
          <p:spPr>
            <a:xfrm>
              <a:off x="-23883950" y="12991750"/>
              <a:ext cx="805800" cy="531050"/>
            </a:xfrm>
            <a:custGeom>
              <a:avLst/>
              <a:gdLst/>
              <a:ahLst/>
              <a:cxnLst/>
              <a:rect l="l" t="t" r="r" b="b"/>
              <a:pathLst>
                <a:path w="32232" h="21242" extrusionOk="0">
                  <a:moveTo>
                    <a:pt x="31425" y="21107"/>
                  </a:moveTo>
                  <a:lnTo>
                    <a:pt x="303" y="942"/>
                  </a:lnTo>
                  <a:cubicBezTo>
                    <a:pt x="68" y="807"/>
                    <a:pt x="1" y="505"/>
                    <a:pt x="169" y="270"/>
                  </a:cubicBezTo>
                  <a:lnTo>
                    <a:pt x="169" y="270"/>
                  </a:lnTo>
                  <a:cubicBezTo>
                    <a:pt x="303" y="68"/>
                    <a:pt x="606" y="1"/>
                    <a:pt x="807" y="135"/>
                  </a:cubicBezTo>
                  <a:lnTo>
                    <a:pt x="31962" y="20301"/>
                  </a:lnTo>
                  <a:cubicBezTo>
                    <a:pt x="32198" y="20435"/>
                    <a:pt x="32231" y="20737"/>
                    <a:pt x="32097" y="20973"/>
                  </a:cubicBezTo>
                  <a:lnTo>
                    <a:pt x="32097" y="20973"/>
                  </a:lnTo>
                  <a:cubicBezTo>
                    <a:pt x="31962" y="21208"/>
                    <a:pt x="31660" y="21242"/>
                    <a:pt x="31425" y="21107"/>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64" name="Google Shape;3659;p49"/>
            <p:cNvSpPr/>
            <p:nvPr/>
          </p:nvSpPr>
          <p:spPr>
            <a:xfrm>
              <a:off x="-23951150" y="13021175"/>
              <a:ext cx="548675" cy="364675"/>
            </a:xfrm>
            <a:custGeom>
              <a:avLst/>
              <a:gdLst/>
              <a:ahLst/>
              <a:cxnLst/>
              <a:rect l="l" t="t" r="r" b="b"/>
              <a:pathLst>
                <a:path w="21947" h="14587" extrusionOk="0">
                  <a:moveTo>
                    <a:pt x="21106" y="14418"/>
                  </a:moveTo>
                  <a:lnTo>
                    <a:pt x="302" y="941"/>
                  </a:lnTo>
                  <a:cubicBezTo>
                    <a:pt x="67" y="807"/>
                    <a:pt x="0" y="504"/>
                    <a:pt x="168" y="269"/>
                  </a:cubicBezTo>
                  <a:lnTo>
                    <a:pt x="168" y="269"/>
                  </a:lnTo>
                  <a:cubicBezTo>
                    <a:pt x="302" y="67"/>
                    <a:pt x="605" y="0"/>
                    <a:pt x="807" y="135"/>
                  </a:cubicBezTo>
                  <a:lnTo>
                    <a:pt x="21644" y="13612"/>
                  </a:lnTo>
                  <a:cubicBezTo>
                    <a:pt x="21879" y="13780"/>
                    <a:pt x="21946" y="14049"/>
                    <a:pt x="21778" y="14284"/>
                  </a:cubicBezTo>
                  <a:lnTo>
                    <a:pt x="21778" y="14284"/>
                  </a:lnTo>
                  <a:cubicBezTo>
                    <a:pt x="21644" y="14519"/>
                    <a:pt x="21341" y="14586"/>
                    <a:pt x="21106" y="14418"/>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65" name="Google Shape;3660;p49"/>
            <p:cNvSpPr/>
            <p:nvPr/>
          </p:nvSpPr>
          <p:spPr>
            <a:xfrm>
              <a:off x="-23976375" y="13129550"/>
              <a:ext cx="805800" cy="531875"/>
            </a:xfrm>
            <a:custGeom>
              <a:avLst/>
              <a:gdLst/>
              <a:ahLst/>
              <a:cxnLst/>
              <a:rect l="l" t="t" r="r" b="b"/>
              <a:pathLst>
                <a:path w="32232" h="21275" extrusionOk="0">
                  <a:moveTo>
                    <a:pt x="31425" y="21107"/>
                  </a:moveTo>
                  <a:lnTo>
                    <a:pt x="303" y="942"/>
                  </a:lnTo>
                  <a:cubicBezTo>
                    <a:pt x="68" y="807"/>
                    <a:pt x="1" y="505"/>
                    <a:pt x="169" y="270"/>
                  </a:cubicBezTo>
                  <a:lnTo>
                    <a:pt x="169" y="270"/>
                  </a:lnTo>
                  <a:cubicBezTo>
                    <a:pt x="303" y="68"/>
                    <a:pt x="606" y="1"/>
                    <a:pt x="807" y="135"/>
                  </a:cubicBezTo>
                  <a:lnTo>
                    <a:pt x="31963" y="20300"/>
                  </a:lnTo>
                  <a:cubicBezTo>
                    <a:pt x="32164" y="20435"/>
                    <a:pt x="32231" y="20737"/>
                    <a:pt x="32097" y="20973"/>
                  </a:cubicBezTo>
                  <a:lnTo>
                    <a:pt x="32097" y="20973"/>
                  </a:lnTo>
                  <a:cubicBezTo>
                    <a:pt x="31963" y="21208"/>
                    <a:pt x="31660" y="21275"/>
                    <a:pt x="31425" y="21107"/>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66" name="Google Shape;3661;p49"/>
            <p:cNvSpPr/>
            <p:nvPr/>
          </p:nvSpPr>
          <p:spPr>
            <a:xfrm>
              <a:off x="-24043575" y="13158975"/>
              <a:ext cx="548675" cy="364675"/>
            </a:xfrm>
            <a:custGeom>
              <a:avLst/>
              <a:gdLst/>
              <a:ahLst/>
              <a:cxnLst/>
              <a:rect l="l" t="t" r="r" b="b"/>
              <a:pathLst>
                <a:path w="21947" h="14587" extrusionOk="0">
                  <a:moveTo>
                    <a:pt x="21106" y="14418"/>
                  </a:moveTo>
                  <a:lnTo>
                    <a:pt x="303" y="941"/>
                  </a:lnTo>
                  <a:cubicBezTo>
                    <a:pt x="67" y="807"/>
                    <a:pt x="0" y="504"/>
                    <a:pt x="168" y="269"/>
                  </a:cubicBezTo>
                  <a:lnTo>
                    <a:pt x="168" y="269"/>
                  </a:lnTo>
                  <a:cubicBezTo>
                    <a:pt x="303" y="67"/>
                    <a:pt x="605" y="0"/>
                    <a:pt x="807" y="134"/>
                  </a:cubicBezTo>
                  <a:lnTo>
                    <a:pt x="21644" y="13612"/>
                  </a:lnTo>
                  <a:cubicBezTo>
                    <a:pt x="21879" y="13780"/>
                    <a:pt x="21946" y="14082"/>
                    <a:pt x="21778" y="14284"/>
                  </a:cubicBezTo>
                  <a:lnTo>
                    <a:pt x="21778" y="14284"/>
                  </a:lnTo>
                  <a:cubicBezTo>
                    <a:pt x="21644" y="14519"/>
                    <a:pt x="21342" y="14586"/>
                    <a:pt x="21106" y="14418"/>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67" name="Google Shape;3662;p49"/>
            <p:cNvSpPr/>
            <p:nvPr/>
          </p:nvSpPr>
          <p:spPr>
            <a:xfrm>
              <a:off x="-24004925" y="14550925"/>
              <a:ext cx="326025" cy="184350"/>
            </a:xfrm>
            <a:custGeom>
              <a:avLst/>
              <a:gdLst/>
              <a:ahLst/>
              <a:cxnLst/>
              <a:rect l="l" t="t" r="r" b="b"/>
              <a:pathLst>
                <a:path w="13041" h="7374" extrusionOk="0">
                  <a:moveTo>
                    <a:pt x="9610" y="0"/>
                  </a:moveTo>
                  <a:cubicBezTo>
                    <a:pt x="8439" y="0"/>
                    <a:pt x="7112" y="440"/>
                    <a:pt x="5848" y="1020"/>
                  </a:cubicBezTo>
                  <a:lnTo>
                    <a:pt x="0" y="2431"/>
                  </a:lnTo>
                  <a:lnTo>
                    <a:pt x="0" y="4818"/>
                  </a:lnTo>
                  <a:cubicBezTo>
                    <a:pt x="0" y="4818"/>
                    <a:pt x="303" y="7204"/>
                    <a:pt x="3260" y="7372"/>
                  </a:cubicBezTo>
                  <a:cubicBezTo>
                    <a:pt x="3272" y="7373"/>
                    <a:pt x="3285" y="7373"/>
                    <a:pt x="3299" y="7373"/>
                  </a:cubicBezTo>
                  <a:cubicBezTo>
                    <a:pt x="4233" y="7373"/>
                    <a:pt x="8744" y="5126"/>
                    <a:pt x="11427" y="3204"/>
                  </a:cubicBezTo>
                  <a:cubicBezTo>
                    <a:pt x="11830" y="2868"/>
                    <a:pt x="13040" y="1625"/>
                    <a:pt x="11561" y="583"/>
                  </a:cubicBezTo>
                  <a:cubicBezTo>
                    <a:pt x="11007" y="170"/>
                    <a:pt x="10339" y="0"/>
                    <a:pt x="9610" y="0"/>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68" name="Google Shape;3663;p49"/>
            <p:cNvSpPr/>
            <p:nvPr/>
          </p:nvSpPr>
          <p:spPr>
            <a:xfrm>
              <a:off x="-24087275" y="13953800"/>
              <a:ext cx="236125" cy="783125"/>
            </a:xfrm>
            <a:custGeom>
              <a:avLst/>
              <a:gdLst/>
              <a:ahLst/>
              <a:cxnLst/>
              <a:rect l="l" t="t" r="r" b="b"/>
              <a:pathLst>
                <a:path w="9445" h="31325" extrusionOk="0">
                  <a:moveTo>
                    <a:pt x="9444" y="27526"/>
                  </a:moveTo>
                  <a:lnTo>
                    <a:pt x="7865" y="1"/>
                  </a:lnTo>
                  <a:lnTo>
                    <a:pt x="639" y="5109"/>
                  </a:lnTo>
                  <a:cubicBezTo>
                    <a:pt x="639" y="5109"/>
                    <a:pt x="0" y="10487"/>
                    <a:pt x="639" y="14486"/>
                  </a:cubicBezTo>
                  <a:cubicBezTo>
                    <a:pt x="1244" y="18486"/>
                    <a:pt x="3395" y="29005"/>
                    <a:pt x="3395" y="29005"/>
                  </a:cubicBezTo>
                  <a:cubicBezTo>
                    <a:pt x="3395" y="29005"/>
                    <a:pt x="7630" y="31324"/>
                    <a:pt x="9444" y="27526"/>
                  </a:cubicBezTo>
                  <a:close/>
                </a:path>
              </a:pathLst>
            </a:custGeom>
            <a:solidFill>
              <a:srgbClr val="BF4CA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69" name="Google Shape;3664;p49"/>
            <p:cNvSpPr/>
            <p:nvPr/>
          </p:nvSpPr>
          <p:spPr>
            <a:xfrm>
              <a:off x="-23722625" y="14767700"/>
              <a:ext cx="326025" cy="185150"/>
            </a:xfrm>
            <a:custGeom>
              <a:avLst/>
              <a:gdLst/>
              <a:ahLst/>
              <a:cxnLst/>
              <a:rect l="l" t="t" r="r" b="b"/>
              <a:pathLst>
                <a:path w="13041" h="7406" extrusionOk="0">
                  <a:moveTo>
                    <a:pt x="9630" y="0"/>
                  </a:moveTo>
                  <a:cubicBezTo>
                    <a:pt x="8461" y="0"/>
                    <a:pt x="7146" y="440"/>
                    <a:pt x="5882" y="1020"/>
                  </a:cubicBezTo>
                  <a:lnTo>
                    <a:pt x="1" y="2431"/>
                  </a:lnTo>
                  <a:lnTo>
                    <a:pt x="1" y="4818"/>
                  </a:lnTo>
                  <a:cubicBezTo>
                    <a:pt x="1" y="4818"/>
                    <a:pt x="303" y="7204"/>
                    <a:pt x="3261" y="7406"/>
                  </a:cubicBezTo>
                  <a:cubicBezTo>
                    <a:pt x="3267" y="7406"/>
                    <a:pt x="3274" y="7406"/>
                    <a:pt x="3280" y="7406"/>
                  </a:cubicBezTo>
                  <a:cubicBezTo>
                    <a:pt x="4201" y="7406"/>
                    <a:pt x="8758" y="5140"/>
                    <a:pt x="11427" y="3204"/>
                  </a:cubicBezTo>
                  <a:cubicBezTo>
                    <a:pt x="11864" y="2868"/>
                    <a:pt x="13041" y="1658"/>
                    <a:pt x="11596" y="583"/>
                  </a:cubicBezTo>
                  <a:cubicBezTo>
                    <a:pt x="11028" y="170"/>
                    <a:pt x="10357" y="0"/>
                    <a:pt x="9630" y="0"/>
                  </a:cubicBezTo>
                  <a:close/>
                </a:path>
              </a:pathLst>
            </a:custGeom>
            <a:solidFill>
              <a:srgbClr val="220B49"/>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70" name="Google Shape;3665;p49"/>
            <p:cNvSpPr/>
            <p:nvPr/>
          </p:nvSpPr>
          <p:spPr>
            <a:xfrm>
              <a:off x="-23800775" y="14117650"/>
              <a:ext cx="236125" cy="783100"/>
            </a:xfrm>
            <a:custGeom>
              <a:avLst/>
              <a:gdLst/>
              <a:ahLst/>
              <a:cxnLst/>
              <a:rect l="l" t="t" r="r" b="b"/>
              <a:pathLst>
                <a:path w="9445" h="31324" extrusionOk="0">
                  <a:moveTo>
                    <a:pt x="9445" y="27526"/>
                  </a:moveTo>
                  <a:lnTo>
                    <a:pt x="7865" y="0"/>
                  </a:lnTo>
                  <a:lnTo>
                    <a:pt x="606" y="5075"/>
                  </a:lnTo>
                  <a:cubicBezTo>
                    <a:pt x="606" y="5075"/>
                    <a:pt x="1" y="10453"/>
                    <a:pt x="606" y="14452"/>
                  </a:cubicBezTo>
                  <a:cubicBezTo>
                    <a:pt x="1244" y="18452"/>
                    <a:pt x="3395" y="29005"/>
                    <a:pt x="3395" y="29005"/>
                  </a:cubicBezTo>
                  <a:cubicBezTo>
                    <a:pt x="3395" y="29005"/>
                    <a:pt x="7630" y="31324"/>
                    <a:pt x="9445" y="27526"/>
                  </a:cubicBezTo>
                  <a:close/>
                </a:path>
              </a:pathLst>
            </a:custGeom>
            <a:solidFill>
              <a:srgbClr val="BF4CA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71" name="Google Shape;3666;p49"/>
            <p:cNvSpPr/>
            <p:nvPr/>
          </p:nvSpPr>
          <p:spPr>
            <a:xfrm>
              <a:off x="-25090500" y="14355425"/>
              <a:ext cx="1323375" cy="1064575"/>
            </a:xfrm>
            <a:custGeom>
              <a:avLst/>
              <a:gdLst/>
              <a:ahLst/>
              <a:cxnLst/>
              <a:rect l="l" t="t" r="r" b="b"/>
              <a:pathLst>
                <a:path w="52935" h="42583" extrusionOk="0">
                  <a:moveTo>
                    <a:pt x="52934" y="169"/>
                  </a:moveTo>
                  <a:cubicBezTo>
                    <a:pt x="52934" y="236"/>
                    <a:pt x="52934" y="270"/>
                    <a:pt x="52901" y="303"/>
                  </a:cubicBezTo>
                  <a:cubicBezTo>
                    <a:pt x="52901" y="370"/>
                    <a:pt x="52901" y="404"/>
                    <a:pt x="52867" y="438"/>
                  </a:cubicBezTo>
                  <a:cubicBezTo>
                    <a:pt x="52867" y="471"/>
                    <a:pt x="52867" y="538"/>
                    <a:pt x="52833" y="572"/>
                  </a:cubicBezTo>
                  <a:cubicBezTo>
                    <a:pt x="52833" y="606"/>
                    <a:pt x="52800" y="639"/>
                    <a:pt x="52800" y="673"/>
                  </a:cubicBezTo>
                  <a:cubicBezTo>
                    <a:pt x="52766" y="740"/>
                    <a:pt x="52766" y="774"/>
                    <a:pt x="52733" y="841"/>
                  </a:cubicBezTo>
                  <a:cubicBezTo>
                    <a:pt x="52699" y="875"/>
                    <a:pt x="52699" y="908"/>
                    <a:pt x="52665" y="942"/>
                  </a:cubicBezTo>
                  <a:cubicBezTo>
                    <a:pt x="52632" y="1009"/>
                    <a:pt x="52598" y="1043"/>
                    <a:pt x="52565" y="1110"/>
                  </a:cubicBezTo>
                  <a:cubicBezTo>
                    <a:pt x="52531" y="1143"/>
                    <a:pt x="52497" y="1177"/>
                    <a:pt x="52464" y="1211"/>
                  </a:cubicBezTo>
                  <a:cubicBezTo>
                    <a:pt x="52430" y="1278"/>
                    <a:pt x="52363" y="1345"/>
                    <a:pt x="52296" y="1412"/>
                  </a:cubicBezTo>
                  <a:lnTo>
                    <a:pt x="52195" y="1480"/>
                  </a:lnTo>
                  <a:cubicBezTo>
                    <a:pt x="52161" y="1547"/>
                    <a:pt x="52128" y="1580"/>
                    <a:pt x="52060" y="1614"/>
                  </a:cubicBezTo>
                  <a:cubicBezTo>
                    <a:pt x="52027" y="1648"/>
                    <a:pt x="51993" y="1681"/>
                    <a:pt x="51926" y="1715"/>
                  </a:cubicBezTo>
                  <a:cubicBezTo>
                    <a:pt x="51892" y="1748"/>
                    <a:pt x="51825" y="1782"/>
                    <a:pt x="51758" y="1816"/>
                  </a:cubicBezTo>
                  <a:cubicBezTo>
                    <a:pt x="51724" y="1849"/>
                    <a:pt x="51657" y="1916"/>
                    <a:pt x="51590" y="1950"/>
                  </a:cubicBezTo>
                  <a:lnTo>
                    <a:pt x="29912" y="14520"/>
                  </a:lnTo>
                  <a:cubicBezTo>
                    <a:pt x="29711" y="14654"/>
                    <a:pt x="29475" y="14755"/>
                    <a:pt x="29240" y="14856"/>
                  </a:cubicBezTo>
                  <a:cubicBezTo>
                    <a:pt x="29207" y="14856"/>
                    <a:pt x="29139" y="14889"/>
                    <a:pt x="29072" y="14923"/>
                  </a:cubicBezTo>
                  <a:cubicBezTo>
                    <a:pt x="28938" y="14957"/>
                    <a:pt x="28803" y="15024"/>
                    <a:pt x="28635" y="15057"/>
                  </a:cubicBezTo>
                  <a:cubicBezTo>
                    <a:pt x="28467" y="15091"/>
                    <a:pt x="28333" y="15125"/>
                    <a:pt x="28165" y="15158"/>
                  </a:cubicBezTo>
                  <a:cubicBezTo>
                    <a:pt x="27997" y="15192"/>
                    <a:pt x="27795" y="15225"/>
                    <a:pt x="27593" y="15259"/>
                  </a:cubicBezTo>
                  <a:cubicBezTo>
                    <a:pt x="27560" y="15259"/>
                    <a:pt x="27493" y="15259"/>
                    <a:pt x="27459" y="15293"/>
                  </a:cubicBezTo>
                  <a:cubicBezTo>
                    <a:pt x="27190" y="15326"/>
                    <a:pt x="26921" y="15326"/>
                    <a:pt x="26686" y="15326"/>
                  </a:cubicBezTo>
                  <a:lnTo>
                    <a:pt x="26552" y="15326"/>
                  </a:lnTo>
                  <a:cubicBezTo>
                    <a:pt x="26283" y="15326"/>
                    <a:pt x="26014" y="15293"/>
                    <a:pt x="25779" y="15293"/>
                  </a:cubicBezTo>
                  <a:cubicBezTo>
                    <a:pt x="25745" y="15293"/>
                    <a:pt x="25711" y="15259"/>
                    <a:pt x="25644" y="15259"/>
                  </a:cubicBezTo>
                  <a:cubicBezTo>
                    <a:pt x="25409" y="15225"/>
                    <a:pt x="25140" y="15192"/>
                    <a:pt x="24905" y="15125"/>
                  </a:cubicBezTo>
                  <a:cubicBezTo>
                    <a:pt x="24837" y="15125"/>
                    <a:pt x="24804" y="15125"/>
                    <a:pt x="24770" y="15125"/>
                  </a:cubicBezTo>
                  <a:cubicBezTo>
                    <a:pt x="24535" y="15057"/>
                    <a:pt x="24333" y="14990"/>
                    <a:pt x="24098" y="14923"/>
                  </a:cubicBezTo>
                  <a:cubicBezTo>
                    <a:pt x="24064" y="14889"/>
                    <a:pt x="24031" y="14889"/>
                    <a:pt x="23997" y="14889"/>
                  </a:cubicBezTo>
                  <a:cubicBezTo>
                    <a:pt x="23762" y="14789"/>
                    <a:pt x="23493" y="14654"/>
                    <a:pt x="23291" y="14553"/>
                  </a:cubicBezTo>
                  <a:lnTo>
                    <a:pt x="1480" y="1950"/>
                  </a:lnTo>
                  <a:cubicBezTo>
                    <a:pt x="538" y="1412"/>
                    <a:pt x="102" y="707"/>
                    <a:pt x="102" y="1"/>
                  </a:cubicBezTo>
                  <a:lnTo>
                    <a:pt x="1" y="27257"/>
                  </a:lnTo>
                  <a:cubicBezTo>
                    <a:pt x="1" y="27963"/>
                    <a:pt x="471" y="28669"/>
                    <a:pt x="1412" y="29207"/>
                  </a:cubicBezTo>
                  <a:lnTo>
                    <a:pt x="23224" y="41776"/>
                  </a:lnTo>
                  <a:cubicBezTo>
                    <a:pt x="23426" y="41911"/>
                    <a:pt x="23661" y="42012"/>
                    <a:pt x="23896" y="42112"/>
                  </a:cubicBezTo>
                  <a:lnTo>
                    <a:pt x="23930" y="42112"/>
                  </a:lnTo>
                  <a:lnTo>
                    <a:pt x="24031" y="42180"/>
                  </a:lnTo>
                  <a:cubicBezTo>
                    <a:pt x="24165" y="42213"/>
                    <a:pt x="24300" y="42280"/>
                    <a:pt x="24468" y="42314"/>
                  </a:cubicBezTo>
                  <a:cubicBezTo>
                    <a:pt x="24535" y="42314"/>
                    <a:pt x="24602" y="42348"/>
                    <a:pt x="24703" y="42348"/>
                  </a:cubicBezTo>
                  <a:cubicBezTo>
                    <a:pt x="24737" y="42381"/>
                    <a:pt x="24770" y="42381"/>
                    <a:pt x="24837" y="42381"/>
                  </a:cubicBezTo>
                  <a:cubicBezTo>
                    <a:pt x="24871" y="42415"/>
                    <a:pt x="24905" y="42415"/>
                    <a:pt x="24938" y="42415"/>
                  </a:cubicBezTo>
                  <a:cubicBezTo>
                    <a:pt x="25106" y="42448"/>
                    <a:pt x="25241" y="42482"/>
                    <a:pt x="25409" y="42516"/>
                  </a:cubicBezTo>
                  <a:cubicBezTo>
                    <a:pt x="25476" y="42516"/>
                    <a:pt x="25510" y="42516"/>
                    <a:pt x="25577" y="42516"/>
                  </a:cubicBezTo>
                  <a:cubicBezTo>
                    <a:pt x="25610" y="42516"/>
                    <a:pt x="25644" y="42516"/>
                    <a:pt x="25678" y="42549"/>
                  </a:cubicBezTo>
                  <a:cubicBezTo>
                    <a:pt x="25745" y="42549"/>
                    <a:pt x="25812" y="42549"/>
                    <a:pt x="25879" y="42549"/>
                  </a:cubicBezTo>
                  <a:cubicBezTo>
                    <a:pt x="26014" y="42549"/>
                    <a:pt x="26182" y="42583"/>
                    <a:pt x="26316" y="42583"/>
                  </a:cubicBezTo>
                  <a:lnTo>
                    <a:pt x="26484" y="42583"/>
                  </a:lnTo>
                  <a:lnTo>
                    <a:pt x="26585" y="42583"/>
                  </a:lnTo>
                  <a:lnTo>
                    <a:pt x="26820" y="42583"/>
                  </a:lnTo>
                  <a:cubicBezTo>
                    <a:pt x="26988" y="42583"/>
                    <a:pt x="27156" y="42549"/>
                    <a:pt x="27325" y="42549"/>
                  </a:cubicBezTo>
                  <a:cubicBezTo>
                    <a:pt x="27358" y="42549"/>
                    <a:pt x="27358" y="42549"/>
                    <a:pt x="27392" y="42549"/>
                  </a:cubicBezTo>
                  <a:cubicBezTo>
                    <a:pt x="27425" y="42549"/>
                    <a:pt x="27459" y="42516"/>
                    <a:pt x="27526" y="42516"/>
                  </a:cubicBezTo>
                  <a:cubicBezTo>
                    <a:pt x="27661" y="42516"/>
                    <a:pt x="27795" y="42482"/>
                    <a:pt x="27929" y="42448"/>
                  </a:cubicBezTo>
                  <a:cubicBezTo>
                    <a:pt x="27963" y="42448"/>
                    <a:pt x="28030" y="42448"/>
                    <a:pt x="28098" y="42415"/>
                  </a:cubicBezTo>
                  <a:cubicBezTo>
                    <a:pt x="28232" y="42381"/>
                    <a:pt x="28400" y="42348"/>
                    <a:pt x="28568" y="42314"/>
                  </a:cubicBezTo>
                  <a:cubicBezTo>
                    <a:pt x="28635" y="42280"/>
                    <a:pt x="28736" y="42280"/>
                    <a:pt x="28803" y="42247"/>
                  </a:cubicBezTo>
                  <a:cubicBezTo>
                    <a:pt x="28871" y="42213"/>
                    <a:pt x="28938" y="42180"/>
                    <a:pt x="29005" y="42180"/>
                  </a:cubicBezTo>
                  <a:cubicBezTo>
                    <a:pt x="29072" y="42146"/>
                    <a:pt x="29106" y="42112"/>
                    <a:pt x="29173" y="42112"/>
                  </a:cubicBezTo>
                  <a:cubicBezTo>
                    <a:pt x="29408" y="42012"/>
                    <a:pt x="29644" y="41911"/>
                    <a:pt x="29845" y="41776"/>
                  </a:cubicBezTo>
                  <a:lnTo>
                    <a:pt x="51523" y="29207"/>
                  </a:lnTo>
                  <a:cubicBezTo>
                    <a:pt x="51523" y="29173"/>
                    <a:pt x="51556" y="29173"/>
                    <a:pt x="51556" y="29173"/>
                  </a:cubicBezTo>
                  <a:cubicBezTo>
                    <a:pt x="51624" y="29139"/>
                    <a:pt x="51657" y="29106"/>
                    <a:pt x="51691" y="29072"/>
                  </a:cubicBezTo>
                  <a:cubicBezTo>
                    <a:pt x="51758" y="29039"/>
                    <a:pt x="51825" y="29005"/>
                    <a:pt x="51859" y="28971"/>
                  </a:cubicBezTo>
                  <a:cubicBezTo>
                    <a:pt x="51892" y="28938"/>
                    <a:pt x="51960" y="28904"/>
                    <a:pt x="51993" y="28871"/>
                  </a:cubicBezTo>
                  <a:cubicBezTo>
                    <a:pt x="52027" y="28837"/>
                    <a:pt x="52094" y="28770"/>
                    <a:pt x="52128" y="28736"/>
                  </a:cubicBezTo>
                  <a:cubicBezTo>
                    <a:pt x="52128" y="28736"/>
                    <a:pt x="52161" y="28736"/>
                    <a:pt x="52161" y="28736"/>
                  </a:cubicBezTo>
                  <a:cubicBezTo>
                    <a:pt x="52195" y="28703"/>
                    <a:pt x="52195" y="28703"/>
                    <a:pt x="52229" y="28669"/>
                  </a:cubicBezTo>
                  <a:cubicBezTo>
                    <a:pt x="52296" y="28602"/>
                    <a:pt x="52363" y="28535"/>
                    <a:pt x="52397" y="28467"/>
                  </a:cubicBezTo>
                  <a:cubicBezTo>
                    <a:pt x="52430" y="28434"/>
                    <a:pt x="52430" y="28434"/>
                    <a:pt x="52464" y="28400"/>
                  </a:cubicBezTo>
                  <a:cubicBezTo>
                    <a:pt x="52464" y="28400"/>
                    <a:pt x="52464" y="28366"/>
                    <a:pt x="52497" y="28366"/>
                  </a:cubicBezTo>
                  <a:cubicBezTo>
                    <a:pt x="52531" y="28299"/>
                    <a:pt x="52565" y="28266"/>
                    <a:pt x="52598" y="28198"/>
                  </a:cubicBezTo>
                  <a:cubicBezTo>
                    <a:pt x="52598" y="28198"/>
                    <a:pt x="52632" y="28165"/>
                    <a:pt x="52632" y="28131"/>
                  </a:cubicBezTo>
                  <a:cubicBezTo>
                    <a:pt x="52665" y="28131"/>
                    <a:pt x="52665" y="28098"/>
                    <a:pt x="52665" y="28098"/>
                  </a:cubicBezTo>
                  <a:cubicBezTo>
                    <a:pt x="52699" y="28064"/>
                    <a:pt x="52699" y="27997"/>
                    <a:pt x="52733" y="27963"/>
                  </a:cubicBezTo>
                  <a:cubicBezTo>
                    <a:pt x="52733" y="27930"/>
                    <a:pt x="52766" y="27896"/>
                    <a:pt x="52766" y="27862"/>
                  </a:cubicBezTo>
                  <a:cubicBezTo>
                    <a:pt x="52766" y="27862"/>
                    <a:pt x="52766" y="27862"/>
                    <a:pt x="52766" y="27829"/>
                  </a:cubicBezTo>
                  <a:cubicBezTo>
                    <a:pt x="52800" y="27795"/>
                    <a:pt x="52800" y="27762"/>
                    <a:pt x="52800" y="27694"/>
                  </a:cubicBezTo>
                  <a:cubicBezTo>
                    <a:pt x="52833" y="27661"/>
                    <a:pt x="52833" y="27627"/>
                    <a:pt x="52833" y="27627"/>
                  </a:cubicBezTo>
                  <a:cubicBezTo>
                    <a:pt x="52833" y="27593"/>
                    <a:pt x="52833" y="27593"/>
                    <a:pt x="52833" y="27593"/>
                  </a:cubicBezTo>
                  <a:cubicBezTo>
                    <a:pt x="52867" y="27526"/>
                    <a:pt x="52867" y="27493"/>
                    <a:pt x="52867" y="27425"/>
                  </a:cubicBezTo>
                  <a:cubicBezTo>
                    <a:pt x="52867" y="27392"/>
                    <a:pt x="52867" y="27392"/>
                    <a:pt x="52867" y="27358"/>
                  </a:cubicBezTo>
                  <a:lnTo>
                    <a:pt x="52867" y="27291"/>
                  </a:lnTo>
                  <a:lnTo>
                    <a:pt x="52934" y="34"/>
                  </a:lnTo>
                  <a:cubicBezTo>
                    <a:pt x="52934" y="68"/>
                    <a:pt x="52934" y="135"/>
                    <a:pt x="52934" y="16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72" name="Google Shape;3667;p49"/>
            <p:cNvSpPr/>
            <p:nvPr/>
          </p:nvSpPr>
          <p:spPr>
            <a:xfrm>
              <a:off x="-25099725" y="13966400"/>
              <a:ext cx="1344350" cy="778925"/>
            </a:xfrm>
            <a:custGeom>
              <a:avLst/>
              <a:gdLst/>
              <a:ahLst/>
              <a:cxnLst/>
              <a:rect l="l" t="t" r="r" b="b"/>
              <a:pathLst>
                <a:path w="53774" h="31157" extrusionOk="0">
                  <a:moveTo>
                    <a:pt x="51925" y="13680"/>
                  </a:moveTo>
                  <a:cubicBezTo>
                    <a:pt x="53774" y="14722"/>
                    <a:pt x="53774" y="16436"/>
                    <a:pt x="51959" y="17511"/>
                  </a:cubicBezTo>
                  <a:lnTo>
                    <a:pt x="30281" y="30114"/>
                  </a:lnTo>
                  <a:cubicBezTo>
                    <a:pt x="28433" y="31156"/>
                    <a:pt x="25475" y="31156"/>
                    <a:pt x="23660" y="30114"/>
                  </a:cubicBezTo>
                  <a:lnTo>
                    <a:pt x="1849" y="17511"/>
                  </a:lnTo>
                  <a:cubicBezTo>
                    <a:pt x="0" y="16436"/>
                    <a:pt x="0" y="14722"/>
                    <a:pt x="1815" y="13680"/>
                  </a:cubicBezTo>
                  <a:lnTo>
                    <a:pt x="23492" y="1076"/>
                  </a:lnTo>
                  <a:cubicBezTo>
                    <a:pt x="25307" y="1"/>
                    <a:pt x="28265" y="1"/>
                    <a:pt x="30113" y="1076"/>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73" name="Google Shape;3668;p49"/>
            <p:cNvSpPr/>
            <p:nvPr/>
          </p:nvSpPr>
          <p:spPr>
            <a:xfrm>
              <a:off x="-23973000" y="13231850"/>
              <a:ext cx="104925" cy="29650"/>
            </a:xfrm>
            <a:custGeom>
              <a:avLst/>
              <a:gdLst/>
              <a:ahLst/>
              <a:cxnLst/>
              <a:rect l="l" t="t" r="r" b="b"/>
              <a:pathLst>
                <a:path w="4197" h="1186" extrusionOk="0">
                  <a:moveTo>
                    <a:pt x="3203" y="1"/>
                  </a:moveTo>
                  <a:cubicBezTo>
                    <a:pt x="2433" y="1"/>
                    <a:pt x="1466" y="110"/>
                    <a:pt x="1345" y="110"/>
                  </a:cubicBezTo>
                  <a:cubicBezTo>
                    <a:pt x="1143" y="110"/>
                    <a:pt x="471" y="43"/>
                    <a:pt x="471" y="43"/>
                  </a:cubicBezTo>
                  <a:lnTo>
                    <a:pt x="0" y="1185"/>
                  </a:lnTo>
                  <a:lnTo>
                    <a:pt x="0" y="1185"/>
                  </a:lnTo>
                  <a:lnTo>
                    <a:pt x="1378" y="849"/>
                  </a:lnTo>
                  <a:cubicBezTo>
                    <a:pt x="1609" y="868"/>
                    <a:pt x="1831" y="877"/>
                    <a:pt x="2042" y="877"/>
                  </a:cubicBezTo>
                  <a:cubicBezTo>
                    <a:pt x="3312" y="877"/>
                    <a:pt x="4196" y="556"/>
                    <a:pt x="4168" y="211"/>
                  </a:cubicBezTo>
                  <a:cubicBezTo>
                    <a:pt x="4141" y="49"/>
                    <a:pt x="3716" y="1"/>
                    <a:pt x="3203" y="1"/>
                  </a:cubicBezTo>
                  <a:close/>
                </a:path>
              </a:pathLst>
            </a:custGeom>
            <a:solidFill>
              <a:srgbClr val="E7BBD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74" name="Google Shape;3669;p49"/>
            <p:cNvSpPr/>
            <p:nvPr/>
          </p:nvSpPr>
          <p:spPr>
            <a:xfrm>
              <a:off x="-23979725" y="13257350"/>
              <a:ext cx="83950" cy="31025"/>
            </a:xfrm>
            <a:custGeom>
              <a:avLst/>
              <a:gdLst/>
              <a:ahLst/>
              <a:cxnLst/>
              <a:rect l="l" t="t" r="r" b="b"/>
              <a:pathLst>
                <a:path w="3358" h="1241" extrusionOk="0">
                  <a:moveTo>
                    <a:pt x="2634" y="0"/>
                  </a:moveTo>
                  <a:cubicBezTo>
                    <a:pt x="2001" y="0"/>
                    <a:pt x="1147" y="132"/>
                    <a:pt x="1042" y="132"/>
                  </a:cubicBezTo>
                  <a:cubicBezTo>
                    <a:pt x="908" y="132"/>
                    <a:pt x="370" y="98"/>
                    <a:pt x="370" y="98"/>
                  </a:cubicBezTo>
                  <a:lnTo>
                    <a:pt x="0" y="1241"/>
                  </a:lnTo>
                  <a:lnTo>
                    <a:pt x="0" y="1241"/>
                  </a:lnTo>
                  <a:lnTo>
                    <a:pt x="1109" y="905"/>
                  </a:lnTo>
                  <a:cubicBezTo>
                    <a:pt x="1257" y="916"/>
                    <a:pt x="1400" y="921"/>
                    <a:pt x="1537" y="921"/>
                  </a:cubicBezTo>
                  <a:cubicBezTo>
                    <a:pt x="2620" y="921"/>
                    <a:pt x="3357" y="587"/>
                    <a:pt x="3328" y="199"/>
                  </a:cubicBezTo>
                  <a:cubicBezTo>
                    <a:pt x="3315" y="48"/>
                    <a:pt x="3014" y="0"/>
                    <a:pt x="2634" y="0"/>
                  </a:cubicBezTo>
                  <a:close/>
                </a:path>
              </a:pathLst>
            </a:custGeom>
            <a:solidFill>
              <a:srgbClr val="E7BBD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75" name="Google Shape;3670;p49"/>
            <p:cNvSpPr/>
            <p:nvPr/>
          </p:nvSpPr>
          <p:spPr>
            <a:xfrm>
              <a:off x="-23970475" y="13197775"/>
              <a:ext cx="120850" cy="37675"/>
            </a:xfrm>
            <a:custGeom>
              <a:avLst/>
              <a:gdLst/>
              <a:ahLst/>
              <a:cxnLst/>
              <a:rect l="l" t="t" r="r" b="b"/>
              <a:pathLst>
                <a:path w="4834" h="1507" extrusionOk="0">
                  <a:moveTo>
                    <a:pt x="2776" y="1"/>
                  </a:moveTo>
                  <a:cubicBezTo>
                    <a:pt x="2170" y="1"/>
                    <a:pt x="1640" y="28"/>
                    <a:pt x="1546" y="28"/>
                  </a:cubicBezTo>
                  <a:cubicBezTo>
                    <a:pt x="1311" y="28"/>
                    <a:pt x="538" y="162"/>
                    <a:pt x="538" y="162"/>
                  </a:cubicBezTo>
                  <a:lnTo>
                    <a:pt x="0" y="1506"/>
                  </a:lnTo>
                  <a:lnTo>
                    <a:pt x="0" y="1506"/>
                  </a:lnTo>
                  <a:lnTo>
                    <a:pt x="1580" y="935"/>
                  </a:lnTo>
                  <a:cubicBezTo>
                    <a:pt x="1928" y="960"/>
                    <a:pt x="2260" y="973"/>
                    <a:pt x="2570" y="973"/>
                  </a:cubicBezTo>
                  <a:cubicBezTo>
                    <a:pt x="3908" y="973"/>
                    <a:pt x="4833" y="746"/>
                    <a:pt x="4806" y="364"/>
                  </a:cubicBezTo>
                  <a:cubicBezTo>
                    <a:pt x="4766" y="61"/>
                    <a:pt x="3685" y="1"/>
                    <a:pt x="2776" y="1"/>
                  </a:cubicBezTo>
                  <a:close/>
                </a:path>
              </a:pathLst>
            </a:custGeom>
            <a:solidFill>
              <a:srgbClr val="E7BBD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76" name="Google Shape;3671;p49"/>
            <p:cNvSpPr/>
            <p:nvPr/>
          </p:nvSpPr>
          <p:spPr>
            <a:xfrm>
              <a:off x="-24085600" y="13175775"/>
              <a:ext cx="133625" cy="183175"/>
            </a:xfrm>
            <a:custGeom>
              <a:avLst/>
              <a:gdLst/>
              <a:ahLst/>
              <a:cxnLst/>
              <a:rect l="l" t="t" r="r" b="b"/>
              <a:pathLst>
                <a:path w="5345" h="7327" extrusionOk="0">
                  <a:moveTo>
                    <a:pt x="5344" y="0"/>
                  </a:moveTo>
                  <a:lnTo>
                    <a:pt x="5344" y="0"/>
                  </a:lnTo>
                  <a:cubicBezTo>
                    <a:pt x="4101" y="67"/>
                    <a:pt x="2656" y="1244"/>
                    <a:pt x="2219" y="1681"/>
                  </a:cubicBezTo>
                  <a:cubicBezTo>
                    <a:pt x="1815" y="2084"/>
                    <a:pt x="1" y="5210"/>
                    <a:pt x="1" y="5210"/>
                  </a:cubicBezTo>
                  <a:lnTo>
                    <a:pt x="874" y="5613"/>
                  </a:lnTo>
                  <a:cubicBezTo>
                    <a:pt x="874" y="5613"/>
                    <a:pt x="1681" y="5142"/>
                    <a:pt x="2387" y="4773"/>
                  </a:cubicBezTo>
                  <a:lnTo>
                    <a:pt x="2387" y="4773"/>
                  </a:lnTo>
                  <a:lnTo>
                    <a:pt x="639" y="6554"/>
                  </a:lnTo>
                  <a:lnTo>
                    <a:pt x="1715" y="7327"/>
                  </a:lnTo>
                  <a:lnTo>
                    <a:pt x="2555" y="6050"/>
                  </a:lnTo>
                  <a:cubicBezTo>
                    <a:pt x="2564" y="6050"/>
                    <a:pt x="2573" y="6050"/>
                    <a:pt x="2582" y="6050"/>
                  </a:cubicBezTo>
                  <a:cubicBezTo>
                    <a:pt x="3555" y="6050"/>
                    <a:pt x="4907" y="4302"/>
                    <a:pt x="4907" y="4302"/>
                  </a:cubicBezTo>
                  <a:lnTo>
                    <a:pt x="5344" y="0"/>
                  </a:lnTo>
                  <a:close/>
                </a:path>
              </a:pathLst>
            </a:custGeom>
            <a:solidFill>
              <a:srgbClr val="E7BBD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77" name="Google Shape;3672;p49"/>
            <p:cNvSpPr/>
            <p:nvPr/>
          </p:nvSpPr>
          <p:spPr>
            <a:xfrm>
              <a:off x="-23963775" y="13172700"/>
              <a:ext cx="104700" cy="31650"/>
            </a:xfrm>
            <a:custGeom>
              <a:avLst/>
              <a:gdLst/>
              <a:ahLst/>
              <a:cxnLst/>
              <a:rect l="l" t="t" r="r" b="b"/>
              <a:pathLst>
                <a:path w="4188" h="1266" extrusionOk="0">
                  <a:moveTo>
                    <a:pt x="2405" y="1"/>
                  </a:moveTo>
                  <a:cubicBezTo>
                    <a:pt x="1883" y="1"/>
                    <a:pt x="1426" y="22"/>
                    <a:pt x="1345" y="22"/>
                  </a:cubicBezTo>
                  <a:cubicBezTo>
                    <a:pt x="1144" y="22"/>
                    <a:pt x="471" y="123"/>
                    <a:pt x="471" y="123"/>
                  </a:cubicBezTo>
                  <a:lnTo>
                    <a:pt x="1" y="1266"/>
                  </a:lnTo>
                  <a:lnTo>
                    <a:pt x="1379" y="762"/>
                  </a:lnTo>
                  <a:cubicBezTo>
                    <a:pt x="1716" y="790"/>
                    <a:pt x="2035" y="803"/>
                    <a:pt x="2328" y="803"/>
                  </a:cubicBezTo>
                  <a:cubicBezTo>
                    <a:pt x="3441" y="803"/>
                    <a:pt x="4188" y="610"/>
                    <a:pt x="4135" y="291"/>
                  </a:cubicBezTo>
                  <a:cubicBezTo>
                    <a:pt x="4115" y="49"/>
                    <a:pt x="3187" y="1"/>
                    <a:pt x="2405" y="1"/>
                  </a:cubicBezTo>
                  <a:close/>
                </a:path>
              </a:pathLst>
            </a:custGeom>
            <a:solidFill>
              <a:srgbClr val="E7BBD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78" name="Google Shape;3673;p49"/>
            <p:cNvSpPr/>
            <p:nvPr/>
          </p:nvSpPr>
          <p:spPr>
            <a:xfrm>
              <a:off x="-24093150" y="13211575"/>
              <a:ext cx="162175" cy="153275"/>
            </a:xfrm>
            <a:custGeom>
              <a:avLst/>
              <a:gdLst/>
              <a:ahLst/>
              <a:cxnLst/>
              <a:rect l="l" t="t" r="r" b="b"/>
              <a:pathLst>
                <a:path w="6487" h="6131" extrusionOk="0">
                  <a:moveTo>
                    <a:pt x="5898" y="0"/>
                  </a:moveTo>
                  <a:cubicBezTo>
                    <a:pt x="5607" y="0"/>
                    <a:pt x="4623" y="838"/>
                    <a:pt x="3932" y="1089"/>
                  </a:cubicBezTo>
                  <a:cubicBezTo>
                    <a:pt x="3227" y="1324"/>
                    <a:pt x="1613" y="1862"/>
                    <a:pt x="1344" y="2131"/>
                  </a:cubicBezTo>
                  <a:cubicBezTo>
                    <a:pt x="1109" y="2400"/>
                    <a:pt x="0" y="4315"/>
                    <a:pt x="0" y="4315"/>
                  </a:cubicBezTo>
                  <a:lnTo>
                    <a:pt x="1412" y="6130"/>
                  </a:lnTo>
                  <a:lnTo>
                    <a:pt x="2319" y="4248"/>
                  </a:lnTo>
                  <a:cubicBezTo>
                    <a:pt x="2319" y="4248"/>
                    <a:pt x="3361" y="4248"/>
                    <a:pt x="4100" y="2232"/>
                  </a:cubicBezTo>
                  <a:cubicBezTo>
                    <a:pt x="4100" y="2232"/>
                    <a:pt x="6487" y="1089"/>
                    <a:pt x="5949" y="13"/>
                  </a:cubicBezTo>
                  <a:cubicBezTo>
                    <a:pt x="5936" y="4"/>
                    <a:pt x="5918" y="0"/>
                    <a:pt x="5898" y="0"/>
                  </a:cubicBezTo>
                  <a:close/>
                </a:path>
              </a:pathLst>
            </a:custGeom>
            <a:solidFill>
              <a:srgbClr val="ECCA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79" name="Google Shape;3674;p49"/>
            <p:cNvSpPr/>
            <p:nvPr/>
          </p:nvSpPr>
          <p:spPr>
            <a:xfrm>
              <a:off x="-24740975" y="13051425"/>
              <a:ext cx="452075" cy="679750"/>
            </a:xfrm>
            <a:custGeom>
              <a:avLst/>
              <a:gdLst/>
              <a:ahLst/>
              <a:cxnLst/>
              <a:rect l="l" t="t" r="r" b="b"/>
              <a:pathLst>
                <a:path w="18083" h="27190" extrusionOk="0">
                  <a:moveTo>
                    <a:pt x="5177" y="840"/>
                  </a:moveTo>
                  <a:cubicBezTo>
                    <a:pt x="6521" y="1445"/>
                    <a:pt x="11361" y="13712"/>
                    <a:pt x="14721" y="19796"/>
                  </a:cubicBezTo>
                  <a:cubicBezTo>
                    <a:pt x="14721" y="19796"/>
                    <a:pt x="18082" y="27190"/>
                    <a:pt x="13713" y="26853"/>
                  </a:cubicBezTo>
                  <a:cubicBezTo>
                    <a:pt x="9344" y="26517"/>
                    <a:pt x="1" y="12603"/>
                    <a:pt x="1" y="12603"/>
                  </a:cubicBezTo>
                  <a:cubicBezTo>
                    <a:pt x="1" y="12603"/>
                    <a:pt x="438" y="0"/>
                    <a:pt x="5177" y="840"/>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80" name="Google Shape;3675;p49"/>
            <p:cNvSpPr/>
            <p:nvPr/>
          </p:nvSpPr>
          <p:spPr>
            <a:xfrm>
              <a:off x="-24490575" y="13311875"/>
              <a:ext cx="439450" cy="415950"/>
            </a:xfrm>
            <a:custGeom>
              <a:avLst/>
              <a:gdLst/>
              <a:ahLst/>
              <a:cxnLst/>
              <a:rect l="l" t="t" r="r" b="b"/>
              <a:pathLst>
                <a:path w="17578" h="16638" extrusionOk="0">
                  <a:moveTo>
                    <a:pt x="17578" y="1984"/>
                  </a:moveTo>
                  <a:cubicBezTo>
                    <a:pt x="17578" y="1984"/>
                    <a:pt x="8806" y="16200"/>
                    <a:pt x="4369" y="16435"/>
                  </a:cubicBezTo>
                  <a:cubicBezTo>
                    <a:pt x="0" y="16637"/>
                    <a:pt x="1311" y="11629"/>
                    <a:pt x="4067" y="8705"/>
                  </a:cubicBezTo>
                  <a:cubicBezTo>
                    <a:pt x="6688" y="5950"/>
                    <a:pt x="9343" y="5311"/>
                    <a:pt x="15830" y="1"/>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81" name="Google Shape;3676;p49"/>
            <p:cNvSpPr/>
            <p:nvPr/>
          </p:nvSpPr>
          <p:spPr>
            <a:xfrm>
              <a:off x="-24738450" y="13817700"/>
              <a:ext cx="851175" cy="489025"/>
            </a:xfrm>
            <a:custGeom>
              <a:avLst/>
              <a:gdLst/>
              <a:ahLst/>
              <a:cxnLst/>
              <a:rect l="l" t="t" r="r" b="b"/>
              <a:pathLst>
                <a:path w="34047" h="19561" extrusionOk="0">
                  <a:moveTo>
                    <a:pt x="32870" y="2017"/>
                  </a:moveTo>
                  <a:cubicBezTo>
                    <a:pt x="32870" y="2017"/>
                    <a:pt x="32870" y="2017"/>
                    <a:pt x="32870" y="2017"/>
                  </a:cubicBezTo>
                  <a:cubicBezTo>
                    <a:pt x="32803" y="1916"/>
                    <a:pt x="32736" y="1815"/>
                    <a:pt x="32668" y="1748"/>
                  </a:cubicBezTo>
                  <a:cubicBezTo>
                    <a:pt x="32635" y="1714"/>
                    <a:pt x="32601" y="1647"/>
                    <a:pt x="32567" y="1613"/>
                  </a:cubicBezTo>
                  <a:cubicBezTo>
                    <a:pt x="32366" y="1412"/>
                    <a:pt x="32164" y="1210"/>
                    <a:pt x="31929" y="1042"/>
                  </a:cubicBezTo>
                  <a:cubicBezTo>
                    <a:pt x="31895" y="1008"/>
                    <a:pt x="31862" y="975"/>
                    <a:pt x="31794" y="941"/>
                  </a:cubicBezTo>
                  <a:cubicBezTo>
                    <a:pt x="31559" y="807"/>
                    <a:pt x="31324" y="672"/>
                    <a:pt x="31089" y="538"/>
                  </a:cubicBezTo>
                  <a:cubicBezTo>
                    <a:pt x="31021" y="538"/>
                    <a:pt x="30988" y="504"/>
                    <a:pt x="30954" y="504"/>
                  </a:cubicBezTo>
                  <a:cubicBezTo>
                    <a:pt x="30685" y="404"/>
                    <a:pt x="30417" y="336"/>
                    <a:pt x="30114" y="303"/>
                  </a:cubicBezTo>
                  <a:cubicBezTo>
                    <a:pt x="30080" y="303"/>
                    <a:pt x="30047" y="303"/>
                    <a:pt x="30013" y="303"/>
                  </a:cubicBezTo>
                  <a:cubicBezTo>
                    <a:pt x="29711" y="269"/>
                    <a:pt x="29408" y="303"/>
                    <a:pt x="29106" y="370"/>
                  </a:cubicBezTo>
                  <a:cubicBezTo>
                    <a:pt x="10957" y="4336"/>
                    <a:pt x="29475" y="0"/>
                    <a:pt x="1244" y="7125"/>
                  </a:cubicBezTo>
                  <a:cubicBezTo>
                    <a:pt x="1244" y="7125"/>
                    <a:pt x="1" y="19090"/>
                    <a:pt x="2084" y="19292"/>
                  </a:cubicBezTo>
                  <a:cubicBezTo>
                    <a:pt x="4908" y="19560"/>
                    <a:pt x="33677" y="11326"/>
                    <a:pt x="33979" y="5512"/>
                  </a:cubicBezTo>
                  <a:cubicBezTo>
                    <a:pt x="34046" y="4269"/>
                    <a:pt x="33576" y="2991"/>
                    <a:pt x="32870" y="2017"/>
                  </a:cubicBezTo>
                  <a:close/>
                </a:path>
              </a:pathLst>
            </a:custGeom>
            <a:solidFill>
              <a:srgbClr val="BF4CA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82" name="Google Shape;3677;p49"/>
            <p:cNvSpPr/>
            <p:nvPr/>
          </p:nvSpPr>
          <p:spPr>
            <a:xfrm>
              <a:off x="-24447725" y="13986575"/>
              <a:ext cx="845275" cy="480625"/>
            </a:xfrm>
            <a:custGeom>
              <a:avLst/>
              <a:gdLst/>
              <a:ahLst/>
              <a:cxnLst/>
              <a:rect l="l" t="t" r="r" b="b"/>
              <a:pathLst>
                <a:path w="33811" h="19225" extrusionOk="0">
                  <a:moveTo>
                    <a:pt x="32365" y="1379"/>
                  </a:moveTo>
                  <a:lnTo>
                    <a:pt x="32365" y="1379"/>
                  </a:lnTo>
                  <a:cubicBezTo>
                    <a:pt x="32164" y="1143"/>
                    <a:pt x="31929" y="942"/>
                    <a:pt x="31693" y="774"/>
                  </a:cubicBezTo>
                  <a:cubicBezTo>
                    <a:pt x="31626" y="706"/>
                    <a:pt x="31525" y="673"/>
                    <a:pt x="31458" y="606"/>
                  </a:cubicBezTo>
                  <a:cubicBezTo>
                    <a:pt x="31290" y="505"/>
                    <a:pt x="31122" y="404"/>
                    <a:pt x="30920" y="303"/>
                  </a:cubicBezTo>
                  <a:cubicBezTo>
                    <a:pt x="30819" y="269"/>
                    <a:pt x="30719" y="236"/>
                    <a:pt x="30618" y="202"/>
                  </a:cubicBezTo>
                  <a:cubicBezTo>
                    <a:pt x="30450" y="135"/>
                    <a:pt x="30248" y="101"/>
                    <a:pt x="30080" y="68"/>
                  </a:cubicBezTo>
                  <a:cubicBezTo>
                    <a:pt x="29979" y="34"/>
                    <a:pt x="29878" y="34"/>
                    <a:pt x="29744" y="34"/>
                  </a:cubicBezTo>
                  <a:cubicBezTo>
                    <a:pt x="29710" y="1"/>
                    <a:pt x="29677" y="1"/>
                    <a:pt x="29610" y="1"/>
                  </a:cubicBezTo>
                  <a:cubicBezTo>
                    <a:pt x="29610" y="1"/>
                    <a:pt x="29542" y="1"/>
                    <a:pt x="29441" y="34"/>
                  </a:cubicBezTo>
                  <a:cubicBezTo>
                    <a:pt x="29240" y="34"/>
                    <a:pt x="29072" y="34"/>
                    <a:pt x="28870" y="68"/>
                  </a:cubicBezTo>
                  <a:cubicBezTo>
                    <a:pt x="27089" y="471"/>
                    <a:pt x="24602" y="1042"/>
                    <a:pt x="21812" y="1715"/>
                  </a:cubicBezTo>
                  <a:cubicBezTo>
                    <a:pt x="16099" y="2958"/>
                    <a:pt x="8739" y="4538"/>
                    <a:pt x="5142" y="5176"/>
                  </a:cubicBezTo>
                  <a:lnTo>
                    <a:pt x="5042" y="5848"/>
                  </a:lnTo>
                  <a:cubicBezTo>
                    <a:pt x="2588" y="6453"/>
                    <a:pt x="1009" y="6857"/>
                    <a:pt x="1009" y="6857"/>
                  </a:cubicBezTo>
                  <a:cubicBezTo>
                    <a:pt x="1009" y="6857"/>
                    <a:pt x="0" y="18754"/>
                    <a:pt x="2050" y="18956"/>
                  </a:cubicBezTo>
                  <a:cubicBezTo>
                    <a:pt x="4907" y="19225"/>
                    <a:pt x="33441" y="11058"/>
                    <a:pt x="33743" y="5243"/>
                  </a:cubicBezTo>
                  <a:cubicBezTo>
                    <a:pt x="33811" y="3832"/>
                    <a:pt x="33273" y="2387"/>
                    <a:pt x="32365" y="1379"/>
                  </a:cubicBezTo>
                  <a:close/>
                </a:path>
              </a:pathLst>
            </a:custGeom>
            <a:solidFill>
              <a:srgbClr val="BF4CA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83" name="Google Shape;3678;p49"/>
            <p:cNvSpPr/>
            <p:nvPr/>
          </p:nvSpPr>
          <p:spPr>
            <a:xfrm>
              <a:off x="-24781300" y="14021875"/>
              <a:ext cx="451225" cy="441125"/>
            </a:xfrm>
            <a:custGeom>
              <a:avLst/>
              <a:gdLst/>
              <a:ahLst/>
              <a:cxnLst/>
              <a:rect l="l" t="t" r="r" b="b"/>
              <a:pathLst>
                <a:path w="18049" h="17645" extrusionOk="0">
                  <a:moveTo>
                    <a:pt x="17948" y="6251"/>
                  </a:moveTo>
                  <a:lnTo>
                    <a:pt x="17981" y="6991"/>
                  </a:lnTo>
                  <a:cubicBezTo>
                    <a:pt x="17948" y="6184"/>
                    <a:pt x="17914" y="5613"/>
                    <a:pt x="17914" y="5613"/>
                  </a:cubicBezTo>
                  <a:lnTo>
                    <a:pt x="1" y="0"/>
                  </a:lnTo>
                  <a:cubicBezTo>
                    <a:pt x="1" y="0"/>
                    <a:pt x="1" y="840"/>
                    <a:pt x="1" y="2050"/>
                  </a:cubicBezTo>
                  <a:lnTo>
                    <a:pt x="1" y="2084"/>
                  </a:lnTo>
                  <a:lnTo>
                    <a:pt x="1" y="2151"/>
                  </a:lnTo>
                  <a:lnTo>
                    <a:pt x="1" y="2151"/>
                  </a:lnTo>
                  <a:cubicBezTo>
                    <a:pt x="1" y="2286"/>
                    <a:pt x="1" y="2386"/>
                    <a:pt x="1" y="2521"/>
                  </a:cubicBezTo>
                  <a:cubicBezTo>
                    <a:pt x="1" y="2655"/>
                    <a:pt x="1" y="2790"/>
                    <a:pt x="1" y="2924"/>
                  </a:cubicBezTo>
                  <a:cubicBezTo>
                    <a:pt x="1" y="3025"/>
                    <a:pt x="1" y="3126"/>
                    <a:pt x="1" y="3260"/>
                  </a:cubicBezTo>
                  <a:cubicBezTo>
                    <a:pt x="1" y="3495"/>
                    <a:pt x="34" y="3764"/>
                    <a:pt x="34" y="4000"/>
                  </a:cubicBezTo>
                  <a:cubicBezTo>
                    <a:pt x="34" y="4067"/>
                    <a:pt x="34" y="4168"/>
                    <a:pt x="34" y="4235"/>
                  </a:cubicBezTo>
                  <a:cubicBezTo>
                    <a:pt x="34" y="4436"/>
                    <a:pt x="34" y="4638"/>
                    <a:pt x="68" y="4873"/>
                  </a:cubicBezTo>
                  <a:cubicBezTo>
                    <a:pt x="68" y="4974"/>
                    <a:pt x="68" y="5041"/>
                    <a:pt x="68" y="5142"/>
                  </a:cubicBezTo>
                  <a:cubicBezTo>
                    <a:pt x="68" y="5411"/>
                    <a:pt x="102" y="5680"/>
                    <a:pt x="102" y="5949"/>
                  </a:cubicBezTo>
                  <a:cubicBezTo>
                    <a:pt x="102" y="5982"/>
                    <a:pt x="102" y="5982"/>
                    <a:pt x="102" y="6016"/>
                  </a:cubicBezTo>
                  <a:cubicBezTo>
                    <a:pt x="135" y="6285"/>
                    <a:pt x="135" y="6587"/>
                    <a:pt x="169" y="6856"/>
                  </a:cubicBezTo>
                  <a:cubicBezTo>
                    <a:pt x="169" y="6923"/>
                    <a:pt x="169" y="7024"/>
                    <a:pt x="169" y="7092"/>
                  </a:cubicBezTo>
                  <a:cubicBezTo>
                    <a:pt x="202" y="7327"/>
                    <a:pt x="236" y="7562"/>
                    <a:pt x="236" y="7797"/>
                  </a:cubicBezTo>
                  <a:lnTo>
                    <a:pt x="270" y="7932"/>
                  </a:lnTo>
                  <a:cubicBezTo>
                    <a:pt x="303" y="8201"/>
                    <a:pt x="303" y="8469"/>
                    <a:pt x="337" y="8705"/>
                  </a:cubicBezTo>
                  <a:cubicBezTo>
                    <a:pt x="370" y="8772"/>
                    <a:pt x="370" y="8839"/>
                    <a:pt x="370" y="8873"/>
                  </a:cubicBezTo>
                  <a:cubicBezTo>
                    <a:pt x="404" y="9074"/>
                    <a:pt x="438" y="9276"/>
                    <a:pt x="471" y="9444"/>
                  </a:cubicBezTo>
                  <a:cubicBezTo>
                    <a:pt x="471" y="9511"/>
                    <a:pt x="471" y="9579"/>
                    <a:pt x="505" y="9612"/>
                  </a:cubicBezTo>
                  <a:cubicBezTo>
                    <a:pt x="538" y="9814"/>
                    <a:pt x="572" y="10015"/>
                    <a:pt x="639" y="10217"/>
                  </a:cubicBezTo>
                  <a:cubicBezTo>
                    <a:pt x="639" y="10251"/>
                    <a:pt x="639" y="10251"/>
                    <a:pt x="639" y="10284"/>
                  </a:cubicBezTo>
                  <a:cubicBezTo>
                    <a:pt x="706" y="10452"/>
                    <a:pt x="740" y="10587"/>
                    <a:pt x="774" y="10688"/>
                  </a:cubicBezTo>
                  <a:cubicBezTo>
                    <a:pt x="807" y="10721"/>
                    <a:pt x="807" y="10788"/>
                    <a:pt x="841" y="10822"/>
                  </a:cubicBezTo>
                  <a:cubicBezTo>
                    <a:pt x="908" y="10923"/>
                    <a:pt x="942" y="11057"/>
                    <a:pt x="1009" y="11125"/>
                  </a:cubicBezTo>
                  <a:cubicBezTo>
                    <a:pt x="1076" y="11225"/>
                    <a:pt x="1143" y="11360"/>
                    <a:pt x="1244" y="11494"/>
                  </a:cubicBezTo>
                  <a:cubicBezTo>
                    <a:pt x="1278" y="11528"/>
                    <a:pt x="1311" y="11561"/>
                    <a:pt x="1345" y="11595"/>
                  </a:cubicBezTo>
                  <a:cubicBezTo>
                    <a:pt x="1412" y="11696"/>
                    <a:pt x="1446" y="11797"/>
                    <a:pt x="1547" y="11864"/>
                  </a:cubicBezTo>
                  <a:cubicBezTo>
                    <a:pt x="1580" y="11931"/>
                    <a:pt x="1648" y="11998"/>
                    <a:pt x="1681" y="12066"/>
                  </a:cubicBezTo>
                  <a:cubicBezTo>
                    <a:pt x="1782" y="12133"/>
                    <a:pt x="1849" y="12234"/>
                    <a:pt x="1950" y="12334"/>
                  </a:cubicBezTo>
                  <a:cubicBezTo>
                    <a:pt x="2017" y="12402"/>
                    <a:pt x="2084" y="12469"/>
                    <a:pt x="2152" y="12536"/>
                  </a:cubicBezTo>
                  <a:cubicBezTo>
                    <a:pt x="2252" y="12603"/>
                    <a:pt x="2320" y="12704"/>
                    <a:pt x="2421" y="12805"/>
                  </a:cubicBezTo>
                  <a:cubicBezTo>
                    <a:pt x="2521" y="12872"/>
                    <a:pt x="2589" y="12939"/>
                    <a:pt x="2689" y="13040"/>
                  </a:cubicBezTo>
                  <a:cubicBezTo>
                    <a:pt x="2790" y="13107"/>
                    <a:pt x="2891" y="13208"/>
                    <a:pt x="2992" y="13309"/>
                  </a:cubicBezTo>
                  <a:cubicBezTo>
                    <a:pt x="3093" y="13376"/>
                    <a:pt x="3194" y="13477"/>
                    <a:pt x="3294" y="13544"/>
                  </a:cubicBezTo>
                  <a:cubicBezTo>
                    <a:pt x="3429" y="13645"/>
                    <a:pt x="3530" y="13746"/>
                    <a:pt x="3664" y="13813"/>
                  </a:cubicBezTo>
                  <a:cubicBezTo>
                    <a:pt x="3765" y="13914"/>
                    <a:pt x="3899" y="13981"/>
                    <a:pt x="4000" y="14082"/>
                  </a:cubicBezTo>
                  <a:cubicBezTo>
                    <a:pt x="4135" y="14149"/>
                    <a:pt x="4269" y="14250"/>
                    <a:pt x="4403" y="14351"/>
                  </a:cubicBezTo>
                  <a:cubicBezTo>
                    <a:pt x="4538" y="14418"/>
                    <a:pt x="4672" y="14519"/>
                    <a:pt x="4807" y="14586"/>
                  </a:cubicBezTo>
                  <a:cubicBezTo>
                    <a:pt x="4941" y="14687"/>
                    <a:pt x="5109" y="14754"/>
                    <a:pt x="5244" y="14855"/>
                  </a:cubicBezTo>
                  <a:cubicBezTo>
                    <a:pt x="5378" y="14956"/>
                    <a:pt x="5513" y="15023"/>
                    <a:pt x="5681" y="15090"/>
                  </a:cubicBezTo>
                  <a:cubicBezTo>
                    <a:pt x="5815" y="15191"/>
                    <a:pt x="5983" y="15292"/>
                    <a:pt x="6151" y="15359"/>
                  </a:cubicBezTo>
                  <a:cubicBezTo>
                    <a:pt x="6319" y="15426"/>
                    <a:pt x="6454" y="15527"/>
                    <a:pt x="6622" y="15595"/>
                  </a:cubicBezTo>
                  <a:cubicBezTo>
                    <a:pt x="6790" y="15662"/>
                    <a:pt x="6958" y="15763"/>
                    <a:pt x="7159" y="15830"/>
                  </a:cubicBezTo>
                  <a:cubicBezTo>
                    <a:pt x="7327" y="15897"/>
                    <a:pt x="7495" y="15964"/>
                    <a:pt x="7663" y="16065"/>
                  </a:cubicBezTo>
                  <a:cubicBezTo>
                    <a:pt x="7832" y="16132"/>
                    <a:pt x="8033" y="16199"/>
                    <a:pt x="8235" y="16267"/>
                  </a:cubicBezTo>
                  <a:cubicBezTo>
                    <a:pt x="8403" y="16334"/>
                    <a:pt x="8571" y="16401"/>
                    <a:pt x="8773" y="16468"/>
                  </a:cubicBezTo>
                  <a:cubicBezTo>
                    <a:pt x="8974" y="16536"/>
                    <a:pt x="9176" y="16603"/>
                    <a:pt x="9378" y="16636"/>
                  </a:cubicBezTo>
                  <a:cubicBezTo>
                    <a:pt x="9546" y="16704"/>
                    <a:pt x="9747" y="16771"/>
                    <a:pt x="9949" y="16838"/>
                  </a:cubicBezTo>
                  <a:cubicBezTo>
                    <a:pt x="10150" y="16872"/>
                    <a:pt x="10386" y="16939"/>
                    <a:pt x="10621" y="16972"/>
                  </a:cubicBezTo>
                  <a:cubicBezTo>
                    <a:pt x="10789" y="17040"/>
                    <a:pt x="10991" y="17073"/>
                    <a:pt x="11192" y="17107"/>
                  </a:cubicBezTo>
                  <a:cubicBezTo>
                    <a:pt x="11428" y="17174"/>
                    <a:pt x="11696" y="17208"/>
                    <a:pt x="11932" y="17241"/>
                  </a:cubicBezTo>
                  <a:cubicBezTo>
                    <a:pt x="12133" y="17275"/>
                    <a:pt x="12335" y="17309"/>
                    <a:pt x="12537" y="17342"/>
                  </a:cubicBezTo>
                  <a:cubicBezTo>
                    <a:pt x="12806" y="17376"/>
                    <a:pt x="13108" y="17409"/>
                    <a:pt x="13411" y="17443"/>
                  </a:cubicBezTo>
                  <a:cubicBezTo>
                    <a:pt x="13579" y="17443"/>
                    <a:pt x="13747" y="17477"/>
                    <a:pt x="13915" y="17477"/>
                  </a:cubicBezTo>
                  <a:lnTo>
                    <a:pt x="13948" y="17477"/>
                  </a:lnTo>
                  <a:lnTo>
                    <a:pt x="13948" y="17477"/>
                  </a:lnTo>
                  <a:cubicBezTo>
                    <a:pt x="14419" y="17510"/>
                    <a:pt x="14889" y="17544"/>
                    <a:pt x="15393" y="17544"/>
                  </a:cubicBezTo>
                  <a:cubicBezTo>
                    <a:pt x="17813" y="17645"/>
                    <a:pt x="18049" y="11461"/>
                    <a:pt x="18015" y="7965"/>
                  </a:cubicBezTo>
                  <a:cubicBezTo>
                    <a:pt x="17847" y="7293"/>
                    <a:pt x="17948" y="6251"/>
                    <a:pt x="17948" y="6251"/>
                  </a:cubicBezTo>
                  <a:close/>
                </a:path>
              </a:pathLst>
            </a:custGeom>
            <a:solidFill>
              <a:srgbClr val="BF4CA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84" name="Google Shape;3679;p49"/>
            <p:cNvSpPr/>
            <p:nvPr/>
          </p:nvSpPr>
          <p:spPr>
            <a:xfrm>
              <a:off x="-24812375" y="13072425"/>
              <a:ext cx="715875" cy="1182200"/>
            </a:xfrm>
            <a:custGeom>
              <a:avLst/>
              <a:gdLst/>
              <a:ahLst/>
              <a:cxnLst/>
              <a:rect l="l" t="t" r="r" b="b"/>
              <a:pathLst>
                <a:path w="28635" h="47288" extrusionOk="0">
                  <a:moveTo>
                    <a:pt x="26282" y="10621"/>
                  </a:moveTo>
                  <a:cubicBezTo>
                    <a:pt x="26282" y="10621"/>
                    <a:pt x="20938" y="5243"/>
                    <a:pt x="8033" y="0"/>
                  </a:cubicBezTo>
                  <a:cubicBezTo>
                    <a:pt x="6655" y="538"/>
                    <a:pt x="2118" y="10049"/>
                    <a:pt x="1277" y="21745"/>
                  </a:cubicBezTo>
                  <a:cubicBezTo>
                    <a:pt x="0" y="38751"/>
                    <a:pt x="1143" y="39222"/>
                    <a:pt x="1143" y="39222"/>
                  </a:cubicBezTo>
                  <a:cubicBezTo>
                    <a:pt x="1143" y="39222"/>
                    <a:pt x="5277" y="46011"/>
                    <a:pt x="14284" y="46851"/>
                  </a:cubicBezTo>
                  <a:cubicBezTo>
                    <a:pt x="19056" y="47288"/>
                    <a:pt x="20938" y="42784"/>
                    <a:pt x="20938" y="42784"/>
                  </a:cubicBezTo>
                  <a:cubicBezTo>
                    <a:pt x="20838" y="42986"/>
                    <a:pt x="20569" y="43120"/>
                    <a:pt x="22787" y="26686"/>
                  </a:cubicBezTo>
                  <a:cubicBezTo>
                    <a:pt x="23829" y="18888"/>
                    <a:pt x="28635" y="14486"/>
                    <a:pt x="26282" y="10621"/>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85" name="Google Shape;3680;p49"/>
            <p:cNvSpPr/>
            <p:nvPr/>
          </p:nvSpPr>
          <p:spPr>
            <a:xfrm>
              <a:off x="-24292300" y="14301650"/>
              <a:ext cx="875" cy="9275"/>
            </a:xfrm>
            <a:custGeom>
              <a:avLst/>
              <a:gdLst/>
              <a:ahLst/>
              <a:cxnLst/>
              <a:rect l="l" t="t" r="r" b="b"/>
              <a:pathLst>
                <a:path w="35" h="371" extrusionOk="0">
                  <a:moveTo>
                    <a:pt x="35" y="1"/>
                  </a:moveTo>
                  <a:cubicBezTo>
                    <a:pt x="13" y="150"/>
                    <a:pt x="5" y="259"/>
                    <a:pt x="3" y="318"/>
                  </a:cubicBezTo>
                  <a:lnTo>
                    <a:pt x="3" y="318"/>
                  </a:lnTo>
                  <a:cubicBezTo>
                    <a:pt x="9" y="208"/>
                    <a:pt x="35" y="117"/>
                    <a:pt x="35" y="1"/>
                  </a:cubicBezTo>
                  <a:close/>
                  <a:moveTo>
                    <a:pt x="3" y="318"/>
                  </a:moveTo>
                  <a:lnTo>
                    <a:pt x="3" y="318"/>
                  </a:lnTo>
                  <a:cubicBezTo>
                    <a:pt x="2" y="335"/>
                    <a:pt x="1" y="352"/>
                    <a:pt x="1" y="370"/>
                  </a:cubicBezTo>
                  <a:lnTo>
                    <a:pt x="1" y="370"/>
                  </a:lnTo>
                  <a:cubicBezTo>
                    <a:pt x="1" y="370"/>
                    <a:pt x="1" y="352"/>
                    <a:pt x="3" y="318"/>
                  </a:cubicBezTo>
                  <a:close/>
                </a:path>
              </a:pathLst>
            </a:custGeom>
            <a:solidFill>
              <a:srgbClr val="38235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86" name="Google Shape;3681;p49"/>
            <p:cNvSpPr/>
            <p:nvPr/>
          </p:nvSpPr>
          <p:spPr>
            <a:xfrm>
              <a:off x="-24556025" y="12708600"/>
              <a:ext cx="280575" cy="368325"/>
            </a:xfrm>
            <a:custGeom>
              <a:avLst/>
              <a:gdLst/>
              <a:ahLst/>
              <a:cxnLst/>
              <a:rect l="l" t="t" r="r" b="b"/>
              <a:pathLst>
                <a:path w="11223" h="14733" extrusionOk="0">
                  <a:moveTo>
                    <a:pt x="3324" y="1"/>
                  </a:moveTo>
                  <a:cubicBezTo>
                    <a:pt x="3324" y="2"/>
                    <a:pt x="0" y="14732"/>
                    <a:pt x="8724" y="14732"/>
                  </a:cubicBezTo>
                  <a:cubicBezTo>
                    <a:pt x="8859" y="14732"/>
                    <a:pt x="8997" y="14729"/>
                    <a:pt x="9138" y="14721"/>
                  </a:cubicBezTo>
                  <a:lnTo>
                    <a:pt x="11222" y="5546"/>
                  </a:lnTo>
                  <a:lnTo>
                    <a:pt x="3324" y="1"/>
                  </a:lnTo>
                  <a:close/>
                </a:path>
              </a:pathLst>
            </a:custGeom>
            <a:solidFill>
              <a:srgbClr val="ECCA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87" name="Google Shape;3682;p49"/>
            <p:cNvSpPr/>
            <p:nvPr/>
          </p:nvSpPr>
          <p:spPr>
            <a:xfrm>
              <a:off x="-24789700" y="13072425"/>
              <a:ext cx="573900" cy="1172125"/>
            </a:xfrm>
            <a:custGeom>
              <a:avLst/>
              <a:gdLst/>
              <a:ahLst/>
              <a:cxnLst/>
              <a:rect l="l" t="t" r="r" b="b"/>
              <a:pathLst>
                <a:path w="22956" h="46885" extrusionOk="0">
                  <a:moveTo>
                    <a:pt x="16805" y="21107"/>
                  </a:moveTo>
                  <a:cubicBezTo>
                    <a:pt x="10554" y="46582"/>
                    <a:pt x="14856" y="45070"/>
                    <a:pt x="13847" y="46884"/>
                  </a:cubicBezTo>
                  <a:cubicBezTo>
                    <a:pt x="13679" y="46884"/>
                    <a:pt x="13545" y="46851"/>
                    <a:pt x="13377" y="46851"/>
                  </a:cubicBezTo>
                  <a:cubicBezTo>
                    <a:pt x="4370" y="46011"/>
                    <a:pt x="236" y="39188"/>
                    <a:pt x="236" y="39188"/>
                  </a:cubicBezTo>
                  <a:cubicBezTo>
                    <a:pt x="236" y="39188"/>
                    <a:pt x="1" y="38684"/>
                    <a:pt x="337" y="21745"/>
                  </a:cubicBezTo>
                  <a:cubicBezTo>
                    <a:pt x="606" y="10016"/>
                    <a:pt x="5714" y="538"/>
                    <a:pt x="7126" y="0"/>
                  </a:cubicBezTo>
                  <a:cubicBezTo>
                    <a:pt x="15158" y="3260"/>
                    <a:pt x="20267" y="6588"/>
                    <a:pt x="22955" y="8604"/>
                  </a:cubicBezTo>
                  <a:cubicBezTo>
                    <a:pt x="21544" y="9646"/>
                    <a:pt x="18889" y="12637"/>
                    <a:pt x="16805" y="21107"/>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88" name="Google Shape;3683;p49"/>
            <p:cNvSpPr/>
            <p:nvPr/>
          </p:nvSpPr>
          <p:spPr>
            <a:xfrm>
              <a:off x="-24504025" y="12945975"/>
              <a:ext cx="248725" cy="305425"/>
            </a:xfrm>
            <a:custGeom>
              <a:avLst/>
              <a:gdLst/>
              <a:ahLst/>
              <a:cxnLst/>
              <a:rect l="l" t="t" r="r" b="b"/>
              <a:pathLst>
                <a:path w="9949" h="12217" extrusionOk="0">
                  <a:moveTo>
                    <a:pt x="1276" y="0"/>
                  </a:moveTo>
                  <a:cubicBezTo>
                    <a:pt x="1080" y="0"/>
                    <a:pt x="982" y="108"/>
                    <a:pt x="1009" y="353"/>
                  </a:cubicBezTo>
                  <a:cubicBezTo>
                    <a:pt x="1681" y="4924"/>
                    <a:pt x="1" y="8049"/>
                    <a:pt x="1" y="8049"/>
                  </a:cubicBezTo>
                  <a:lnTo>
                    <a:pt x="8134" y="12217"/>
                  </a:lnTo>
                  <a:cubicBezTo>
                    <a:pt x="7126" y="8419"/>
                    <a:pt x="9949" y="6335"/>
                    <a:pt x="9949" y="6335"/>
                  </a:cubicBezTo>
                  <a:cubicBezTo>
                    <a:pt x="9949" y="6335"/>
                    <a:pt x="2772" y="0"/>
                    <a:pt x="1276" y="0"/>
                  </a:cubicBezTo>
                  <a:close/>
                </a:path>
              </a:pathLst>
            </a:custGeom>
            <a:solidFill>
              <a:srgbClr val="E5B7DD"/>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89" name="Google Shape;3684;p49"/>
            <p:cNvSpPr/>
            <p:nvPr/>
          </p:nvSpPr>
          <p:spPr>
            <a:xfrm>
              <a:off x="-24541825" y="13089225"/>
              <a:ext cx="278975" cy="201675"/>
            </a:xfrm>
            <a:custGeom>
              <a:avLst/>
              <a:gdLst/>
              <a:ahLst/>
              <a:cxnLst/>
              <a:rect l="l" t="t" r="r" b="b"/>
              <a:pathLst>
                <a:path w="11159" h="8067" extrusionOk="0">
                  <a:moveTo>
                    <a:pt x="11158" y="6285"/>
                  </a:moveTo>
                  <a:cubicBezTo>
                    <a:pt x="11158" y="6285"/>
                    <a:pt x="7327" y="8067"/>
                    <a:pt x="3327" y="5949"/>
                  </a:cubicBezTo>
                  <a:cubicBezTo>
                    <a:pt x="0" y="4168"/>
                    <a:pt x="975" y="1614"/>
                    <a:pt x="975" y="1614"/>
                  </a:cubicBezTo>
                  <a:lnTo>
                    <a:pt x="2319" y="0"/>
                  </a:lnTo>
                  <a:cubicBezTo>
                    <a:pt x="2319" y="0"/>
                    <a:pt x="1647" y="2017"/>
                    <a:pt x="4336" y="3227"/>
                  </a:cubicBezTo>
                  <a:cubicBezTo>
                    <a:pt x="7562" y="4672"/>
                    <a:pt x="10150" y="3563"/>
                    <a:pt x="10150" y="3563"/>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90" name="Google Shape;3685;p49"/>
            <p:cNvSpPr/>
            <p:nvPr/>
          </p:nvSpPr>
          <p:spPr>
            <a:xfrm>
              <a:off x="-24330100" y="12774975"/>
              <a:ext cx="288225" cy="397750"/>
            </a:xfrm>
            <a:custGeom>
              <a:avLst/>
              <a:gdLst/>
              <a:ahLst/>
              <a:cxnLst/>
              <a:rect l="l" t="t" r="r" b="b"/>
              <a:pathLst>
                <a:path w="11529" h="15910" extrusionOk="0">
                  <a:moveTo>
                    <a:pt x="11528" y="1"/>
                  </a:moveTo>
                  <a:lnTo>
                    <a:pt x="538" y="3899"/>
                  </a:lnTo>
                  <a:lnTo>
                    <a:pt x="1" y="13814"/>
                  </a:lnTo>
                  <a:cubicBezTo>
                    <a:pt x="1486" y="15699"/>
                    <a:pt x="2850" y="15909"/>
                    <a:pt x="3968" y="15909"/>
                  </a:cubicBezTo>
                  <a:cubicBezTo>
                    <a:pt x="4166" y="15909"/>
                    <a:pt x="4356" y="15903"/>
                    <a:pt x="4538" y="15898"/>
                  </a:cubicBezTo>
                  <a:cubicBezTo>
                    <a:pt x="5748" y="15864"/>
                    <a:pt x="7462" y="11529"/>
                    <a:pt x="9209" y="7496"/>
                  </a:cubicBezTo>
                  <a:cubicBezTo>
                    <a:pt x="10587" y="4337"/>
                    <a:pt x="11528" y="1"/>
                    <a:pt x="11528" y="1"/>
                  </a:cubicBezTo>
                  <a:close/>
                </a:path>
              </a:pathLst>
            </a:custGeom>
            <a:solidFill>
              <a:srgbClr val="ECCA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91" name="Google Shape;3686;p49"/>
            <p:cNvSpPr/>
            <p:nvPr/>
          </p:nvSpPr>
          <p:spPr>
            <a:xfrm>
              <a:off x="-24330100" y="13032925"/>
              <a:ext cx="121025" cy="139800"/>
            </a:xfrm>
            <a:custGeom>
              <a:avLst/>
              <a:gdLst/>
              <a:ahLst/>
              <a:cxnLst/>
              <a:rect l="l" t="t" r="r" b="b"/>
              <a:pathLst>
                <a:path w="4841" h="5592" extrusionOk="0">
                  <a:moveTo>
                    <a:pt x="874" y="1"/>
                  </a:moveTo>
                  <a:lnTo>
                    <a:pt x="135" y="1076"/>
                  </a:lnTo>
                  <a:lnTo>
                    <a:pt x="1" y="3496"/>
                  </a:lnTo>
                  <a:cubicBezTo>
                    <a:pt x="1486" y="5381"/>
                    <a:pt x="2850" y="5591"/>
                    <a:pt x="3968" y="5591"/>
                  </a:cubicBezTo>
                  <a:cubicBezTo>
                    <a:pt x="4166" y="5591"/>
                    <a:pt x="4356" y="5585"/>
                    <a:pt x="4538" y="5580"/>
                  </a:cubicBezTo>
                  <a:cubicBezTo>
                    <a:pt x="4639" y="5580"/>
                    <a:pt x="4706" y="5546"/>
                    <a:pt x="4840" y="5479"/>
                  </a:cubicBezTo>
                  <a:lnTo>
                    <a:pt x="4840" y="5479"/>
                  </a:lnTo>
                  <a:cubicBezTo>
                    <a:pt x="4840" y="5479"/>
                    <a:pt x="4715" y="5506"/>
                    <a:pt x="4508" y="5506"/>
                  </a:cubicBezTo>
                  <a:cubicBezTo>
                    <a:pt x="3640" y="5506"/>
                    <a:pt x="1336" y="5024"/>
                    <a:pt x="874" y="1"/>
                  </a:cubicBezTo>
                  <a:close/>
                </a:path>
              </a:pathLst>
            </a:custGeom>
            <a:solidFill>
              <a:srgbClr val="E5B7DD"/>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92" name="Google Shape;3687;p49"/>
            <p:cNvSpPr/>
            <p:nvPr/>
          </p:nvSpPr>
          <p:spPr>
            <a:xfrm>
              <a:off x="-24535100" y="12588800"/>
              <a:ext cx="574725" cy="524100"/>
            </a:xfrm>
            <a:custGeom>
              <a:avLst/>
              <a:gdLst/>
              <a:ahLst/>
              <a:cxnLst/>
              <a:rect l="l" t="t" r="r" b="b"/>
              <a:pathLst>
                <a:path w="22989" h="20964" extrusionOk="0">
                  <a:moveTo>
                    <a:pt x="10508" y="1"/>
                  </a:moveTo>
                  <a:cubicBezTo>
                    <a:pt x="7394" y="1"/>
                    <a:pt x="4477" y="1209"/>
                    <a:pt x="2790" y="3247"/>
                  </a:cubicBezTo>
                  <a:cubicBezTo>
                    <a:pt x="1546" y="4726"/>
                    <a:pt x="0" y="15816"/>
                    <a:pt x="2285" y="18539"/>
                  </a:cubicBezTo>
                  <a:cubicBezTo>
                    <a:pt x="3346" y="19827"/>
                    <a:pt x="5167" y="20963"/>
                    <a:pt x="6548" y="20963"/>
                  </a:cubicBezTo>
                  <a:cubicBezTo>
                    <a:pt x="7004" y="20963"/>
                    <a:pt x="7413" y="20839"/>
                    <a:pt x="7730" y="20555"/>
                  </a:cubicBezTo>
                  <a:cubicBezTo>
                    <a:pt x="9108" y="19312"/>
                    <a:pt x="10284" y="15178"/>
                    <a:pt x="10419" y="15077"/>
                  </a:cubicBezTo>
                  <a:cubicBezTo>
                    <a:pt x="10823" y="16073"/>
                    <a:pt x="11243" y="16462"/>
                    <a:pt x="11665" y="16462"/>
                  </a:cubicBezTo>
                  <a:cubicBezTo>
                    <a:pt x="13066" y="16462"/>
                    <a:pt x="14502" y="12183"/>
                    <a:pt x="15561" y="11615"/>
                  </a:cubicBezTo>
                  <a:cubicBezTo>
                    <a:pt x="16905" y="10876"/>
                    <a:pt x="22988" y="10842"/>
                    <a:pt x="20199" y="4994"/>
                  </a:cubicBezTo>
                  <a:cubicBezTo>
                    <a:pt x="17669" y="1492"/>
                    <a:pt x="13967" y="1"/>
                    <a:pt x="10508" y="1"/>
                  </a:cubicBezTo>
                  <a:close/>
                </a:path>
              </a:pathLst>
            </a:custGeom>
            <a:solidFill>
              <a:srgbClr val="3F2B61"/>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93" name="Google Shape;3688;p49"/>
            <p:cNvSpPr/>
            <p:nvPr/>
          </p:nvSpPr>
          <p:spPr>
            <a:xfrm>
              <a:off x="-24323475" y="12927300"/>
              <a:ext cx="83450" cy="87375"/>
            </a:xfrm>
            <a:custGeom>
              <a:avLst/>
              <a:gdLst/>
              <a:ahLst/>
              <a:cxnLst/>
              <a:rect l="l" t="t" r="r" b="b"/>
              <a:pathLst>
                <a:path w="3338" h="3495" extrusionOk="0">
                  <a:moveTo>
                    <a:pt x="2418" y="0"/>
                  </a:moveTo>
                  <a:cubicBezTo>
                    <a:pt x="2267" y="0"/>
                    <a:pt x="2100" y="30"/>
                    <a:pt x="1920" y="92"/>
                  </a:cubicBezTo>
                  <a:cubicBezTo>
                    <a:pt x="1080" y="428"/>
                    <a:pt x="240" y="1436"/>
                    <a:pt x="105" y="2344"/>
                  </a:cubicBezTo>
                  <a:cubicBezTo>
                    <a:pt x="0" y="3052"/>
                    <a:pt x="325" y="3494"/>
                    <a:pt x="889" y="3494"/>
                  </a:cubicBezTo>
                  <a:cubicBezTo>
                    <a:pt x="1047" y="3494"/>
                    <a:pt x="1224" y="3459"/>
                    <a:pt x="1416" y="3385"/>
                  </a:cubicBezTo>
                  <a:cubicBezTo>
                    <a:pt x="2256" y="3049"/>
                    <a:pt x="3063" y="2041"/>
                    <a:pt x="3231" y="1134"/>
                  </a:cubicBezTo>
                  <a:cubicBezTo>
                    <a:pt x="3338" y="440"/>
                    <a:pt x="2999" y="0"/>
                    <a:pt x="2418" y="0"/>
                  </a:cubicBezTo>
                  <a:close/>
                </a:path>
              </a:pathLst>
            </a:custGeom>
            <a:solidFill>
              <a:srgbClr val="ECCA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94" name="Google Shape;3689;p49"/>
            <p:cNvSpPr/>
            <p:nvPr/>
          </p:nvSpPr>
          <p:spPr>
            <a:xfrm>
              <a:off x="-24302850" y="12948400"/>
              <a:ext cx="42150" cy="44725"/>
            </a:xfrm>
            <a:custGeom>
              <a:avLst/>
              <a:gdLst/>
              <a:ahLst/>
              <a:cxnLst/>
              <a:rect l="l" t="t" r="r" b="b"/>
              <a:pathLst>
                <a:path w="1686" h="1789" extrusionOk="0">
                  <a:moveTo>
                    <a:pt x="1239" y="0"/>
                  </a:moveTo>
                  <a:cubicBezTo>
                    <a:pt x="1156" y="0"/>
                    <a:pt x="1063" y="18"/>
                    <a:pt x="961" y="54"/>
                  </a:cubicBezTo>
                  <a:cubicBezTo>
                    <a:pt x="524" y="222"/>
                    <a:pt x="120" y="727"/>
                    <a:pt x="53" y="1197"/>
                  </a:cubicBezTo>
                  <a:cubicBezTo>
                    <a:pt x="1" y="1565"/>
                    <a:pt x="154" y="1789"/>
                    <a:pt x="431" y="1789"/>
                  </a:cubicBezTo>
                  <a:cubicBezTo>
                    <a:pt x="509" y="1789"/>
                    <a:pt x="596" y="1772"/>
                    <a:pt x="692" y="1735"/>
                  </a:cubicBezTo>
                  <a:cubicBezTo>
                    <a:pt x="1162" y="1567"/>
                    <a:pt x="1566" y="1063"/>
                    <a:pt x="1633" y="592"/>
                  </a:cubicBezTo>
                  <a:cubicBezTo>
                    <a:pt x="1685" y="224"/>
                    <a:pt x="1533" y="0"/>
                    <a:pt x="1239" y="0"/>
                  </a:cubicBezTo>
                  <a:close/>
                </a:path>
              </a:pathLst>
            </a:custGeom>
            <a:solidFill>
              <a:srgbClr val="E5B7DD"/>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95" name="Google Shape;3690;p49"/>
            <p:cNvSpPr/>
            <p:nvPr/>
          </p:nvSpPr>
          <p:spPr>
            <a:xfrm>
              <a:off x="-24458650" y="12588800"/>
              <a:ext cx="430200" cy="194725"/>
            </a:xfrm>
            <a:custGeom>
              <a:avLst/>
              <a:gdLst/>
              <a:ahLst/>
              <a:cxnLst/>
              <a:rect l="l" t="t" r="r" b="b"/>
              <a:pathLst>
                <a:path w="17208" h="7789" extrusionOk="0">
                  <a:moveTo>
                    <a:pt x="7451" y="0"/>
                  </a:moveTo>
                  <a:cubicBezTo>
                    <a:pt x="4497" y="0"/>
                    <a:pt x="1718" y="1088"/>
                    <a:pt x="0" y="2944"/>
                  </a:cubicBezTo>
                  <a:cubicBezTo>
                    <a:pt x="336" y="3650"/>
                    <a:pt x="908" y="4389"/>
                    <a:pt x="1714" y="5062"/>
                  </a:cubicBezTo>
                  <a:cubicBezTo>
                    <a:pt x="3868" y="6807"/>
                    <a:pt x="7168" y="7788"/>
                    <a:pt x="10274" y="7788"/>
                  </a:cubicBezTo>
                  <a:cubicBezTo>
                    <a:pt x="11773" y="7788"/>
                    <a:pt x="13228" y="7560"/>
                    <a:pt x="14486" y="7078"/>
                  </a:cubicBezTo>
                  <a:cubicBezTo>
                    <a:pt x="15763" y="6608"/>
                    <a:pt x="16670" y="5902"/>
                    <a:pt x="17208" y="5129"/>
                  </a:cubicBezTo>
                  <a:lnTo>
                    <a:pt x="17141" y="4994"/>
                  </a:lnTo>
                  <a:cubicBezTo>
                    <a:pt x="14620" y="1494"/>
                    <a:pt x="10915" y="0"/>
                    <a:pt x="7451" y="0"/>
                  </a:cubicBezTo>
                  <a:close/>
                </a:path>
              </a:pathLst>
            </a:custGeom>
            <a:solidFill>
              <a:srgbClr val="3F2B61"/>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96" name="Google Shape;3691;p49"/>
            <p:cNvSpPr/>
            <p:nvPr/>
          </p:nvSpPr>
          <p:spPr>
            <a:xfrm>
              <a:off x="-23656250" y="13389175"/>
              <a:ext cx="27750" cy="43725"/>
            </a:xfrm>
            <a:custGeom>
              <a:avLst/>
              <a:gdLst/>
              <a:ahLst/>
              <a:cxnLst/>
              <a:rect l="l" t="t" r="r" b="b"/>
              <a:pathLst>
                <a:path w="1110" h="1749" extrusionOk="0">
                  <a:moveTo>
                    <a:pt x="841" y="1"/>
                  </a:moveTo>
                  <a:lnTo>
                    <a:pt x="1" y="908"/>
                  </a:lnTo>
                  <a:lnTo>
                    <a:pt x="101" y="1748"/>
                  </a:lnTo>
                  <a:cubicBezTo>
                    <a:pt x="370" y="1648"/>
                    <a:pt x="740" y="1043"/>
                    <a:pt x="942" y="707"/>
                  </a:cubicBezTo>
                  <a:cubicBezTo>
                    <a:pt x="1110" y="337"/>
                    <a:pt x="841" y="1"/>
                    <a:pt x="841" y="1"/>
                  </a:cubicBezTo>
                  <a:close/>
                </a:path>
              </a:pathLst>
            </a:custGeom>
            <a:solidFill>
              <a:srgbClr val="E7BBD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97" name="Google Shape;3692;p49"/>
            <p:cNvSpPr/>
            <p:nvPr/>
          </p:nvSpPr>
          <p:spPr>
            <a:xfrm>
              <a:off x="-23665500" y="13316075"/>
              <a:ext cx="42050" cy="73125"/>
            </a:xfrm>
            <a:custGeom>
              <a:avLst/>
              <a:gdLst/>
              <a:ahLst/>
              <a:cxnLst/>
              <a:rect l="l" t="t" r="r" b="b"/>
              <a:pathLst>
                <a:path w="1682" h="2925" extrusionOk="0">
                  <a:moveTo>
                    <a:pt x="1043" y="1"/>
                  </a:moveTo>
                  <a:lnTo>
                    <a:pt x="1" y="2421"/>
                  </a:lnTo>
                  <a:lnTo>
                    <a:pt x="841" y="2925"/>
                  </a:lnTo>
                  <a:cubicBezTo>
                    <a:pt x="841" y="2925"/>
                    <a:pt x="1681" y="1312"/>
                    <a:pt x="1681" y="875"/>
                  </a:cubicBezTo>
                  <a:cubicBezTo>
                    <a:pt x="1648" y="404"/>
                    <a:pt x="1043" y="1"/>
                    <a:pt x="1043" y="1"/>
                  </a:cubicBezTo>
                  <a:close/>
                </a:path>
              </a:pathLst>
            </a:custGeom>
            <a:solidFill>
              <a:srgbClr val="E7BBD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98" name="Google Shape;3693;p49"/>
            <p:cNvSpPr/>
            <p:nvPr/>
          </p:nvSpPr>
          <p:spPr>
            <a:xfrm>
              <a:off x="-23669700" y="13344650"/>
              <a:ext cx="46250" cy="72275"/>
            </a:xfrm>
            <a:custGeom>
              <a:avLst/>
              <a:gdLst/>
              <a:ahLst/>
              <a:cxnLst/>
              <a:rect l="l" t="t" r="r" b="b"/>
              <a:pathLst>
                <a:path w="1850" h="2891" extrusionOk="0">
                  <a:moveTo>
                    <a:pt x="1278" y="1"/>
                  </a:moveTo>
                  <a:lnTo>
                    <a:pt x="1" y="2320"/>
                  </a:lnTo>
                  <a:lnTo>
                    <a:pt x="774" y="2891"/>
                  </a:lnTo>
                  <a:cubicBezTo>
                    <a:pt x="774" y="2891"/>
                    <a:pt x="1782" y="1345"/>
                    <a:pt x="1816" y="908"/>
                  </a:cubicBezTo>
                  <a:cubicBezTo>
                    <a:pt x="1849" y="471"/>
                    <a:pt x="1278" y="1"/>
                    <a:pt x="1278" y="1"/>
                  </a:cubicBezTo>
                  <a:close/>
                </a:path>
              </a:pathLst>
            </a:custGeom>
            <a:solidFill>
              <a:srgbClr val="E7BBD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199" name="Google Shape;3694;p49"/>
            <p:cNvSpPr/>
            <p:nvPr/>
          </p:nvSpPr>
          <p:spPr>
            <a:xfrm>
              <a:off x="-23799925" y="13293125"/>
              <a:ext cx="157975" cy="226325"/>
            </a:xfrm>
            <a:custGeom>
              <a:avLst/>
              <a:gdLst/>
              <a:ahLst/>
              <a:cxnLst/>
              <a:rect l="l" t="t" r="r" b="b"/>
              <a:pathLst>
                <a:path w="6319" h="9053" extrusionOk="0">
                  <a:moveTo>
                    <a:pt x="2333" y="0"/>
                  </a:moveTo>
                  <a:cubicBezTo>
                    <a:pt x="2297" y="0"/>
                    <a:pt x="2259" y="4"/>
                    <a:pt x="2219" y="11"/>
                  </a:cubicBezTo>
                  <a:lnTo>
                    <a:pt x="1580" y="2835"/>
                  </a:lnTo>
                  <a:cubicBezTo>
                    <a:pt x="1143" y="4179"/>
                    <a:pt x="975" y="5994"/>
                    <a:pt x="975" y="5994"/>
                  </a:cubicBezTo>
                  <a:lnTo>
                    <a:pt x="1" y="8178"/>
                  </a:lnTo>
                  <a:lnTo>
                    <a:pt x="2286" y="9052"/>
                  </a:lnTo>
                  <a:lnTo>
                    <a:pt x="3160" y="7237"/>
                  </a:lnTo>
                  <a:lnTo>
                    <a:pt x="3160" y="7237"/>
                  </a:lnTo>
                  <a:cubicBezTo>
                    <a:pt x="3159" y="7240"/>
                    <a:pt x="3160" y="7241"/>
                    <a:pt x="3164" y="7241"/>
                  </a:cubicBezTo>
                  <a:cubicBezTo>
                    <a:pt x="3271" y="7241"/>
                    <a:pt x="5301" y="6334"/>
                    <a:pt x="5983" y="5490"/>
                  </a:cubicBezTo>
                  <a:cubicBezTo>
                    <a:pt x="6319" y="5086"/>
                    <a:pt x="6017" y="2868"/>
                    <a:pt x="5176" y="2734"/>
                  </a:cubicBezTo>
                  <a:cubicBezTo>
                    <a:pt x="5153" y="2730"/>
                    <a:pt x="5129" y="2728"/>
                    <a:pt x="5104" y="2728"/>
                  </a:cubicBezTo>
                  <a:cubicBezTo>
                    <a:pt x="4532" y="2728"/>
                    <a:pt x="3686" y="3817"/>
                    <a:pt x="3429" y="4011"/>
                  </a:cubicBezTo>
                  <a:cubicBezTo>
                    <a:pt x="3347" y="4063"/>
                    <a:pt x="3274" y="4087"/>
                    <a:pt x="3208" y="4087"/>
                  </a:cubicBezTo>
                  <a:cubicBezTo>
                    <a:pt x="2893" y="4087"/>
                    <a:pt x="2751" y="3535"/>
                    <a:pt x="2723" y="2868"/>
                  </a:cubicBezTo>
                  <a:cubicBezTo>
                    <a:pt x="2980" y="1680"/>
                    <a:pt x="3114" y="0"/>
                    <a:pt x="2333" y="0"/>
                  </a:cubicBezTo>
                  <a:close/>
                </a:path>
              </a:pathLst>
            </a:custGeom>
            <a:solidFill>
              <a:srgbClr val="ECCA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00" name="Google Shape;3695;p49"/>
            <p:cNvSpPr/>
            <p:nvPr/>
          </p:nvSpPr>
          <p:spPr>
            <a:xfrm>
              <a:off x="-23714225" y="13264075"/>
              <a:ext cx="79575" cy="133525"/>
            </a:xfrm>
            <a:custGeom>
              <a:avLst/>
              <a:gdLst/>
              <a:ahLst/>
              <a:cxnLst/>
              <a:rect l="l" t="t" r="r" b="b"/>
              <a:pathLst>
                <a:path w="3183" h="5341" extrusionOk="0">
                  <a:moveTo>
                    <a:pt x="2434" y="0"/>
                  </a:moveTo>
                  <a:cubicBezTo>
                    <a:pt x="2407" y="0"/>
                    <a:pt x="2380" y="10"/>
                    <a:pt x="2353" y="31"/>
                  </a:cubicBezTo>
                  <a:cubicBezTo>
                    <a:pt x="1950" y="367"/>
                    <a:pt x="2320" y="1913"/>
                    <a:pt x="2118" y="2518"/>
                  </a:cubicBezTo>
                  <a:cubicBezTo>
                    <a:pt x="1849" y="3324"/>
                    <a:pt x="1" y="5173"/>
                    <a:pt x="1" y="5173"/>
                  </a:cubicBezTo>
                  <a:lnTo>
                    <a:pt x="1647" y="5341"/>
                  </a:lnTo>
                  <a:cubicBezTo>
                    <a:pt x="2219" y="4366"/>
                    <a:pt x="2790" y="3761"/>
                    <a:pt x="3025" y="2820"/>
                  </a:cubicBezTo>
                  <a:cubicBezTo>
                    <a:pt x="3183" y="2253"/>
                    <a:pt x="2838" y="0"/>
                    <a:pt x="2434" y="0"/>
                  </a:cubicBezTo>
                  <a:close/>
                </a:path>
              </a:pathLst>
            </a:custGeom>
            <a:solidFill>
              <a:srgbClr val="ECCA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01" name="Google Shape;3696;p49"/>
            <p:cNvSpPr/>
            <p:nvPr/>
          </p:nvSpPr>
          <p:spPr>
            <a:xfrm>
              <a:off x="-24039375" y="13482450"/>
              <a:ext cx="302500" cy="509200"/>
            </a:xfrm>
            <a:custGeom>
              <a:avLst/>
              <a:gdLst/>
              <a:ahLst/>
              <a:cxnLst/>
              <a:rect l="l" t="t" r="r" b="b"/>
              <a:pathLst>
                <a:path w="12100" h="20368" extrusionOk="0">
                  <a:moveTo>
                    <a:pt x="12099" y="1210"/>
                  </a:moveTo>
                  <a:cubicBezTo>
                    <a:pt x="12099" y="1210"/>
                    <a:pt x="8806" y="19964"/>
                    <a:pt x="4369" y="20166"/>
                  </a:cubicBezTo>
                  <a:cubicBezTo>
                    <a:pt x="0" y="20367"/>
                    <a:pt x="1882" y="15931"/>
                    <a:pt x="3462" y="12268"/>
                  </a:cubicBezTo>
                  <a:cubicBezTo>
                    <a:pt x="4974" y="8806"/>
                    <a:pt x="5949" y="7529"/>
                    <a:pt x="9713" y="0"/>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02" name="Google Shape;3697;p49"/>
            <p:cNvSpPr/>
            <p:nvPr/>
          </p:nvSpPr>
          <p:spPr>
            <a:xfrm>
              <a:off x="-24246925" y="13310200"/>
              <a:ext cx="405025" cy="682275"/>
            </a:xfrm>
            <a:custGeom>
              <a:avLst/>
              <a:gdLst/>
              <a:ahLst/>
              <a:cxnLst/>
              <a:rect l="l" t="t" r="r" b="b"/>
              <a:pathLst>
                <a:path w="16201" h="27291" extrusionOk="0">
                  <a:moveTo>
                    <a:pt x="3328" y="908"/>
                  </a:moveTo>
                  <a:cubicBezTo>
                    <a:pt x="5076" y="1782"/>
                    <a:pt x="9478" y="13847"/>
                    <a:pt x="12839" y="19897"/>
                  </a:cubicBezTo>
                  <a:cubicBezTo>
                    <a:pt x="12839" y="19897"/>
                    <a:pt x="16200" y="27291"/>
                    <a:pt x="11831" y="26955"/>
                  </a:cubicBezTo>
                  <a:cubicBezTo>
                    <a:pt x="7462" y="26619"/>
                    <a:pt x="1" y="14183"/>
                    <a:pt x="1" y="14183"/>
                  </a:cubicBezTo>
                  <a:cubicBezTo>
                    <a:pt x="1" y="14183"/>
                    <a:pt x="1580" y="1"/>
                    <a:pt x="3328" y="908"/>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03" name="Google Shape;3698;p49"/>
            <p:cNvSpPr/>
            <p:nvPr/>
          </p:nvSpPr>
          <p:spPr>
            <a:xfrm>
              <a:off x="-24786325" y="14019350"/>
              <a:ext cx="497425" cy="235275"/>
            </a:xfrm>
            <a:custGeom>
              <a:avLst/>
              <a:gdLst/>
              <a:ahLst/>
              <a:cxnLst/>
              <a:rect l="l" t="t" r="r" b="b"/>
              <a:pathLst>
                <a:path w="19897" h="9411" extrusionOk="0">
                  <a:moveTo>
                    <a:pt x="13242" y="7461"/>
                  </a:moveTo>
                  <a:cubicBezTo>
                    <a:pt x="17208" y="7831"/>
                    <a:pt x="19224" y="4907"/>
                    <a:pt x="19863" y="3764"/>
                  </a:cubicBezTo>
                  <a:cubicBezTo>
                    <a:pt x="19863" y="4134"/>
                    <a:pt x="19863" y="4537"/>
                    <a:pt x="19896" y="4907"/>
                  </a:cubicBezTo>
                  <a:cubicBezTo>
                    <a:pt x="19896" y="4907"/>
                    <a:pt x="18014" y="9411"/>
                    <a:pt x="13242" y="8974"/>
                  </a:cubicBezTo>
                  <a:cubicBezTo>
                    <a:pt x="4235" y="8134"/>
                    <a:pt x="101" y="1345"/>
                    <a:pt x="101" y="1345"/>
                  </a:cubicBezTo>
                  <a:cubicBezTo>
                    <a:pt x="67" y="908"/>
                    <a:pt x="34" y="471"/>
                    <a:pt x="0" y="0"/>
                  </a:cubicBezTo>
                  <a:cubicBezTo>
                    <a:pt x="1042" y="1479"/>
                    <a:pt x="5310" y="6722"/>
                    <a:pt x="13242" y="7461"/>
                  </a:cubicBezTo>
                  <a:close/>
                </a:path>
              </a:pathLst>
            </a:custGeom>
            <a:solidFill>
              <a:srgbClr val="BF4CA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04" name="Google Shape;3699;p49"/>
            <p:cNvSpPr/>
            <p:nvPr/>
          </p:nvSpPr>
          <p:spPr>
            <a:xfrm>
              <a:off x="-23814200" y="13482450"/>
              <a:ext cx="77325" cy="68925"/>
            </a:xfrm>
            <a:custGeom>
              <a:avLst/>
              <a:gdLst/>
              <a:ahLst/>
              <a:cxnLst/>
              <a:rect l="l" t="t" r="r" b="b"/>
              <a:pathLst>
                <a:path w="3093" h="2757" extrusionOk="0">
                  <a:moveTo>
                    <a:pt x="0" y="1378"/>
                  </a:moveTo>
                  <a:cubicBezTo>
                    <a:pt x="235" y="941"/>
                    <a:pt x="471" y="471"/>
                    <a:pt x="706" y="0"/>
                  </a:cubicBezTo>
                  <a:lnTo>
                    <a:pt x="3092" y="1210"/>
                  </a:lnTo>
                  <a:cubicBezTo>
                    <a:pt x="3092" y="1210"/>
                    <a:pt x="2991" y="1782"/>
                    <a:pt x="2790" y="2756"/>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05" name="Google Shape;3700;p49"/>
            <p:cNvSpPr/>
            <p:nvPr/>
          </p:nvSpPr>
          <p:spPr>
            <a:xfrm>
              <a:off x="-24125075" y="13311875"/>
              <a:ext cx="73950" cy="83200"/>
            </a:xfrm>
            <a:custGeom>
              <a:avLst/>
              <a:gdLst/>
              <a:ahLst/>
              <a:cxnLst/>
              <a:rect l="l" t="t" r="r" b="b"/>
              <a:pathLst>
                <a:path w="2958" h="3328" extrusionOk="0">
                  <a:moveTo>
                    <a:pt x="0" y="975"/>
                  </a:moveTo>
                  <a:cubicBezTo>
                    <a:pt x="403" y="673"/>
                    <a:pt x="807" y="337"/>
                    <a:pt x="1210" y="1"/>
                  </a:cubicBezTo>
                  <a:lnTo>
                    <a:pt x="2958" y="1984"/>
                  </a:lnTo>
                  <a:cubicBezTo>
                    <a:pt x="2958" y="1984"/>
                    <a:pt x="2621" y="2488"/>
                    <a:pt x="2084" y="3328"/>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06" name="Google Shape;3701;p49"/>
            <p:cNvSpPr/>
            <p:nvPr/>
          </p:nvSpPr>
          <p:spPr>
            <a:xfrm>
              <a:off x="-17114325" y="15326725"/>
              <a:ext cx="325175" cy="358800"/>
            </a:xfrm>
            <a:custGeom>
              <a:avLst/>
              <a:gdLst/>
              <a:ahLst/>
              <a:cxnLst/>
              <a:rect l="l" t="t" r="r" b="b"/>
              <a:pathLst>
                <a:path w="13007" h="14352" extrusionOk="0">
                  <a:moveTo>
                    <a:pt x="13007" y="14351"/>
                  </a:moveTo>
                  <a:lnTo>
                    <a:pt x="2689" y="8369"/>
                  </a:lnTo>
                  <a:cubicBezTo>
                    <a:pt x="2353" y="8167"/>
                    <a:pt x="2151" y="7730"/>
                    <a:pt x="2084" y="7125"/>
                  </a:cubicBezTo>
                  <a:cubicBezTo>
                    <a:pt x="1882" y="5949"/>
                    <a:pt x="1446" y="4941"/>
                    <a:pt x="1412" y="3630"/>
                  </a:cubicBezTo>
                  <a:cubicBezTo>
                    <a:pt x="1378" y="1748"/>
                    <a:pt x="908" y="538"/>
                    <a:pt x="0" y="0"/>
                  </a:cubicBezTo>
                  <a:lnTo>
                    <a:pt x="10318" y="5983"/>
                  </a:lnTo>
                  <a:cubicBezTo>
                    <a:pt x="11226" y="6520"/>
                    <a:pt x="11696" y="7730"/>
                    <a:pt x="11730" y="9646"/>
                  </a:cubicBezTo>
                  <a:cubicBezTo>
                    <a:pt x="11763" y="10923"/>
                    <a:pt x="12200" y="11931"/>
                    <a:pt x="12368" y="13141"/>
                  </a:cubicBezTo>
                  <a:cubicBezTo>
                    <a:pt x="12469" y="13713"/>
                    <a:pt x="12671" y="14150"/>
                    <a:pt x="13007" y="14351"/>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07" name="Google Shape;3702;p49"/>
            <p:cNvSpPr/>
            <p:nvPr/>
          </p:nvSpPr>
          <p:spPr>
            <a:xfrm>
              <a:off x="-16343000" y="13954650"/>
              <a:ext cx="483125" cy="201675"/>
            </a:xfrm>
            <a:custGeom>
              <a:avLst/>
              <a:gdLst/>
              <a:ahLst/>
              <a:cxnLst/>
              <a:rect l="l" t="t" r="r" b="b"/>
              <a:pathLst>
                <a:path w="19325" h="8067" extrusionOk="0">
                  <a:moveTo>
                    <a:pt x="0" y="1782"/>
                  </a:moveTo>
                  <a:cubicBezTo>
                    <a:pt x="26" y="1808"/>
                    <a:pt x="72" y="1834"/>
                    <a:pt x="107" y="1844"/>
                  </a:cubicBezTo>
                  <a:lnTo>
                    <a:pt x="107" y="1844"/>
                  </a:lnTo>
                  <a:lnTo>
                    <a:pt x="0" y="1782"/>
                  </a:lnTo>
                  <a:close/>
                  <a:moveTo>
                    <a:pt x="7058" y="0"/>
                  </a:moveTo>
                  <a:cubicBezTo>
                    <a:pt x="6991" y="0"/>
                    <a:pt x="6923" y="34"/>
                    <a:pt x="6890" y="34"/>
                  </a:cubicBezTo>
                  <a:lnTo>
                    <a:pt x="6856" y="34"/>
                  </a:lnTo>
                  <a:cubicBezTo>
                    <a:pt x="6587" y="135"/>
                    <a:pt x="6285" y="236"/>
                    <a:pt x="6016" y="303"/>
                  </a:cubicBezTo>
                  <a:cubicBezTo>
                    <a:pt x="5814" y="370"/>
                    <a:pt x="5613" y="437"/>
                    <a:pt x="5411" y="505"/>
                  </a:cubicBezTo>
                  <a:cubicBezTo>
                    <a:pt x="5209" y="572"/>
                    <a:pt x="4974" y="639"/>
                    <a:pt x="4772" y="740"/>
                  </a:cubicBezTo>
                  <a:cubicBezTo>
                    <a:pt x="3495" y="1177"/>
                    <a:pt x="2252" y="1647"/>
                    <a:pt x="1008" y="2051"/>
                  </a:cubicBezTo>
                  <a:cubicBezTo>
                    <a:pt x="941" y="2051"/>
                    <a:pt x="889" y="2065"/>
                    <a:pt x="832" y="2065"/>
                  </a:cubicBezTo>
                  <a:cubicBezTo>
                    <a:pt x="803" y="2065"/>
                    <a:pt x="773" y="2062"/>
                    <a:pt x="739" y="2051"/>
                  </a:cubicBezTo>
                  <a:cubicBezTo>
                    <a:pt x="672" y="2051"/>
                    <a:pt x="571" y="2051"/>
                    <a:pt x="504" y="2017"/>
                  </a:cubicBezTo>
                  <a:lnTo>
                    <a:pt x="471" y="2017"/>
                  </a:lnTo>
                  <a:cubicBezTo>
                    <a:pt x="437" y="2017"/>
                    <a:pt x="370" y="1983"/>
                    <a:pt x="303" y="1950"/>
                  </a:cubicBezTo>
                  <a:cubicBezTo>
                    <a:pt x="235" y="1916"/>
                    <a:pt x="202" y="1883"/>
                    <a:pt x="134" y="1849"/>
                  </a:cubicBezTo>
                  <a:cubicBezTo>
                    <a:pt x="127" y="1849"/>
                    <a:pt x="117" y="1847"/>
                    <a:pt x="107" y="1844"/>
                  </a:cubicBezTo>
                  <a:lnTo>
                    <a:pt x="107" y="1844"/>
                  </a:lnTo>
                  <a:lnTo>
                    <a:pt x="10318" y="7798"/>
                  </a:lnTo>
                  <a:cubicBezTo>
                    <a:pt x="10351" y="7798"/>
                    <a:pt x="10385" y="7798"/>
                    <a:pt x="10385" y="7831"/>
                  </a:cubicBezTo>
                  <a:lnTo>
                    <a:pt x="10452" y="7865"/>
                  </a:lnTo>
                  <a:cubicBezTo>
                    <a:pt x="10520" y="7898"/>
                    <a:pt x="10553" y="7898"/>
                    <a:pt x="10620" y="7932"/>
                  </a:cubicBezTo>
                  <a:cubicBezTo>
                    <a:pt x="10620" y="7932"/>
                    <a:pt x="10654" y="7966"/>
                    <a:pt x="10688" y="7966"/>
                  </a:cubicBezTo>
                  <a:cubicBezTo>
                    <a:pt x="10721" y="7999"/>
                    <a:pt x="10755" y="7999"/>
                    <a:pt x="10788" y="7999"/>
                  </a:cubicBezTo>
                  <a:cubicBezTo>
                    <a:pt x="10788" y="7999"/>
                    <a:pt x="10822" y="7999"/>
                    <a:pt x="10822" y="8033"/>
                  </a:cubicBezTo>
                  <a:lnTo>
                    <a:pt x="10923" y="8033"/>
                  </a:lnTo>
                  <a:cubicBezTo>
                    <a:pt x="10956" y="8066"/>
                    <a:pt x="10990" y="8066"/>
                    <a:pt x="11024" y="8066"/>
                  </a:cubicBezTo>
                  <a:lnTo>
                    <a:pt x="11192" y="8066"/>
                  </a:lnTo>
                  <a:cubicBezTo>
                    <a:pt x="11225" y="8033"/>
                    <a:pt x="11259" y="8033"/>
                    <a:pt x="11293" y="8033"/>
                  </a:cubicBezTo>
                  <a:lnTo>
                    <a:pt x="11326" y="8033"/>
                  </a:lnTo>
                  <a:cubicBezTo>
                    <a:pt x="11797" y="7865"/>
                    <a:pt x="12301" y="7697"/>
                    <a:pt x="12771" y="7529"/>
                  </a:cubicBezTo>
                  <a:cubicBezTo>
                    <a:pt x="13208" y="7394"/>
                    <a:pt x="13645" y="7226"/>
                    <a:pt x="14082" y="7058"/>
                  </a:cubicBezTo>
                  <a:cubicBezTo>
                    <a:pt x="14250" y="7025"/>
                    <a:pt x="14385" y="6957"/>
                    <a:pt x="14553" y="6890"/>
                  </a:cubicBezTo>
                  <a:cubicBezTo>
                    <a:pt x="14956" y="6756"/>
                    <a:pt x="15326" y="6621"/>
                    <a:pt x="15729" y="6487"/>
                  </a:cubicBezTo>
                  <a:cubicBezTo>
                    <a:pt x="15863" y="6420"/>
                    <a:pt x="16031" y="6386"/>
                    <a:pt x="16166" y="6352"/>
                  </a:cubicBezTo>
                  <a:cubicBezTo>
                    <a:pt x="16502" y="6252"/>
                    <a:pt x="16838" y="6117"/>
                    <a:pt x="17174" y="6050"/>
                  </a:cubicBezTo>
                  <a:cubicBezTo>
                    <a:pt x="17275" y="6016"/>
                    <a:pt x="17376" y="5983"/>
                    <a:pt x="17443" y="5983"/>
                  </a:cubicBezTo>
                  <a:lnTo>
                    <a:pt x="17813" y="5983"/>
                  </a:lnTo>
                  <a:cubicBezTo>
                    <a:pt x="17880" y="5983"/>
                    <a:pt x="17913" y="6016"/>
                    <a:pt x="17981" y="6016"/>
                  </a:cubicBezTo>
                  <a:cubicBezTo>
                    <a:pt x="18081" y="6050"/>
                    <a:pt x="18182" y="6050"/>
                    <a:pt x="18283" y="6084"/>
                  </a:cubicBezTo>
                  <a:lnTo>
                    <a:pt x="18317" y="6084"/>
                  </a:lnTo>
                  <a:cubicBezTo>
                    <a:pt x="18418" y="6117"/>
                    <a:pt x="18552" y="6151"/>
                    <a:pt x="18653" y="6218"/>
                  </a:cubicBezTo>
                  <a:cubicBezTo>
                    <a:pt x="18754" y="6252"/>
                    <a:pt x="18854" y="6285"/>
                    <a:pt x="18955" y="6285"/>
                  </a:cubicBezTo>
                  <a:lnTo>
                    <a:pt x="19023" y="6319"/>
                  </a:lnTo>
                  <a:lnTo>
                    <a:pt x="19056" y="6319"/>
                  </a:lnTo>
                  <a:cubicBezTo>
                    <a:pt x="19123" y="6352"/>
                    <a:pt x="19224" y="6386"/>
                    <a:pt x="19325" y="6386"/>
                  </a:cubicBezTo>
                  <a:lnTo>
                    <a:pt x="9041" y="404"/>
                  </a:lnTo>
                  <a:cubicBezTo>
                    <a:pt x="8906" y="404"/>
                    <a:pt x="8839" y="370"/>
                    <a:pt x="8738" y="337"/>
                  </a:cubicBezTo>
                  <a:cubicBezTo>
                    <a:pt x="8705" y="337"/>
                    <a:pt x="8671" y="303"/>
                    <a:pt x="8637" y="303"/>
                  </a:cubicBezTo>
                  <a:cubicBezTo>
                    <a:pt x="8537" y="269"/>
                    <a:pt x="8436" y="236"/>
                    <a:pt x="8335" y="202"/>
                  </a:cubicBezTo>
                  <a:cubicBezTo>
                    <a:pt x="8234" y="168"/>
                    <a:pt x="8100" y="135"/>
                    <a:pt x="7999" y="101"/>
                  </a:cubicBezTo>
                  <a:lnTo>
                    <a:pt x="7965" y="101"/>
                  </a:lnTo>
                  <a:cubicBezTo>
                    <a:pt x="7864" y="68"/>
                    <a:pt x="7764" y="34"/>
                    <a:pt x="7663" y="34"/>
                  </a:cubicBezTo>
                  <a:lnTo>
                    <a:pt x="7629" y="34"/>
                  </a:lnTo>
                  <a:cubicBezTo>
                    <a:pt x="7596" y="0"/>
                    <a:pt x="7562" y="0"/>
                    <a:pt x="7495" y="0"/>
                  </a:cubicBezTo>
                  <a:close/>
                </a:path>
              </a:pathLst>
            </a:custGeom>
            <a:solidFill>
              <a:srgbClr val="C8C2D2"/>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08" name="Google Shape;3703;p49"/>
            <p:cNvSpPr/>
            <p:nvPr/>
          </p:nvSpPr>
          <p:spPr>
            <a:xfrm>
              <a:off x="-16353925" y="13993300"/>
              <a:ext cx="262150" cy="152100"/>
            </a:xfrm>
            <a:custGeom>
              <a:avLst/>
              <a:gdLst/>
              <a:ahLst/>
              <a:cxnLst/>
              <a:rect l="l" t="t" r="r" b="b"/>
              <a:pathLst>
                <a:path w="10486" h="6084" extrusionOk="0">
                  <a:moveTo>
                    <a:pt x="0" y="0"/>
                  </a:moveTo>
                  <a:lnTo>
                    <a:pt x="9444" y="5476"/>
                  </a:lnTo>
                  <a:lnTo>
                    <a:pt x="168" y="68"/>
                  </a:lnTo>
                  <a:cubicBezTo>
                    <a:pt x="101" y="34"/>
                    <a:pt x="67" y="34"/>
                    <a:pt x="0" y="0"/>
                  </a:cubicBezTo>
                  <a:close/>
                  <a:moveTo>
                    <a:pt x="9444" y="5476"/>
                  </a:moveTo>
                  <a:lnTo>
                    <a:pt x="10420" y="6045"/>
                  </a:lnTo>
                  <a:lnTo>
                    <a:pt x="10420" y="6045"/>
                  </a:lnTo>
                  <a:cubicBezTo>
                    <a:pt x="10388" y="6024"/>
                    <a:pt x="10359" y="6004"/>
                    <a:pt x="10318" y="5983"/>
                  </a:cubicBezTo>
                  <a:lnTo>
                    <a:pt x="9444" y="5476"/>
                  </a:lnTo>
                  <a:close/>
                  <a:moveTo>
                    <a:pt x="10420" y="6045"/>
                  </a:moveTo>
                  <a:cubicBezTo>
                    <a:pt x="10440" y="6058"/>
                    <a:pt x="10460" y="6071"/>
                    <a:pt x="10486" y="6084"/>
                  </a:cubicBezTo>
                  <a:lnTo>
                    <a:pt x="10420" y="6045"/>
                  </a:lnTo>
                  <a:close/>
                </a:path>
              </a:pathLst>
            </a:custGeom>
            <a:solidFill>
              <a:srgbClr val="ADA5BC"/>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09" name="Google Shape;3704;p49"/>
            <p:cNvSpPr/>
            <p:nvPr/>
          </p:nvSpPr>
          <p:spPr>
            <a:xfrm>
              <a:off x="-16349725" y="13994975"/>
              <a:ext cx="259650" cy="151275"/>
            </a:xfrm>
            <a:custGeom>
              <a:avLst/>
              <a:gdLst/>
              <a:ahLst/>
              <a:cxnLst/>
              <a:rect l="l" t="t" r="r" b="b"/>
              <a:pathLst>
                <a:path w="10386" h="6051" extrusionOk="0">
                  <a:moveTo>
                    <a:pt x="0" y="1"/>
                  </a:moveTo>
                  <a:lnTo>
                    <a:pt x="0" y="1"/>
                  </a:lnTo>
                  <a:cubicBezTo>
                    <a:pt x="34" y="34"/>
                    <a:pt x="67" y="34"/>
                    <a:pt x="67" y="68"/>
                  </a:cubicBezTo>
                  <a:lnTo>
                    <a:pt x="8671" y="5056"/>
                  </a:lnTo>
                  <a:lnTo>
                    <a:pt x="8671" y="5056"/>
                  </a:lnTo>
                  <a:lnTo>
                    <a:pt x="0" y="1"/>
                  </a:lnTo>
                  <a:close/>
                  <a:moveTo>
                    <a:pt x="8671" y="5056"/>
                  </a:moveTo>
                  <a:lnTo>
                    <a:pt x="10318" y="6017"/>
                  </a:lnTo>
                  <a:cubicBezTo>
                    <a:pt x="10318" y="6017"/>
                    <a:pt x="10352" y="6050"/>
                    <a:pt x="10385" y="6050"/>
                  </a:cubicBezTo>
                  <a:lnTo>
                    <a:pt x="8671" y="5056"/>
                  </a:lnTo>
                  <a:close/>
                </a:path>
              </a:pathLst>
            </a:custGeom>
            <a:solidFill>
              <a:srgbClr val="A9A0B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10" name="Google Shape;3705;p49"/>
            <p:cNvSpPr/>
            <p:nvPr/>
          </p:nvSpPr>
          <p:spPr>
            <a:xfrm>
              <a:off x="-17478150" y="15537625"/>
              <a:ext cx="301675" cy="175625"/>
            </a:xfrm>
            <a:custGeom>
              <a:avLst/>
              <a:gdLst/>
              <a:ahLst/>
              <a:cxnLst/>
              <a:rect l="l" t="t" r="r" b="b"/>
              <a:pathLst>
                <a:path w="12067" h="7025" extrusionOk="0">
                  <a:moveTo>
                    <a:pt x="1" y="0"/>
                  </a:moveTo>
                  <a:lnTo>
                    <a:pt x="712" y="415"/>
                  </a:lnTo>
                  <a:lnTo>
                    <a:pt x="712" y="415"/>
                  </a:lnTo>
                  <a:cubicBezTo>
                    <a:pt x="479" y="274"/>
                    <a:pt x="243" y="134"/>
                    <a:pt x="1" y="0"/>
                  </a:cubicBezTo>
                  <a:close/>
                  <a:moveTo>
                    <a:pt x="712" y="415"/>
                  </a:moveTo>
                  <a:cubicBezTo>
                    <a:pt x="1062" y="626"/>
                    <a:pt x="1405" y="840"/>
                    <a:pt x="1748" y="1042"/>
                  </a:cubicBezTo>
                  <a:lnTo>
                    <a:pt x="8773" y="5115"/>
                  </a:lnTo>
                  <a:lnTo>
                    <a:pt x="8773" y="5115"/>
                  </a:lnTo>
                  <a:lnTo>
                    <a:pt x="712" y="415"/>
                  </a:lnTo>
                  <a:close/>
                  <a:moveTo>
                    <a:pt x="8773" y="5115"/>
                  </a:moveTo>
                  <a:lnTo>
                    <a:pt x="10319" y="6016"/>
                  </a:lnTo>
                  <a:cubicBezTo>
                    <a:pt x="10403" y="6063"/>
                    <a:pt x="10486" y="6109"/>
                    <a:pt x="10569" y="6156"/>
                  </a:cubicBezTo>
                  <a:lnTo>
                    <a:pt x="10569" y="6156"/>
                  </a:lnTo>
                  <a:lnTo>
                    <a:pt x="8773" y="5115"/>
                  </a:lnTo>
                  <a:close/>
                  <a:moveTo>
                    <a:pt x="10569" y="6156"/>
                  </a:moveTo>
                  <a:lnTo>
                    <a:pt x="12066" y="7024"/>
                  </a:lnTo>
                  <a:cubicBezTo>
                    <a:pt x="11574" y="6735"/>
                    <a:pt x="11082" y="6446"/>
                    <a:pt x="10569" y="6156"/>
                  </a:cubicBezTo>
                  <a:close/>
                </a:path>
              </a:pathLst>
            </a:custGeom>
            <a:solidFill>
              <a:srgbClr val="9185A4"/>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11" name="Google Shape;3706;p49"/>
            <p:cNvSpPr/>
            <p:nvPr/>
          </p:nvSpPr>
          <p:spPr>
            <a:xfrm>
              <a:off x="-17162225" y="14139500"/>
              <a:ext cx="835200" cy="993150"/>
            </a:xfrm>
            <a:custGeom>
              <a:avLst/>
              <a:gdLst/>
              <a:ahLst/>
              <a:cxnLst/>
              <a:rect l="l" t="t" r="r" b="b"/>
              <a:pathLst>
                <a:path w="33408" h="39726" extrusionOk="0">
                  <a:moveTo>
                    <a:pt x="29375" y="5983"/>
                  </a:moveTo>
                  <a:lnTo>
                    <a:pt x="19057" y="0"/>
                  </a:lnTo>
                  <a:cubicBezTo>
                    <a:pt x="21577" y="1445"/>
                    <a:pt x="23123" y="4537"/>
                    <a:pt x="23056" y="8839"/>
                  </a:cubicBezTo>
                  <a:cubicBezTo>
                    <a:pt x="23023" y="9310"/>
                    <a:pt x="22989" y="9780"/>
                    <a:pt x="22955" y="10285"/>
                  </a:cubicBezTo>
                  <a:lnTo>
                    <a:pt x="22922" y="10654"/>
                  </a:lnTo>
                  <a:cubicBezTo>
                    <a:pt x="22888" y="10957"/>
                    <a:pt x="22854" y="11226"/>
                    <a:pt x="22821" y="11494"/>
                  </a:cubicBezTo>
                  <a:cubicBezTo>
                    <a:pt x="22754" y="11898"/>
                    <a:pt x="22686" y="12267"/>
                    <a:pt x="22619" y="12637"/>
                  </a:cubicBezTo>
                  <a:cubicBezTo>
                    <a:pt x="22552" y="12906"/>
                    <a:pt x="22518" y="13141"/>
                    <a:pt x="22451" y="13410"/>
                  </a:cubicBezTo>
                  <a:cubicBezTo>
                    <a:pt x="22384" y="13645"/>
                    <a:pt x="22350" y="13914"/>
                    <a:pt x="22283" y="14150"/>
                  </a:cubicBezTo>
                  <a:cubicBezTo>
                    <a:pt x="22182" y="14452"/>
                    <a:pt x="22115" y="14788"/>
                    <a:pt x="22014" y="15091"/>
                  </a:cubicBezTo>
                  <a:cubicBezTo>
                    <a:pt x="21947" y="15292"/>
                    <a:pt x="21880" y="15494"/>
                    <a:pt x="21846" y="15662"/>
                  </a:cubicBezTo>
                  <a:cubicBezTo>
                    <a:pt x="21712" y="16065"/>
                    <a:pt x="21577" y="16469"/>
                    <a:pt x="21409" y="16872"/>
                  </a:cubicBezTo>
                  <a:cubicBezTo>
                    <a:pt x="21376" y="16973"/>
                    <a:pt x="21342" y="17074"/>
                    <a:pt x="21309" y="17174"/>
                  </a:cubicBezTo>
                  <a:cubicBezTo>
                    <a:pt x="21107" y="17678"/>
                    <a:pt x="20905" y="18183"/>
                    <a:pt x="20704" y="18653"/>
                  </a:cubicBezTo>
                  <a:cubicBezTo>
                    <a:pt x="20636" y="18788"/>
                    <a:pt x="20603" y="18922"/>
                    <a:pt x="20536" y="19023"/>
                  </a:cubicBezTo>
                  <a:cubicBezTo>
                    <a:pt x="20367" y="19393"/>
                    <a:pt x="20166" y="19796"/>
                    <a:pt x="19998" y="20166"/>
                  </a:cubicBezTo>
                  <a:cubicBezTo>
                    <a:pt x="19931" y="20300"/>
                    <a:pt x="19863" y="20434"/>
                    <a:pt x="19763" y="20569"/>
                  </a:cubicBezTo>
                  <a:cubicBezTo>
                    <a:pt x="19527" y="21039"/>
                    <a:pt x="19292" y="21476"/>
                    <a:pt x="19057" y="21913"/>
                  </a:cubicBezTo>
                  <a:cubicBezTo>
                    <a:pt x="19023" y="21947"/>
                    <a:pt x="19023" y="21980"/>
                    <a:pt x="18990" y="22014"/>
                  </a:cubicBezTo>
                  <a:cubicBezTo>
                    <a:pt x="18721" y="22451"/>
                    <a:pt x="18452" y="22921"/>
                    <a:pt x="18149" y="23392"/>
                  </a:cubicBezTo>
                  <a:cubicBezTo>
                    <a:pt x="18048" y="23526"/>
                    <a:pt x="17948" y="23661"/>
                    <a:pt x="17847" y="23795"/>
                  </a:cubicBezTo>
                  <a:cubicBezTo>
                    <a:pt x="17645" y="24131"/>
                    <a:pt x="17444" y="24434"/>
                    <a:pt x="17208" y="24736"/>
                  </a:cubicBezTo>
                  <a:cubicBezTo>
                    <a:pt x="17074" y="24904"/>
                    <a:pt x="16973" y="25072"/>
                    <a:pt x="16839" y="25240"/>
                  </a:cubicBezTo>
                  <a:cubicBezTo>
                    <a:pt x="16637" y="25509"/>
                    <a:pt x="16435" y="25745"/>
                    <a:pt x="16234" y="25980"/>
                  </a:cubicBezTo>
                  <a:cubicBezTo>
                    <a:pt x="16066" y="26215"/>
                    <a:pt x="15898" y="26417"/>
                    <a:pt x="15696" y="26652"/>
                  </a:cubicBezTo>
                  <a:cubicBezTo>
                    <a:pt x="15528" y="26854"/>
                    <a:pt x="15360" y="27022"/>
                    <a:pt x="15192" y="27223"/>
                  </a:cubicBezTo>
                  <a:cubicBezTo>
                    <a:pt x="14923" y="27559"/>
                    <a:pt x="14620" y="27862"/>
                    <a:pt x="14318" y="28164"/>
                  </a:cubicBezTo>
                  <a:cubicBezTo>
                    <a:pt x="14116" y="28366"/>
                    <a:pt x="13948" y="28534"/>
                    <a:pt x="13747" y="28736"/>
                  </a:cubicBezTo>
                  <a:cubicBezTo>
                    <a:pt x="13612" y="28870"/>
                    <a:pt x="13478" y="29005"/>
                    <a:pt x="13310" y="29139"/>
                  </a:cubicBezTo>
                  <a:cubicBezTo>
                    <a:pt x="13074" y="29374"/>
                    <a:pt x="12806" y="29576"/>
                    <a:pt x="12570" y="29778"/>
                  </a:cubicBezTo>
                  <a:cubicBezTo>
                    <a:pt x="12436" y="29912"/>
                    <a:pt x="12268" y="30046"/>
                    <a:pt x="12133" y="30147"/>
                  </a:cubicBezTo>
                  <a:cubicBezTo>
                    <a:pt x="11864" y="30383"/>
                    <a:pt x="11562" y="30584"/>
                    <a:pt x="11293" y="30786"/>
                  </a:cubicBezTo>
                  <a:cubicBezTo>
                    <a:pt x="11159" y="30887"/>
                    <a:pt x="11024" y="30988"/>
                    <a:pt x="10890" y="31088"/>
                  </a:cubicBezTo>
                  <a:cubicBezTo>
                    <a:pt x="10487" y="31357"/>
                    <a:pt x="10083" y="31626"/>
                    <a:pt x="9646" y="31861"/>
                  </a:cubicBezTo>
                  <a:cubicBezTo>
                    <a:pt x="9579" y="31929"/>
                    <a:pt x="9478" y="31962"/>
                    <a:pt x="9411" y="31996"/>
                  </a:cubicBezTo>
                  <a:cubicBezTo>
                    <a:pt x="8974" y="32231"/>
                    <a:pt x="8571" y="32433"/>
                    <a:pt x="8168" y="32634"/>
                  </a:cubicBezTo>
                  <a:cubicBezTo>
                    <a:pt x="8100" y="32668"/>
                    <a:pt x="8033" y="32702"/>
                    <a:pt x="7966" y="32735"/>
                  </a:cubicBezTo>
                  <a:cubicBezTo>
                    <a:pt x="7563" y="32903"/>
                    <a:pt x="7193" y="33038"/>
                    <a:pt x="6790" y="33172"/>
                  </a:cubicBezTo>
                  <a:cubicBezTo>
                    <a:pt x="6722" y="33206"/>
                    <a:pt x="6655" y="33206"/>
                    <a:pt x="6588" y="33239"/>
                  </a:cubicBezTo>
                  <a:cubicBezTo>
                    <a:pt x="6319" y="33307"/>
                    <a:pt x="6050" y="33374"/>
                    <a:pt x="5781" y="33441"/>
                  </a:cubicBezTo>
                  <a:cubicBezTo>
                    <a:pt x="5580" y="33475"/>
                    <a:pt x="5412" y="33542"/>
                    <a:pt x="5210" y="33575"/>
                  </a:cubicBezTo>
                  <a:cubicBezTo>
                    <a:pt x="4975" y="33609"/>
                    <a:pt x="4739" y="33643"/>
                    <a:pt x="4504" y="33676"/>
                  </a:cubicBezTo>
                  <a:cubicBezTo>
                    <a:pt x="4370" y="33676"/>
                    <a:pt x="4235" y="33710"/>
                    <a:pt x="4101" y="33710"/>
                  </a:cubicBezTo>
                  <a:cubicBezTo>
                    <a:pt x="3765" y="33710"/>
                    <a:pt x="3429" y="33743"/>
                    <a:pt x="3126" y="33710"/>
                  </a:cubicBezTo>
                  <a:lnTo>
                    <a:pt x="3059" y="33710"/>
                  </a:lnTo>
                  <a:cubicBezTo>
                    <a:pt x="2723" y="33676"/>
                    <a:pt x="2387" y="33643"/>
                    <a:pt x="2084" y="33575"/>
                  </a:cubicBezTo>
                  <a:cubicBezTo>
                    <a:pt x="1984" y="33575"/>
                    <a:pt x="1916" y="33542"/>
                    <a:pt x="1816" y="33508"/>
                  </a:cubicBezTo>
                  <a:cubicBezTo>
                    <a:pt x="1580" y="33441"/>
                    <a:pt x="1345" y="33407"/>
                    <a:pt x="1110" y="33307"/>
                  </a:cubicBezTo>
                  <a:cubicBezTo>
                    <a:pt x="1043" y="33273"/>
                    <a:pt x="975" y="33273"/>
                    <a:pt x="874" y="33239"/>
                  </a:cubicBezTo>
                  <a:cubicBezTo>
                    <a:pt x="572" y="33105"/>
                    <a:pt x="303" y="32970"/>
                    <a:pt x="1" y="32802"/>
                  </a:cubicBezTo>
                  <a:lnTo>
                    <a:pt x="10318" y="38818"/>
                  </a:lnTo>
                  <a:cubicBezTo>
                    <a:pt x="10352" y="38818"/>
                    <a:pt x="10386" y="38818"/>
                    <a:pt x="10386" y="38852"/>
                  </a:cubicBezTo>
                  <a:cubicBezTo>
                    <a:pt x="10621" y="38953"/>
                    <a:pt x="10856" y="39087"/>
                    <a:pt x="11091" y="39188"/>
                  </a:cubicBezTo>
                  <a:cubicBezTo>
                    <a:pt x="11125" y="39188"/>
                    <a:pt x="11159" y="39188"/>
                    <a:pt x="11192" y="39222"/>
                  </a:cubicBezTo>
                  <a:cubicBezTo>
                    <a:pt x="11260" y="39255"/>
                    <a:pt x="11360" y="39289"/>
                    <a:pt x="11428" y="39289"/>
                  </a:cubicBezTo>
                  <a:cubicBezTo>
                    <a:pt x="11562" y="39356"/>
                    <a:pt x="11663" y="39390"/>
                    <a:pt x="11797" y="39423"/>
                  </a:cubicBezTo>
                  <a:cubicBezTo>
                    <a:pt x="11898" y="39457"/>
                    <a:pt x="12033" y="39491"/>
                    <a:pt x="12133" y="39524"/>
                  </a:cubicBezTo>
                  <a:cubicBezTo>
                    <a:pt x="12234" y="39524"/>
                    <a:pt x="12301" y="39558"/>
                    <a:pt x="12402" y="39558"/>
                  </a:cubicBezTo>
                  <a:cubicBezTo>
                    <a:pt x="12436" y="39591"/>
                    <a:pt x="12503" y="39591"/>
                    <a:pt x="12570" y="39591"/>
                  </a:cubicBezTo>
                  <a:cubicBezTo>
                    <a:pt x="12806" y="39659"/>
                    <a:pt x="13108" y="39692"/>
                    <a:pt x="13377" y="39692"/>
                  </a:cubicBezTo>
                  <a:lnTo>
                    <a:pt x="13377" y="39692"/>
                  </a:lnTo>
                  <a:lnTo>
                    <a:pt x="13444" y="39692"/>
                  </a:lnTo>
                  <a:cubicBezTo>
                    <a:pt x="13713" y="39726"/>
                    <a:pt x="13982" y="39726"/>
                    <a:pt x="14284" y="39726"/>
                  </a:cubicBezTo>
                  <a:cubicBezTo>
                    <a:pt x="14318" y="39692"/>
                    <a:pt x="14385" y="39692"/>
                    <a:pt x="14419" y="39692"/>
                  </a:cubicBezTo>
                  <a:cubicBezTo>
                    <a:pt x="14553" y="39692"/>
                    <a:pt x="14688" y="39659"/>
                    <a:pt x="14822" y="39659"/>
                  </a:cubicBezTo>
                  <a:cubicBezTo>
                    <a:pt x="14990" y="39625"/>
                    <a:pt x="15125" y="39625"/>
                    <a:pt x="15293" y="39625"/>
                  </a:cubicBezTo>
                  <a:cubicBezTo>
                    <a:pt x="15360" y="39591"/>
                    <a:pt x="15461" y="39591"/>
                    <a:pt x="15528" y="39558"/>
                  </a:cubicBezTo>
                  <a:cubicBezTo>
                    <a:pt x="15729" y="39524"/>
                    <a:pt x="15898" y="39491"/>
                    <a:pt x="16099" y="39423"/>
                  </a:cubicBezTo>
                  <a:cubicBezTo>
                    <a:pt x="16234" y="39423"/>
                    <a:pt x="16334" y="39390"/>
                    <a:pt x="16469" y="39356"/>
                  </a:cubicBezTo>
                  <a:cubicBezTo>
                    <a:pt x="16603" y="39322"/>
                    <a:pt x="16771" y="39255"/>
                    <a:pt x="16906" y="39222"/>
                  </a:cubicBezTo>
                  <a:cubicBezTo>
                    <a:pt x="16973" y="39188"/>
                    <a:pt x="17040" y="39188"/>
                    <a:pt x="17141" y="39154"/>
                  </a:cubicBezTo>
                  <a:cubicBezTo>
                    <a:pt x="17444" y="39054"/>
                    <a:pt x="17780" y="38919"/>
                    <a:pt x="18082" y="38785"/>
                  </a:cubicBezTo>
                  <a:cubicBezTo>
                    <a:pt x="18149" y="38785"/>
                    <a:pt x="18217" y="38751"/>
                    <a:pt x="18284" y="38718"/>
                  </a:cubicBezTo>
                  <a:lnTo>
                    <a:pt x="18519" y="38617"/>
                  </a:lnTo>
                  <a:cubicBezTo>
                    <a:pt x="18922" y="38415"/>
                    <a:pt x="19326" y="38247"/>
                    <a:pt x="19729" y="38012"/>
                  </a:cubicBezTo>
                  <a:cubicBezTo>
                    <a:pt x="19830" y="37945"/>
                    <a:pt x="19897" y="37911"/>
                    <a:pt x="19998" y="37844"/>
                  </a:cubicBezTo>
                  <a:cubicBezTo>
                    <a:pt x="20401" y="37608"/>
                    <a:pt x="20804" y="37340"/>
                    <a:pt x="21241" y="37071"/>
                  </a:cubicBezTo>
                  <a:cubicBezTo>
                    <a:pt x="21376" y="36970"/>
                    <a:pt x="21477" y="36869"/>
                    <a:pt x="21611" y="36768"/>
                  </a:cubicBezTo>
                  <a:cubicBezTo>
                    <a:pt x="21913" y="36567"/>
                    <a:pt x="22182" y="36365"/>
                    <a:pt x="22451" y="36163"/>
                  </a:cubicBezTo>
                  <a:cubicBezTo>
                    <a:pt x="22586" y="36029"/>
                    <a:pt x="22754" y="35894"/>
                    <a:pt x="22888" y="35794"/>
                  </a:cubicBezTo>
                  <a:cubicBezTo>
                    <a:pt x="23157" y="35558"/>
                    <a:pt x="23392" y="35357"/>
                    <a:pt x="23627" y="35121"/>
                  </a:cubicBezTo>
                  <a:cubicBezTo>
                    <a:pt x="23796" y="34987"/>
                    <a:pt x="23930" y="34853"/>
                    <a:pt x="24098" y="34718"/>
                  </a:cubicBezTo>
                  <a:cubicBezTo>
                    <a:pt x="24165" y="34617"/>
                    <a:pt x="24266" y="34550"/>
                    <a:pt x="24333" y="34483"/>
                  </a:cubicBezTo>
                  <a:cubicBezTo>
                    <a:pt x="24434" y="34382"/>
                    <a:pt x="24535" y="34281"/>
                    <a:pt x="24636" y="34180"/>
                  </a:cubicBezTo>
                  <a:cubicBezTo>
                    <a:pt x="24938" y="33844"/>
                    <a:pt x="25241" y="33542"/>
                    <a:pt x="25543" y="33206"/>
                  </a:cubicBezTo>
                  <a:cubicBezTo>
                    <a:pt x="25610" y="33105"/>
                    <a:pt x="25711" y="33004"/>
                    <a:pt x="25812" y="32903"/>
                  </a:cubicBezTo>
                  <a:cubicBezTo>
                    <a:pt x="25879" y="32836"/>
                    <a:pt x="25946" y="32735"/>
                    <a:pt x="26047" y="32634"/>
                  </a:cubicBezTo>
                  <a:cubicBezTo>
                    <a:pt x="26215" y="32433"/>
                    <a:pt x="26383" y="32197"/>
                    <a:pt x="26585" y="31996"/>
                  </a:cubicBezTo>
                  <a:cubicBezTo>
                    <a:pt x="26686" y="31828"/>
                    <a:pt x="26787" y="31727"/>
                    <a:pt x="26888" y="31559"/>
                  </a:cubicBezTo>
                  <a:cubicBezTo>
                    <a:pt x="26988" y="31458"/>
                    <a:pt x="27056" y="31357"/>
                    <a:pt x="27156" y="31223"/>
                  </a:cubicBezTo>
                  <a:cubicBezTo>
                    <a:pt x="27291" y="31055"/>
                    <a:pt x="27425" y="30887"/>
                    <a:pt x="27560" y="30719"/>
                  </a:cubicBezTo>
                  <a:cubicBezTo>
                    <a:pt x="27627" y="30584"/>
                    <a:pt x="27728" y="30483"/>
                    <a:pt x="27795" y="30349"/>
                  </a:cubicBezTo>
                  <a:cubicBezTo>
                    <a:pt x="27929" y="30181"/>
                    <a:pt x="28064" y="29979"/>
                    <a:pt x="28198" y="29778"/>
                  </a:cubicBezTo>
                  <a:lnTo>
                    <a:pt x="28467" y="29374"/>
                  </a:lnTo>
                  <a:cubicBezTo>
                    <a:pt x="28501" y="29307"/>
                    <a:pt x="28568" y="29240"/>
                    <a:pt x="28602" y="29173"/>
                  </a:cubicBezTo>
                  <a:cubicBezTo>
                    <a:pt x="28837" y="28803"/>
                    <a:pt x="29072" y="28400"/>
                    <a:pt x="29307" y="27996"/>
                  </a:cubicBezTo>
                  <a:cubicBezTo>
                    <a:pt x="29307" y="27996"/>
                    <a:pt x="29307" y="27996"/>
                    <a:pt x="29341" y="27996"/>
                  </a:cubicBezTo>
                  <a:cubicBezTo>
                    <a:pt x="29341" y="27963"/>
                    <a:pt x="29375" y="27929"/>
                    <a:pt x="29375" y="27896"/>
                  </a:cubicBezTo>
                  <a:cubicBezTo>
                    <a:pt x="29576" y="27559"/>
                    <a:pt x="29778" y="27190"/>
                    <a:pt x="29980" y="26854"/>
                  </a:cubicBezTo>
                  <a:cubicBezTo>
                    <a:pt x="30013" y="26753"/>
                    <a:pt x="30047" y="26652"/>
                    <a:pt x="30114" y="26551"/>
                  </a:cubicBezTo>
                  <a:cubicBezTo>
                    <a:pt x="30181" y="26417"/>
                    <a:pt x="30248" y="26282"/>
                    <a:pt x="30316" y="26148"/>
                  </a:cubicBezTo>
                  <a:cubicBezTo>
                    <a:pt x="30416" y="25980"/>
                    <a:pt x="30484" y="25845"/>
                    <a:pt x="30551" y="25677"/>
                  </a:cubicBezTo>
                  <a:cubicBezTo>
                    <a:pt x="30652" y="25442"/>
                    <a:pt x="30753" y="25240"/>
                    <a:pt x="30853" y="25005"/>
                  </a:cubicBezTo>
                  <a:cubicBezTo>
                    <a:pt x="30921" y="24904"/>
                    <a:pt x="30988" y="24770"/>
                    <a:pt x="31021" y="24635"/>
                  </a:cubicBezTo>
                  <a:lnTo>
                    <a:pt x="31122" y="24467"/>
                  </a:lnTo>
                  <a:cubicBezTo>
                    <a:pt x="31290" y="24064"/>
                    <a:pt x="31458" y="23661"/>
                    <a:pt x="31626" y="23258"/>
                  </a:cubicBezTo>
                  <a:cubicBezTo>
                    <a:pt x="31626" y="23224"/>
                    <a:pt x="31626" y="23190"/>
                    <a:pt x="31626" y="23157"/>
                  </a:cubicBezTo>
                  <a:lnTo>
                    <a:pt x="31761" y="22854"/>
                  </a:lnTo>
                  <a:cubicBezTo>
                    <a:pt x="31862" y="22552"/>
                    <a:pt x="31962" y="22249"/>
                    <a:pt x="32063" y="21947"/>
                  </a:cubicBezTo>
                  <a:cubicBezTo>
                    <a:pt x="32097" y="21846"/>
                    <a:pt x="32130" y="21745"/>
                    <a:pt x="32164" y="21644"/>
                  </a:cubicBezTo>
                  <a:cubicBezTo>
                    <a:pt x="32231" y="21476"/>
                    <a:pt x="32299" y="21275"/>
                    <a:pt x="32332" y="21073"/>
                  </a:cubicBezTo>
                  <a:cubicBezTo>
                    <a:pt x="32399" y="20905"/>
                    <a:pt x="32467" y="20737"/>
                    <a:pt x="32500" y="20535"/>
                  </a:cubicBezTo>
                  <a:cubicBezTo>
                    <a:pt x="32534" y="20401"/>
                    <a:pt x="32567" y="20266"/>
                    <a:pt x="32601" y="20132"/>
                  </a:cubicBezTo>
                  <a:cubicBezTo>
                    <a:pt x="32668" y="19897"/>
                    <a:pt x="32735" y="19628"/>
                    <a:pt x="32803" y="19393"/>
                  </a:cubicBezTo>
                  <a:cubicBezTo>
                    <a:pt x="32803" y="19258"/>
                    <a:pt x="32870" y="19124"/>
                    <a:pt x="32903" y="18989"/>
                  </a:cubicBezTo>
                  <a:cubicBezTo>
                    <a:pt x="32903" y="18855"/>
                    <a:pt x="32937" y="18754"/>
                    <a:pt x="32971" y="18620"/>
                  </a:cubicBezTo>
                  <a:cubicBezTo>
                    <a:pt x="33038" y="18250"/>
                    <a:pt x="33105" y="17847"/>
                    <a:pt x="33139" y="17477"/>
                  </a:cubicBezTo>
                  <a:cubicBezTo>
                    <a:pt x="33172" y="17342"/>
                    <a:pt x="33206" y="17208"/>
                    <a:pt x="33206" y="17074"/>
                  </a:cubicBezTo>
                  <a:cubicBezTo>
                    <a:pt x="33240" y="16905"/>
                    <a:pt x="33240" y="16771"/>
                    <a:pt x="33273" y="16637"/>
                  </a:cubicBezTo>
                  <a:cubicBezTo>
                    <a:pt x="33273" y="16502"/>
                    <a:pt x="33307" y="16368"/>
                    <a:pt x="33307" y="16267"/>
                  </a:cubicBezTo>
                  <a:cubicBezTo>
                    <a:pt x="33340" y="15763"/>
                    <a:pt x="33374" y="15292"/>
                    <a:pt x="33374" y="14822"/>
                  </a:cubicBezTo>
                  <a:cubicBezTo>
                    <a:pt x="33408" y="10553"/>
                    <a:pt x="31895" y="7428"/>
                    <a:pt x="29375" y="5983"/>
                  </a:cubicBezTo>
                  <a:close/>
                </a:path>
              </a:pathLst>
            </a:custGeom>
            <a:solidFill>
              <a:srgbClr val="DDC6F7"/>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12" name="Google Shape;3707;p49"/>
            <p:cNvSpPr/>
            <p:nvPr/>
          </p:nvSpPr>
          <p:spPr>
            <a:xfrm>
              <a:off x="-16805975" y="14498275"/>
              <a:ext cx="278975" cy="403325"/>
            </a:xfrm>
            <a:custGeom>
              <a:avLst/>
              <a:gdLst/>
              <a:ahLst/>
              <a:cxnLst/>
              <a:rect l="l" t="t" r="r" b="b"/>
              <a:pathLst>
                <a:path w="11159" h="16133" extrusionOk="0">
                  <a:moveTo>
                    <a:pt x="5479" y="1748"/>
                  </a:moveTo>
                  <a:cubicBezTo>
                    <a:pt x="5513" y="1714"/>
                    <a:pt x="5580" y="1681"/>
                    <a:pt x="5613" y="1647"/>
                  </a:cubicBezTo>
                  <a:cubicBezTo>
                    <a:pt x="8638" y="0"/>
                    <a:pt x="11159" y="1546"/>
                    <a:pt x="11125" y="4974"/>
                  </a:cubicBezTo>
                  <a:cubicBezTo>
                    <a:pt x="11092" y="8369"/>
                    <a:pt x="8537" y="12738"/>
                    <a:pt x="5580" y="14418"/>
                  </a:cubicBezTo>
                  <a:cubicBezTo>
                    <a:pt x="2622" y="16132"/>
                    <a:pt x="1" y="14586"/>
                    <a:pt x="68" y="11125"/>
                  </a:cubicBezTo>
                  <a:cubicBezTo>
                    <a:pt x="135" y="7764"/>
                    <a:pt x="2689" y="3361"/>
                    <a:pt x="5479" y="1748"/>
                  </a:cubicBezTo>
                  <a:close/>
                </a:path>
              </a:pathLst>
            </a:custGeom>
            <a:solidFill>
              <a:srgbClr val="BF4CA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13" name="Google Shape;3708;p49"/>
            <p:cNvSpPr/>
            <p:nvPr/>
          </p:nvSpPr>
          <p:spPr>
            <a:xfrm>
              <a:off x="-17062225" y="14373075"/>
              <a:ext cx="493225" cy="494075"/>
            </a:xfrm>
            <a:custGeom>
              <a:avLst/>
              <a:gdLst/>
              <a:ahLst/>
              <a:cxnLst/>
              <a:rect l="l" t="t" r="r" b="b"/>
              <a:pathLst>
                <a:path w="19729" h="19763" extrusionOk="0">
                  <a:moveTo>
                    <a:pt x="19728" y="6386"/>
                  </a:moveTo>
                  <a:lnTo>
                    <a:pt x="9410" y="404"/>
                  </a:lnTo>
                  <a:cubicBezTo>
                    <a:pt x="9410" y="404"/>
                    <a:pt x="9377" y="370"/>
                    <a:pt x="9377" y="370"/>
                  </a:cubicBezTo>
                  <a:cubicBezTo>
                    <a:pt x="9276" y="337"/>
                    <a:pt x="9175" y="269"/>
                    <a:pt x="9074" y="236"/>
                  </a:cubicBezTo>
                  <a:cubicBezTo>
                    <a:pt x="9074" y="236"/>
                    <a:pt x="9074" y="236"/>
                    <a:pt x="9041" y="236"/>
                  </a:cubicBezTo>
                  <a:cubicBezTo>
                    <a:pt x="9007" y="202"/>
                    <a:pt x="8974" y="202"/>
                    <a:pt x="8940" y="202"/>
                  </a:cubicBezTo>
                  <a:cubicBezTo>
                    <a:pt x="8906" y="169"/>
                    <a:pt x="8839" y="135"/>
                    <a:pt x="8772" y="135"/>
                  </a:cubicBezTo>
                  <a:cubicBezTo>
                    <a:pt x="8738" y="135"/>
                    <a:pt x="8705" y="101"/>
                    <a:pt x="8671" y="101"/>
                  </a:cubicBezTo>
                  <a:cubicBezTo>
                    <a:pt x="8604" y="101"/>
                    <a:pt x="8570" y="68"/>
                    <a:pt x="8537" y="68"/>
                  </a:cubicBezTo>
                  <a:cubicBezTo>
                    <a:pt x="8503" y="68"/>
                    <a:pt x="8469" y="68"/>
                    <a:pt x="8469" y="68"/>
                  </a:cubicBezTo>
                  <a:cubicBezTo>
                    <a:pt x="8369" y="34"/>
                    <a:pt x="8301" y="34"/>
                    <a:pt x="8201" y="34"/>
                  </a:cubicBezTo>
                  <a:cubicBezTo>
                    <a:pt x="8167" y="34"/>
                    <a:pt x="8167" y="1"/>
                    <a:pt x="8133" y="1"/>
                  </a:cubicBezTo>
                  <a:cubicBezTo>
                    <a:pt x="8133" y="1"/>
                    <a:pt x="8100" y="1"/>
                    <a:pt x="8100" y="1"/>
                  </a:cubicBezTo>
                  <a:cubicBezTo>
                    <a:pt x="7999" y="1"/>
                    <a:pt x="7864" y="1"/>
                    <a:pt x="7730" y="1"/>
                  </a:cubicBezTo>
                  <a:cubicBezTo>
                    <a:pt x="7730" y="1"/>
                    <a:pt x="7696" y="1"/>
                    <a:pt x="7696" y="1"/>
                  </a:cubicBezTo>
                  <a:cubicBezTo>
                    <a:pt x="7663" y="1"/>
                    <a:pt x="7596" y="34"/>
                    <a:pt x="7562" y="34"/>
                  </a:cubicBezTo>
                  <a:cubicBezTo>
                    <a:pt x="7461" y="34"/>
                    <a:pt x="7394" y="34"/>
                    <a:pt x="7293" y="34"/>
                  </a:cubicBezTo>
                  <a:cubicBezTo>
                    <a:pt x="7293" y="68"/>
                    <a:pt x="7260" y="68"/>
                    <a:pt x="7226" y="68"/>
                  </a:cubicBezTo>
                  <a:cubicBezTo>
                    <a:pt x="7159" y="68"/>
                    <a:pt x="7091" y="101"/>
                    <a:pt x="6991" y="101"/>
                  </a:cubicBezTo>
                  <a:cubicBezTo>
                    <a:pt x="6923" y="135"/>
                    <a:pt x="6890" y="135"/>
                    <a:pt x="6823" y="169"/>
                  </a:cubicBezTo>
                  <a:cubicBezTo>
                    <a:pt x="6789" y="169"/>
                    <a:pt x="6755" y="169"/>
                    <a:pt x="6722" y="169"/>
                  </a:cubicBezTo>
                  <a:cubicBezTo>
                    <a:pt x="6587" y="236"/>
                    <a:pt x="6419" y="269"/>
                    <a:pt x="6285" y="337"/>
                  </a:cubicBezTo>
                  <a:cubicBezTo>
                    <a:pt x="6251" y="370"/>
                    <a:pt x="6184" y="370"/>
                    <a:pt x="6150" y="370"/>
                  </a:cubicBezTo>
                  <a:lnTo>
                    <a:pt x="6117" y="404"/>
                  </a:lnTo>
                  <a:cubicBezTo>
                    <a:pt x="5949" y="471"/>
                    <a:pt x="5747" y="572"/>
                    <a:pt x="5545" y="673"/>
                  </a:cubicBezTo>
                  <a:cubicBezTo>
                    <a:pt x="5512" y="706"/>
                    <a:pt x="5445" y="740"/>
                    <a:pt x="5411" y="740"/>
                  </a:cubicBezTo>
                  <a:cubicBezTo>
                    <a:pt x="5176" y="908"/>
                    <a:pt x="4907" y="1076"/>
                    <a:pt x="4672" y="1244"/>
                  </a:cubicBezTo>
                  <a:cubicBezTo>
                    <a:pt x="4638" y="1311"/>
                    <a:pt x="4571" y="1345"/>
                    <a:pt x="4504" y="1378"/>
                  </a:cubicBezTo>
                  <a:cubicBezTo>
                    <a:pt x="4268" y="1580"/>
                    <a:pt x="4033" y="1782"/>
                    <a:pt x="3831" y="1983"/>
                  </a:cubicBezTo>
                  <a:cubicBezTo>
                    <a:pt x="3798" y="2017"/>
                    <a:pt x="3798" y="2017"/>
                    <a:pt x="3798" y="2017"/>
                  </a:cubicBezTo>
                  <a:cubicBezTo>
                    <a:pt x="3731" y="2084"/>
                    <a:pt x="3697" y="2118"/>
                    <a:pt x="3663" y="2151"/>
                  </a:cubicBezTo>
                  <a:cubicBezTo>
                    <a:pt x="3529" y="2286"/>
                    <a:pt x="3395" y="2420"/>
                    <a:pt x="3294" y="2555"/>
                  </a:cubicBezTo>
                  <a:cubicBezTo>
                    <a:pt x="3260" y="2588"/>
                    <a:pt x="3226" y="2622"/>
                    <a:pt x="3226" y="2656"/>
                  </a:cubicBezTo>
                  <a:cubicBezTo>
                    <a:pt x="3159" y="2689"/>
                    <a:pt x="3126" y="2756"/>
                    <a:pt x="3058" y="2824"/>
                  </a:cubicBezTo>
                  <a:cubicBezTo>
                    <a:pt x="2991" y="2891"/>
                    <a:pt x="2924" y="2992"/>
                    <a:pt x="2857" y="3093"/>
                  </a:cubicBezTo>
                  <a:cubicBezTo>
                    <a:pt x="2823" y="3126"/>
                    <a:pt x="2790" y="3160"/>
                    <a:pt x="2756" y="3193"/>
                  </a:cubicBezTo>
                  <a:cubicBezTo>
                    <a:pt x="2722" y="3261"/>
                    <a:pt x="2655" y="3328"/>
                    <a:pt x="2622" y="3395"/>
                  </a:cubicBezTo>
                  <a:cubicBezTo>
                    <a:pt x="2554" y="3462"/>
                    <a:pt x="2487" y="3563"/>
                    <a:pt x="2453" y="3630"/>
                  </a:cubicBezTo>
                  <a:lnTo>
                    <a:pt x="2386" y="3697"/>
                  </a:lnTo>
                  <a:cubicBezTo>
                    <a:pt x="2319" y="3832"/>
                    <a:pt x="2218" y="3933"/>
                    <a:pt x="2151" y="4034"/>
                  </a:cubicBezTo>
                  <a:cubicBezTo>
                    <a:pt x="2117" y="4101"/>
                    <a:pt x="2084" y="4134"/>
                    <a:pt x="2050" y="4168"/>
                  </a:cubicBezTo>
                  <a:cubicBezTo>
                    <a:pt x="2050" y="4202"/>
                    <a:pt x="2050" y="4202"/>
                    <a:pt x="2050" y="4202"/>
                  </a:cubicBezTo>
                  <a:cubicBezTo>
                    <a:pt x="1916" y="4370"/>
                    <a:pt x="1815" y="4538"/>
                    <a:pt x="1714" y="4706"/>
                  </a:cubicBezTo>
                  <a:cubicBezTo>
                    <a:pt x="1714" y="4739"/>
                    <a:pt x="1714" y="4739"/>
                    <a:pt x="1714" y="4773"/>
                  </a:cubicBezTo>
                  <a:cubicBezTo>
                    <a:pt x="1680" y="4807"/>
                    <a:pt x="1647" y="4840"/>
                    <a:pt x="1647" y="4874"/>
                  </a:cubicBezTo>
                  <a:cubicBezTo>
                    <a:pt x="1580" y="5008"/>
                    <a:pt x="1512" y="5109"/>
                    <a:pt x="1445" y="5210"/>
                  </a:cubicBezTo>
                  <a:cubicBezTo>
                    <a:pt x="1412" y="5277"/>
                    <a:pt x="1412" y="5311"/>
                    <a:pt x="1378" y="5344"/>
                  </a:cubicBezTo>
                  <a:cubicBezTo>
                    <a:pt x="1344" y="5412"/>
                    <a:pt x="1311" y="5479"/>
                    <a:pt x="1277" y="5546"/>
                  </a:cubicBezTo>
                  <a:cubicBezTo>
                    <a:pt x="1244" y="5613"/>
                    <a:pt x="1210" y="5680"/>
                    <a:pt x="1210" y="5748"/>
                  </a:cubicBezTo>
                  <a:cubicBezTo>
                    <a:pt x="1143" y="5815"/>
                    <a:pt x="1109" y="5916"/>
                    <a:pt x="1076" y="5983"/>
                  </a:cubicBezTo>
                  <a:cubicBezTo>
                    <a:pt x="1042" y="6050"/>
                    <a:pt x="1008" y="6117"/>
                    <a:pt x="1008" y="6185"/>
                  </a:cubicBezTo>
                  <a:cubicBezTo>
                    <a:pt x="975" y="6185"/>
                    <a:pt x="975" y="6218"/>
                    <a:pt x="941" y="6252"/>
                  </a:cubicBezTo>
                  <a:cubicBezTo>
                    <a:pt x="874" y="6420"/>
                    <a:pt x="807" y="6588"/>
                    <a:pt x="739" y="6789"/>
                  </a:cubicBezTo>
                  <a:cubicBezTo>
                    <a:pt x="739" y="6789"/>
                    <a:pt x="739" y="6789"/>
                    <a:pt x="739" y="6789"/>
                  </a:cubicBezTo>
                  <a:cubicBezTo>
                    <a:pt x="739" y="6789"/>
                    <a:pt x="739" y="6823"/>
                    <a:pt x="706" y="6857"/>
                  </a:cubicBezTo>
                  <a:cubicBezTo>
                    <a:pt x="639" y="6991"/>
                    <a:pt x="605" y="7159"/>
                    <a:pt x="538" y="7327"/>
                  </a:cubicBezTo>
                  <a:cubicBezTo>
                    <a:pt x="538" y="7361"/>
                    <a:pt x="538" y="7394"/>
                    <a:pt x="504" y="7394"/>
                  </a:cubicBezTo>
                  <a:cubicBezTo>
                    <a:pt x="504" y="7495"/>
                    <a:pt x="471" y="7562"/>
                    <a:pt x="437" y="7630"/>
                  </a:cubicBezTo>
                  <a:cubicBezTo>
                    <a:pt x="437" y="7731"/>
                    <a:pt x="403" y="7831"/>
                    <a:pt x="370" y="7899"/>
                  </a:cubicBezTo>
                  <a:cubicBezTo>
                    <a:pt x="370" y="7966"/>
                    <a:pt x="336" y="7999"/>
                    <a:pt x="336" y="8033"/>
                  </a:cubicBezTo>
                  <a:cubicBezTo>
                    <a:pt x="303" y="8134"/>
                    <a:pt x="269" y="8235"/>
                    <a:pt x="269" y="8335"/>
                  </a:cubicBezTo>
                  <a:cubicBezTo>
                    <a:pt x="235" y="8403"/>
                    <a:pt x="235" y="8470"/>
                    <a:pt x="202" y="8537"/>
                  </a:cubicBezTo>
                  <a:cubicBezTo>
                    <a:pt x="202" y="8571"/>
                    <a:pt x="202" y="8638"/>
                    <a:pt x="202" y="8672"/>
                  </a:cubicBezTo>
                  <a:cubicBezTo>
                    <a:pt x="168" y="8806"/>
                    <a:pt x="134" y="8974"/>
                    <a:pt x="101" y="9108"/>
                  </a:cubicBezTo>
                  <a:cubicBezTo>
                    <a:pt x="101" y="9176"/>
                    <a:pt x="101" y="9243"/>
                    <a:pt x="67" y="9310"/>
                  </a:cubicBezTo>
                  <a:cubicBezTo>
                    <a:pt x="67" y="9344"/>
                    <a:pt x="67" y="9344"/>
                    <a:pt x="67" y="9377"/>
                  </a:cubicBezTo>
                  <a:cubicBezTo>
                    <a:pt x="34" y="9646"/>
                    <a:pt x="34" y="9881"/>
                    <a:pt x="34" y="10150"/>
                  </a:cubicBezTo>
                  <a:cubicBezTo>
                    <a:pt x="0" y="11898"/>
                    <a:pt x="639" y="13175"/>
                    <a:pt x="1680" y="13746"/>
                  </a:cubicBezTo>
                  <a:lnTo>
                    <a:pt x="11998" y="19762"/>
                  </a:lnTo>
                  <a:cubicBezTo>
                    <a:pt x="10956" y="19157"/>
                    <a:pt x="10318" y="17880"/>
                    <a:pt x="10318" y="16133"/>
                  </a:cubicBezTo>
                  <a:cubicBezTo>
                    <a:pt x="10352" y="15897"/>
                    <a:pt x="10352" y="15629"/>
                    <a:pt x="10385" y="15393"/>
                  </a:cubicBezTo>
                  <a:cubicBezTo>
                    <a:pt x="10385" y="15292"/>
                    <a:pt x="10419" y="15192"/>
                    <a:pt x="10419" y="15124"/>
                  </a:cubicBezTo>
                  <a:cubicBezTo>
                    <a:pt x="10452" y="14956"/>
                    <a:pt x="10486" y="14822"/>
                    <a:pt x="10486" y="14654"/>
                  </a:cubicBezTo>
                  <a:cubicBezTo>
                    <a:pt x="10520" y="14553"/>
                    <a:pt x="10553" y="14452"/>
                    <a:pt x="10587" y="14318"/>
                  </a:cubicBezTo>
                  <a:cubicBezTo>
                    <a:pt x="10587" y="14251"/>
                    <a:pt x="10620" y="14150"/>
                    <a:pt x="10654" y="14049"/>
                  </a:cubicBezTo>
                  <a:cubicBezTo>
                    <a:pt x="10688" y="13915"/>
                    <a:pt x="10721" y="13780"/>
                    <a:pt x="10755" y="13646"/>
                  </a:cubicBezTo>
                  <a:cubicBezTo>
                    <a:pt x="10788" y="13545"/>
                    <a:pt x="10788" y="13478"/>
                    <a:pt x="10822" y="13410"/>
                  </a:cubicBezTo>
                  <a:cubicBezTo>
                    <a:pt x="10889" y="13209"/>
                    <a:pt x="10956" y="13041"/>
                    <a:pt x="11024" y="12839"/>
                  </a:cubicBezTo>
                  <a:cubicBezTo>
                    <a:pt x="11024" y="12805"/>
                    <a:pt x="11024" y="12805"/>
                    <a:pt x="11057" y="12772"/>
                  </a:cubicBezTo>
                  <a:cubicBezTo>
                    <a:pt x="11125" y="12570"/>
                    <a:pt x="11192" y="12369"/>
                    <a:pt x="11293" y="12167"/>
                  </a:cubicBezTo>
                  <a:cubicBezTo>
                    <a:pt x="11326" y="12100"/>
                    <a:pt x="11360" y="12032"/>
                    <a:pt x="11393" y="11999"/>
                  </a:cubicBezTo>
                  <a:cubicBezTo>
                    <a:pt x="11461" y="11831"/>
                    <a:pt x="11528" y="11696"/>
                    <a:pt x="11595" y="11562"/>
                  </a:cubicBezTo>
                  <a:cubicBezTo>
                    <a:pt x="11629" y="11495"/>
                    <a:pt x="11662" y="11427"/>
                    <a:pt x="11696" y="11360"/>
                  </a:cubicBezTo>
                  <a:cubicBezTo>
                    <a:pt x="11763" y="11192"/>
                    <a:pt x="11864" y="11024"/>
                    <a:pt x="11931" y="10890"/>
                  </a:cubicBezTo>
                  <a:cubicBezTo>
                    <a:pt x="11965" y="10856"/>
                    <a:pt x="11998" y="10789"/>
                    <a:pt x="12032" y="10755"/>
                  </a:cubicBezTo>
                  <a:cubicBezTo>
                    <a:pt x="12133" y="10554"/>
                    <a:pt x="12234" y="10352"/>
                    <a:pt x="12368" y="10184"/>
                  </a:cubicBezTo>
                  <a:cubicBezTo>
                    <a:pt x="12402" y="10117"/>
                    <a:pt x="12435" y="10083"/>
                    <a:pt x="12469" y="10016"/>
                  </a:cubicBezTo>
                  <a:cubicBezTo>
                    <a:pt x="12570" y="9881"/>
                    <a:pt x="12637" y="9747"/>
                    <a:pt x="12738" y="9613"/>
                  </a:cubicBezTo>
                  <a:cubicBezTo>
                    <a:pt x="12805" y="9545"/>
                    <a:pt x="12872" y="9478"/>
                    <a:pt x="12906" y="9377"/>
                  </a:cubicBezTo>
                  <a:cubicBezTo>
                    <a:pt x="13007" y="9277"/>
                    <a:pt x="13074" y="9176"/>
                    <a:pt x="13175" y="9075"/>
                  </a:cubicBezTo>
                  <a:cubicBezTo>
                    <a:pt x="13242" y="8974"/>
                    <a:pt x="13309" y="8907"/>
                    <a:pt x="13376" y="8806"/>
                  </a:cubicBezTo>
                  <a:cubicBezTo>
                    <a:pt x="13444" y="8705"/>
                    <a:pt x="13544" y="8638"/>
                    <a:pt x="13612" y="8537"/>
                  </a:cubicBezTo>
                  <a:cubicBezTo>
                    <a:pt x="13712" y="8403"/>
                    <a:pt x="13847" y="8302"/>
                    <a:pt x="13981" y="8167"/>
                  </a:cubicBezTo>
                  <a:cubicBezTo>
                    <a:pt x="14015" y="8100"/>
                    <a:pt x="14082" y="8033"/>
                    <a:pt x="14116" y="7999"/>
                  </a:cubicBezTo>
                  <a:cubicBezTo>
                    <a:pt x="14351" y="7764"/>
                    <a:pt x="14586" y="7562"/>
                    <a:pt x="14821" y="7361"/>
                  </a:cubicBezTo>
                  <a:cubicBezTo>
                    <a:pt x="14889" y="7327"/>
                    <a:pt x="14922" y="7294"/>
                    <a:pt x="14990" y="7260"/>
                  </a:cubicBezTo>
                  <a:cubicBezTo>
                    <a:pt x="15225" y="7058"/>
                    <a:pt x="15460" y="6890"/>
                    <a:pt x="15729" y="6756"/>
                  </a:cubicBezTo>
                  <a:cubicBezTo>
                    <a:pt x="15763" y="6722"/>
                    <a:pt x="15830" y="6689"/>
                    <a:pt x="15863" y="6655"/>
                  </a:cubicBezTo>
                  <a:cubicBezTo>
                    <a:pt x="16065" y="6554"/>
                    <a:pt x="16267" y="6487"/>
                    <a:pt x="16435" y="6386"/>
                  </a:cubicBezTo>
                  <a:cubicBezTo>
                    <a:pt x="16502" y="6353"/>
                    <a:pt x="16536" y="6353"/>
                    <a:pt x="16569" y="6353"/>
                  </a:cubicBezTo>
                  <a:cubicBezTo>
                    <a:pt x="16737" y="6285"/>
                    <a:pt x="16905" y="6218"/>
                    <a:pt x="17040" y="6185"/>
                  </a:cubicBezTo>
                  <a:cubicBezTo>
                    <a:pt x="17140" y="6151"/>
                    <a:pt x="17241" y="6117"/>
                    <a:pt x="17309" y="6117"/>
                  </a:cubicBezTo>
                  <a:cubicBezTo>
                    <a:pt x="17409" y="6084"/>
                    <a:pt x="17477" y="6084"/>
                    <a:pt x="17544" y="6050"/>
                  </a:cubicBezTo>
                  <a:cubicBezTo>
                    <a:pt x="17645" y="6050"/>
                    <a:pt x="17745" y="6050"/>
                    <a:pt x="17880" y="6016"/>
                  </a:cubicBezTo>
                  <a:cubicBezTo>
                    <a:pt x="17913" y="6016"/>
                    <a:pt x="17947" y="6016"/>
                    <a:pt x="18014" y="6016"/>
                  </a:cubicBezTo>
                  <a:cubicBezTo>
                    <a:pt x="18149" y="6016"/>
                    <a:pt x="18317" y="6016"/>
                    <a:pt x="18451" y="6016"/>
                  </a:cubicBezTo>
                  <a:cubicBezTo>
                    <a:pt x="18485" y="6016"/>
                    <a:pt x="18485" y="6016"/>
                    <a:pt x="18518" y="6016"/>
                  </a:cubicBezTo>
                  <a:cubicBezTo>
                    <a:pt x="18653" y="6050"/>
                    <a:pt x="18754" y="6050"/>
                    <a:pt x="18854" y="6084"/>
                  </a:cubicBezTo>
                  <a:cubicBezTo>
                    <a:pt x="18888" y="6084"/>
                    <a:pt x="18955" y="6084"/>
                    <a:pt x="18989" y="6117"/>
                  </a:cubicBezTo>
                  <a:cubicBezTo>
                    <a:pt x="19090" y="6117"/>
                    <a:pt x="19191" y="6151"/>
                    <a:pt x="19258" y="6185"/>
                  </a:cubicBezTo>
                  <a:cubicBezTo>
                    <a:pt x="19291" y="6218"/>
                    <a:pt x="19325" y="6218"/>
                    <a:pt x="19359" y="6218"/>
                  </a:cubicBezTo>
                  <a:cubicBezTo>
                    <a:pt x="19493" y="6252"/>
                    <a:pt x="19594" y="6319"/>
                    <a:pt x="19728" y="6386"/>
                  </a:cubicBezTo>
                  <a:lnTo>
                    <a:pt x="19728" y="6386"/>
                  </a:ln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14" name="Google Shape;3709;p49"/>
            <p:cNvSpPr/>
            <p:nvPr/>
          </p:nvSpPr>
          <p:spPr>
            <a:xfrm>
              <a:off x="-16742950" y="13523625"/>
              <a:ext cx="636050" cy="409200"/>
            </a:xfrm>
            <a:custGeom>
              <a:avLst/>
              <a:gdLst/>
              <a:ahLst/>
              <a:cxnLst/>
              <a:rect l="l" t="t" r="r" b="b"/>
              <a:pathLst>
                <a:path w="25442" h="16368" extrusionOk="0">
                  <a:moveTo>
                    <a:pt x="22552" y="6016"/>
                  </a:moveTo>
                  <a:lnTo>
                    <a:pt x="22552" y="6016"/>
                  </a:lnTo>
                  <a:cubicBezTo>
                    <a:pt x="22653" y="5983"/>
                    <a:pt x="22753" y="6016"/>
                    <a:pt x="22854" y="6016"/>
                  </a:cubicBezTo>
                  <a:cubicBezTo>
                    <a:pt x="22854" y="6016"/>
                    <a:pt x="22854" y="6050"/>
                    <a:pt x="22854" y="6050"/>
                  </a:cubicBezTo>
                  <a:cubicBezTo>
                    <a:pt x="22955" y="6050"/>
                    <a:pt x="23022" y="6083"/>
                    <a:pt x="23123" y="6151"/>
                  </a:cubicBezTo>
                  <a:cubicBezTo>
                    <a:pt x="23896" y="6587"/>
                    <a:pt x="24669" y="7024"/>
                    <a:pt x="25442" y="7461"/>
                  </a:cubicBezTo>
                  <a:lnTo>
                    <a:pt x="15124" y="1479"/>
                  </a:lnTo>
                  <a:cubicBezTo>
                    <a:pt x="14351" y="1008"/>
                    <a:pt x="13578" y="605"/>
                    <a:pt x="12805" y="135"/>
                  </a:cubicBezTo>
                  <a:cubicBezTo>
                    <a:pt x="12805" y="135"/>
                    <a:pt x="12805" y="135"/>
                    <a:pt x="12805" y="135"/>
                  </a:cubicBezTo>
                  <a:cubicBezTo>
                    <a:pt x="12772" y="135"/>
                    <a:pt x="12738" y="101"/>
                    <a:pt x="12704" y="67"/>
                  </a:cubicBezTo>
                  <a:cubicBezTo>
                    <a:pt x="12637" y="67"/>
                    <a:pt x="12604" y="67"/>
                    <a:pt x="12570" y="34"/>
                  </a:cubicBezTo>
                  <a:cubicBezTo>
                    <a:pt x="12570" y="34"/>
                    <a:pt x="12570" y="34"/>
                    <a:pt x="12536" y="34"/>
                  </a:cubicBezTo>
                  <a:cubicBezTo>
                    <a:pt x="12536" y="34"/>
                    <a:pt x="12536" y="34"/>
                    <a:pt x="12536" y="34"/>
                  </a:cubicBezTo>
                  <a:cubicBezTo>
                    <a:pt x="12503" y="34"/>
                    <a:pt x="12503" y="34"/>
                    <a:pt x="12469" y="34"/>
                  </a:cubicBezTo>
                  <a:cubicBezTo>
                    <a:pt x="12436" y="0"/>
                    <a:pt x="12402" y="0"/>
                    <a:pt x="12368" y="0"/>
                  </a:cubicBezTo>
                  <a:cubicBezTo>
                    <a:pt x="12335" y="0"/>
                    <a:pt x="12301" y="0"/>
                    <a:pt x="12267" y="0"/>
                  </a:cubicBezTo>
                  <a:lnTo>
                    <a:pt x="12267" y="0"/>
                  </a:lnTo>
                  <a:lnTo>
                    <a:pt x="12267" y="0"/>
                  </a:lnTo>
                  <a:cubicBezTo>
                    <a:pt x="12234" y="0"/>
                    <a:pt x="12167" y="0"/>
                    <a:pt x="12133" y="34"/>
                  </a:cubicBezTo>
                  <a:cubicBezTo>
                    <a:pt x="12099" y="34"/>
                    <a:pt x="12066" y="34"/>
                    <a:pt x="12032" y="34"/>
                  </a:cubicBezTo>
                  <a:cubicBezTo>
                    <a:pt x="11999" y="34"/>
                    <a:pt x="11999" y="67"/>
                    <a:pt x="11999" y="67"/>
                  </a:cubicBezTo>
                  <a:lnTo>
                    <a:pt x="11931" y="67"/>
                  </a:lnTo>
                  <a:cubicBezTo>
                    <a:pt x="11931" y="67"/>
                    <a:pt x="11898" y="67"/>
                    <a:pt x="11864" y="101"/>
                  </a:cubicBezTo>
                  <a:cubicBezTo>
                    <a:pt x="11797" y="135"/>
                    <a:pt x="11730" y="168"/>
                    <a:pt x="11663" y="202"/>
                  </a:cubicBezTo>
                  <a:cubicBezTo>
                    <a:pt x="11595" y="235"/>
                    <a:pt x="11494" y="303"/>
                    <a:pt x="11427" y="370"/>
                  </a:cubicBezTo>
                  <a:cubicBezTo>
                    <a:pt x="11360" y="403"/>
                    <a:pt x="11326" y="471"/>
                    <a:pt x="11259" y="504"/>
                  </a:cubicBezTo>
                  <a:cubicBezTo>
                    <a:pt x="11226" y="538"/>
                    <a:pt x="11192" y="572"/>
                    <a:pt x="11158" y="605"/>
                  </a:cubicBezTo>
                  <a:lnTo>
                    <a:pt x="11158" y="605"/>
                  </a:lnTo>
                  <a:cubicBezTo>
                    <a:pt x="11091" y="672"/>
                    <a:pt x="10990" y="740"/>
                    <a:pt x="10923" y="840"/>
                  </a:cubicBezTo>
                  <a:cubicBezTo>
                    <a:pt x="10923" y="840"/>
                    <a:pt x="10923" y="874"/>
                    <a:pt x="10890" y="874"/>
                  </a:cubicBezTo>
                  <a:cubicBezTo>
                    <a:pt x="10890" y="908"/>
                    <a:pt x="10856" y="908"/>
                    <a:pt x="10856" y="941"/>
                  </a:cubicBezTo>
                  <a:cubicBezTo>
                    <a:pt x="10822" y="975"/>
                    <a:pt x="10755" y="1042"/>
                    <a:pt x="10721" y="1076"/>
                  </a:cubicBezTo>
                  <a:cubicBezTo>
                    <a:pt x="10688" y="1143"/>
                    <a:pt x="10654" y="1176"/>
                    <a:pt x="10621" y="1244"/>
                  </a:cubicBezTo>
                  <a:cubicBezTo>
                    <a:pt x="8907" y="3596"/>
                    <a:pt x="7125" y="5882"/>
                    <a:pt x="5411" y="8302"/>
                  </a:cubicBezTo>
                  <a:cubicBezTo>
                    <a:pt x="5311" y="8470"/>
                    <a:pt x="5176" y="8638"/>
                    <a:pt x="5042" y="8806"/>
                  </a:cubicBezTo>
                  <a:cubicBezTo>
                    <a:pt x="5042" y="8806"/>
                    <a:pt x="5042" y="8806"/>
                    <a:pt x="5042" y="8806"/>
                  </a:cubicBezTo>
                  <a:cubicBezTo>
                    <a:pt x="4941" y="8940"/>
                    <a:pt x="4806" y="9075"/>
                    <a:pt x="4706" y="9209"/>
                  </a:cubicBezTo>
                  <a:cubicBezTo>
                    <a:pt x="4672" y="9243"/>
                    <a:pt x="4638" y="9276"/>
                    <a:pt x="4605" y="9310"/>
                  </a:cubicBezTo>
                  <a:cubicBezTo>
                    <a:pt x="4538" y="9377"/>
                    <a:pt x="4437" y="9478"/>
                    <a:pt x="4369" y="9545"/>
                  </a:cubicBezTo>
                  <a:cubicBezTo>
                    <a:pt x="4336" y="9579"/>
                    <a:pt x="4302" y="9612"/>
                    <a:pt x="4269" y="9646"/>
                  </a:cubicBezTo>
                  <a:cubicBezTo>
                    <a:pt x="4168" y="9713"/>
                    <a:pt x="4033" y="9814"/>
                    <a:pt x="3933" y="9881"/>
                  </a:cubicBezTo>
                  <a:cubicBezTo>
                    <a:pt x="3865" y="9915"/>
                    <a:pt x="3765" y="9948"/>
                    <a:pt x="3697" y="9982"/>
                  </a:cubicBezTo>
                  <a:cubicBezTo>
                    <a:pt x="3664" y="10016"/>
                    <a:pt x="3664" y="10016"/>
                    <a:pt x="3630" y="10016"/>
                  </a:cubicBezTo>
                  <a:cubicBezTo>
                    <a:pt x="3563" y="10049"/>
                    <a:pt x="3496" y="10049"/>
                    <a:pt x="3428" y="10083"/>
                  </a:cubicBezTo>
                  <a:lnTo>
                    <a:pt x="3428" y="10083"/>
                  </a:lnTo>
                  <a:cubicBezTo>
                    <a:pt x="3328" y="10083"/>
                    <a:pt x="3227" y="10083"/>
                    <a:pt x="3160" y="10083"/>
                  </a:cubicBezTo>
                  <a:lnTo>
                    <a:pt x="3126" y="10083"/>
                  </a:lnTo>
                  <a:cubicBezTo>
                    <a:pt x="3059" y="10083"/>
                    <a:pt x="2958" y="10049"/>
                    <a:pt x="2857" y="10016"/>
                  </a:cubicBezTo>
                  <a:lnTo>
                    <a:pt x="2756" y="10016"/>
                  </a:lnTo>
                  <a:cubicBezTo>
                    <a:pt x="2723" y="9982"/>
                    <a:pt x="2655" y="9982"/>
                    <a:pt x="2622" y="9982"/>
                  </a:cubicBezTo>
                  <a:cubicBezTo>
                    <a:pt x="2588" y="9982"/>
                    <a:pt x="2555" y="9982"/>
                    <a:pt x="2487" y="9982"/>
                  </a:cubicBezTo>
                  <a:lnTo>
                    <a:pt x="2487" y="9982"/>
                  </a:lnTo>
                  <a:lnTo>
                    <a:pt x="2487" y="9982"/>
                  </a:lnTo>
                  <a:cubicBezTo>
                    <a:pt x="2454" y="9982"/>
                    <a:pt x="2387" y="9982"/>
                    <a:pt x="2353" y="10016"/>
                  </a:cubicBezTo>
                  <a:cubicBezTo>
                    <a:pt x="2319" y="10016"/>
                    <a:pt x="2252" y="10016"/>
                    <a:pt x="2219" y="10016"/>
                  </a:cubicBezTo>
                  <a:cubicBezTo>
                    <a:pt x="2185" y="10049"/>
                    <a:pt x="2118" y="10049"/>
                    <a:pt x="2084" y="10083"/>
                  </a:cubicBezTo>
                  <a:cubicBezTo>
                    <a:pt x="1882" y="10150"/>
                    <a:pt x="1681" y="10217"/>
                    <a:pt x="1479" y="10284"/>
                  </a:cubicBezTo>
                  <a:cubicBezTo>
                    <a:pt x="1446" y="10284"/>
                    <a:pt x="1412" y="10284"/>
                    <a:pt x="1378" y="10284"/>
                  </a:cubicBezTo>
                  <a:cubicBezTo>
                    <a:pt x="1210" y="10318"/>
                    <a:pt x="1042" y="10352"/>
                    <a:pt x="874" y="10352"/>
                  </a:cubicBezTo>
                  <a:lnTo>
                    <a:pt x="874" y="10352"/>
                  </a:lnTo>
                  <a:cubicBezTo>
                    <a:pt x="706" y="10352"/>
                    <a:pt x="572" y="10352"/>
                    <a:pt x="437" y="10318"/>
                  </a:cubicBezTo>
                  <a:cubicBezTo>
                    <a:pt x="404" y="10318"/>
                    <a:pt x="404" y="10318"/>
                    <a:pt x="404" y="10318"/>
                  </a:cubicBezTo>
                  <a:cubicBezTo>
                    <a:pt x="236" y="10284"/>
                    <a:pt x="135" y="10217"/>
                    <a:pt x="0" y="10184"/>
                  </a:cubicBezTo>
                  <a:lnTo>
                    <a:pt x="0" y="10184"/>
                  </a:lnTo>
                  <a:lnTo>
                    <a:pt x="0" y="10184"/>
                  </a:lnTo>
                  <a:lnTo>
                    <a:pt x="0" y="10184"/>
                  </a:lnTo>
                  <a:lnTo>
                    <a:pt x="10318" y="16166"/>
                  </a:lnTo>
                  <a:cubicBezTo>
                    <a:pt x="10318" y="16166"/>
                    <a:pt x="10318" y="16166"/>
                    <a:pt x="10352" y="16166"/>
                  </a:cubicBezTo>
                  <a:cubicBezTo>
                    <a:pt x="10385" y="16200"/>
                    <a:pt x="10419" y="16233"/>
                    <a:pt x="10486" y="16233"/>
                  </a:cubicBezTo>
                  <a:cubicBezTo>
                    <a:pt x="10520" y="16267"/>
                    <a:pt x="10587" y="16267"/>
                    <a:pt x="10654" y="16300"/>
                  </a:cubicBezTo>
                  <a:lnTo>
                    <a:pt x="10688" y="16300"/>
                  </a:lnTo>
                  <a:cubicBezTo>
                    <a:pt x="10721" y="16334"/>
                    <a:pt x="10721" y="16334"/>
                    <a:pt x="10721" y="16334"/>
                  </a:cubicBezTo>
                  <a:cubicBezTo>
                    <a:pt x="10755" y="16334"/>
                    <a:pt x="10789" y="16334"/>
                    <a:pt x="10822" y="16334"/>
                  </a:cubicBezTo>
                  <a:cubicBezTo>
                    <a:pt x="10856" y="16334"/>
                    <a:pt x="10923" y="16368"/>
                    <a:pt x="10990" y="16368"/>
                  </a:cubicBezTo>
                  <a:cubicBezTo>
                    <a:pt x="11058" y="16368"/>
                    <a:pt x="11125" y="16368"/>
                    <a:pt x="11158" y="16368"/>
                  </a:cubicBezTo>
                  <a:lnTo>
                    <a:pt x="11192" y="16368"/>
                  </a:lnTo>
                  <a:lnTo>
                    <a:pt x="11226" y="16368"/>
                  </a:lnTo>
                  <a:cubicBezTo>
                    <a:pt x="11293" y="16368"/>
                    <a:pt x="11394" y="16334"/>
                    <a:pt x="11494" y="16334"/>
                  </a:cubicBezTo>
                  <a:cubicBezTo>
                    <a:pt x="11562" y="16334"/>
                    <a:pt x="11629" y="16300"/>
                    <a:pt x="11696" y="16300"/>
                  </a:cubicBezTo>
                  <a:cubicBezTo>
                    <a:pt x="11730" y="16267"/>
                    <a:pt x="11763" y="16267"/>
                    <a:pt x="11797" y="16267"/>
                  </a:cubicBezTo>
                  <a:cubicBezTo>
                    <a:pt x="11831" y="16267"/>
                    <a:pt x="11831" y="16267"/>
                    <a:pt x="11864" y="16267"/>
                  </a:cubicBezTo>
                  <a:cubicBezTo>
                    <a:pt x="12032" y="16200"/>
                    <a:pt x="12200" y="16132"/>
                    <a:pt x="12402" y="16065"/>
                  </a:cubicBezTo>
                  <a:cubicBezTo>
                    <a:pt x="12536" y="15998"/>
                    <a:pt x="12671" y="15998"/>
                    <a:pt x="12805" y="15998"/>
                  </a:cubicBezTo>
                  <a:lnTo>
                    <a:pt x="12805" y="15998"/>
                  </a:lnTo>
                  <a:cubicBezTo>
                    <a:pt x="12940" y="15964"/>
                    <a:pt x="13074" y="15998"/>
                    <a:pt x="13175" y="16032"/>
                  </a:cubicBezTo>
                  <a:cubicBezTo>
                    <a:pt x="13242" y="16032"/>
                    <a:pt x="13276" y="16032"/>
                    <a:pt x="13309" y="16065"/>
                  </a:cubicBezTo>
                  <a:cubicBezTo>
                    <a:pt x="13377" y="16065"/>
                    <a:pt x="13410" y="16065"/>
                    <a:pt x="13444" y="16065"/>
                  </a:cubicBezTo>
                  <a:lnTo>
                    <a:pt x="13444" y="16065"/>
                  </a:lnTo>
                  <a:lnTo>
                    <a:pt x="13477" y="16065"/>
                  </a:lnTo>
                  <a:cubicBezTo>
                    <a:pt x="13511" y="16065"/>
                    <a:pt x="13545" y="16065"/>
                    <a:pt x="13578" y="16065"/>
                  </a:cubicBezTo>
                  <a:cubicBezTo>
                    <a:pt x="13645" y="16065"/>
                    <a:pt x="13679" y="16065"/>
                    <a:pt x="13713" y="16065"/>
                  </a:cubicBezTo>
                  <a:lnTo>
                    <a:pt x="13713" y="16065"/>
                  </a:lnTo>
                  <a:lnTo>
                    <a:pt x="13713" y="16065"/>
                  </a:lnTo>
                  <a:cubicBezTo>
                    <a:pt x="13780" y="16065"/>
                    <a:pt x="13813" y="16032"/>
                    <a:pt x="13881" y="16032"/>
                  </a:cubicBezTo>
                  <a:cubicBezTo>
                    <a:pt x="13914" y="16032"/>
                    <a:pt x="13914" y="15998"/>
                    <a:pt x="13948" y="15998"/>
                  </a:cubicBezTo>
                  <a:cubicBezTo>
                    <a:pt x="13982" y="15998"/>
                    <a:pt x="13982" y="15998"/>
                    <a:pt x="14015" y="15998"/>
                  </a:cubicBezTo>
                  <a:cubicBezTo>
                    <a:pt x="14015" y="15998"/>
                    <a:pt x="14049" y="15964"/>
                    <a:pt x="14049" y="15964"/>
                  </a:cubicBezTo>
                  <a:cubicBezTo>
                    <a:pt x="14116" y="15931"/>
                    <a:pt x="14183" y="15897"/>
                    <a:pt x="14250" y="15863"/>
                  </a:cubicBezTo>
                  <a:cubicBezTo>
                    <a:pt x="14351" y="15796"/>
                    <a:pt x="14486" y="15729"/>
                    <a:pt x="14586" y="15628"/>
                  </a:cubicBezTo>
                  <a:lnTo>
                    <a:pt x="14687" y="15527"/>
                  </a:lnTo>
                  <a:cubicBezTo>
                    <a:pt x="14721" y="15494"/>
                    <a:pt x="14755" y="15460"/>
                    <a:pt x="14822" y="15427"/>
                  </a:cubicBezTo>
                  <a:cubicBezTo>
                    <a:pt x="14855" y="15393"/>
                    <a:pt x="14889" y="15326"/>
                    <a:pt x="14923" y="15292"/>
                  </a:cubicBezTo>
                  <a:cubicBezTo>
                    <a:pt x="14956" y="15259"/>
                    <a:pt x="14990" y="15225"/>
                    <a:pt x="15023" y="15191"/>
                  </a:cubicBezTo>
                  <a:cubicBezTo>
                    <a:pt x="15057" y="15191"/>
                    <a:pt x="15057" y="15158"/>
                    <a:pt x="15091" y="15158"/>
                  </a:cubicBezTo>
                  <a:cubicBezTo>
                    <a:pt x="15158" y="15023"/>
                    <a:pt x="15259" y="14922"/>
                    <a:pt x="15359" y="14788"/>
                  </a:cubicBezTo>
                  <a:lnTo>
                    <a:pt x="15359" y="14788"/>
                  </a:lnTo>
                  <a:lnTo>
                    <a:pt x="15359" y="14788"/>
                  </a:lnTo>
                  <a:cubicBezTo>
                    <a:pt x="15494" y="14620"/>
                    <a:pt x="15595" y="14452"/>
                    <a:pt x="15729" y="14284"/>
                  </a:cubicBezTo>
                  <a:cubicBezTo>
                    <a:pt x="17443" y="11898"/>
                    <a:pt x="19224" y="9579"/>
                    <a:pt x="20939" y="7226"/>
                  </a:cubicBezTo>
                  <a:cubicBezTo>
                    <a:pt x="21006" y="7125"/>
                    <a:pt x="21073" y="7024"/>
                    <a:pt x="21174" y="6924"/>
                  </a:cubicBezTo>
                  <a:cubicBezTo>
                    <a:pt x="21174" y="6924"/>
                    <a:pt x="21207" y="6890"/>
                    <a:pt x="21207" y="6856"/>
                  </a:cubicBezTo>
                  <a:cubicBezTo>
                    <a:pt x="21308" y="6756"/>
                    <a:pt x="21375" y="6655"/>
                    <a:pt x="21476" y="6587"/>
                  </a:cubicBezTo>
                  <a:cubicBezTo>
                    <a:pt x="21510" y="6520"/>
                    <a:pt x="21577" y="6487"/>
                    <a:pt x="21644" y="6453"/>
                  </a:cubicBezTo>
                  <a:cubicBezTo>
                    <a:pt x="21678" y="6419"/>
                    <a:pt x="21712" y="6386"/>
                    <a:pt x="21745" y="6352"/>
                  </a:cubicBezTo>
                  <a:cubicBezTo>
                    <a:pt x="21812" y="6285"/>
                    <a:pt x="21913" y="6251"/>
                    <a:pt x="21980" y="6184"/>
                  </a:cubicBezTo>
                  <a:cubicBezTo>
                    <a:pt x="22081" y="6117"/>
                    <a:pt x="22182" y="6083"/>
                    <a:pt x="22249" y="6050"/>
                  </a:cubicBezTo>
                  <a:lnTo>
                    <a:pt x="22316" y="6050"/>
                  </a:lnTo>
                  <a:cubicBezTo>
                    <a:pt x="22384" y="6016"/>
                    <a:pt x="22485" y="6016"/>
                    <a:pt x="22552" y="6016"/>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15" name="Google Shape;3710;p49"/>
            <p:cNvSpPr/>
            <p:nvPr/>
          </p:nvSpPr>
          <p:spPr>
            <a:xfrm>
              <a:off x="-17569725" y="15088950"/>
              <a:ext cx="362150" cy="558750"/>
            </a:xfrm>
            <a:custGeom>
              <a:avLst/>
              <a:gdLst/>
              <a:ahLst/>
              <a:cxnLst/>
              <a:rect l="l" t="t" r="r" b="b"/>
              <a:pathLst>
                <a:path w="14486" h="22350" extrusionOk="0">
                  <a:moveTo>
                    <a:pt x="14486" y="10184"/>
                  </a:moveTo>
                  <a:cubicBezTo>
                    <a:pt x="14486" y="10150"/>
                    <a:pt x="14486" y="10116"/>
                    <a:pt x="14452" y="10083"/>
                  </a:cubicBezTo>
                  <a:cubicBezTo>
                    <a:pt x="14452" y="9915"/>
                    <a:pt x="14419" y="9713"/>
                    <a:pt x="14385" y="9511"/>
                  </a:cubicBezTo>
                  <a:cubicBezTo>
                    <a:pt x="14385" y="9478"/>
                    <a:pt x="14385" y="9444"/>
                    <a:pt x="14385" y="9411"/>
                  </a:cubicBezTo>
                  <a:cubicBezTo>
                    <a:pt x="14318" y="9209"/>
                    <a:pt x="14284" y="8974"/>
                    <a:pt x="14217" y="8772"/>
                  </a:cubicBezTo>
                  <a:lnTo>
                    <a:pt x="14217" y="8738"/>
                  </a:lnTo>
                  <a:cubicBezTo>
                    <a:pt x="14150" y="8537"/>
                    <a:pt x="14082" y="8301"/>
                    <a:pt x="13982" y="8100"/>
                  </a:cubicBezTo>
                  <a:cubicBezTo>
                    <a:pt x="13982" y="8066"/>
                    <a:pt x="13982" y="8033"/>
                    <a:pt x="13982" y="7999"/>
                  </a:cubicBezTo>
                  <a:cubicBezTo>
                    <a:pt x="13881" y="7797"/>
                    <a:pt x="13814" y="7596"/>
                    <a:pt x="13713" y="7394"/>
                  </a:cubicBezTo>
                  <a:cubicBezTo>
                    <a:pt x="13713" y="7360"/>
                    <a:pt x="13679" y="7327"/>
                    <a:pt x="13679" y="7327"/>
                  </a:cubicBezTo>
                  <a:cubicBezTo>
                    <a:pt x="13578" y="7125"/>
                    <a:pt x="13511" y="6957"/>
                    <a:pt x="13410" y="6789"/>
                  </a:cubicBezTo>
                  <a:cubicBezTo>
                    <a:pt x="13377" y="6789"/>
                    <a:pt x="13377" y="6755"/>
                    <a:pt x="13377" y="6722"/>
                  </a:cubicBezTo>
                  <a:cubicBezTo>
                    <a:pt x="13276" y="6554"/>
                    <a:pt x="13175" y="6419"/>
                    <a:pt x="13074" y="6319"/>
                  </a:cubicBezTo>
                  <a:cubicBezTo>
                    <a:pt x="13074" y="6285"/>
                    <a:pt x="13041" y="6285"/>
                    <a:pt x="13041" y="6285"/>
                  </a:cubicBezTo>
                  <a:cubicBezTo>
                    <a:pt x="12940" y="6150"/>
                    <a:pt x="12839" y="6050"/>
                    <a:pt x="12738" y="6016"/>
                  </a:cubicBezTo>
                  <a:lnTo>
                    <a:pt x="12738" y="6016"/>
                  </a:lnTo>
                  <a:lnTo>
                    <a:pt x="2420" y="0"/>
                  </a:lnTo>
                  <a:cubicBezTo>
                    <a:pt x="2521" y="67"/>
                    <a:pt x="2622" y="168"/>
                    <a:pt x="2723" y="269"/>
                  </a:cubicBezTo>
                  <a:cubicBezTo>
                    <a:pt x="2756" y="303"/>
                    <a:pt x="2756" y="303"/>
                    <a:pt x="2756" y="303"/>
                  </a:cubicBezTo>
                  <a:cubicBezTo>
                    <a:pt x="2857" y="437"/>
                    <a:pt x="2958" y="571"/>
                    <a:pt x="3059" y="706"/>
                  </a:cubicBezTo>
                  <a:cubicBezTo>
                    <a:pt x="3059" y="740"/>
                    <a:pt x="3092" y="773"/>
                    <a:pt x="3092" y="807"/>
                  </a:cubicBezTo>
                  <a:cubicBezTo>
                    <a:pt x="3193" y="941"/>
                    <a:pt x="3294" y="1143"/>
                    <a:pt x="3361" y="1311"/>
                  </a:cubicBezTo>
                  <a:cubicBezTo>
                    <a:pt x="3395" y="1344"/>
                    <a:pt x="3395" y="1378"/>
                    <a:pt x="3429" y="1412"/>
                  </a:cubicBezTo>
                  <a:cubicBezTo>
                    <a:pt x="3496" y="1613"/>
                    <a:pt x="3597" y="1815"/>
                    <a:pt x="3664" y="2017"/>
                  </a:cubicBezTo>
                  <a:cubicBezTo>
                    <a:pt x="3664" y="2050"/>
                    <a:pt x="3697" y="2050"/>
                    <a:pt x="3697" y="2084"/>
                  </a:cubicBezTo>
                  <a:cubicBezTo>
                    <a:pt x="3765" y="2319"/>
                    <a:pt x="3832" y="2521"/>
                    <a:pt x="3899" y="2756"/>
                  </a:cubicBezTo>
                  <a:cubicBezTo>
                    <a:pt x="3899" y="2756"/>
                    <a:pt x="3899" y="2756"/>
                    <a:pt x="3899" y="2756"/>
                  </a:cubicBezTo>
                  <a:cubicBezTo>
                    <a:pt x="3966" y="2991"/>
                    <a:pt x="4033" y="3193"/>
                    <a:pt x="4067" y="3428"/>
                  </a:cubicBezTo>
                  <a:cubicBezTo>
                    <a:pt x="4067" y="3462"/>
                    <a:pt x="4067" y="3495"/>
                    <a:pt x="4067" y="3495"/>
                  </a:cubicBezTo>
                  <a:cubicBezTo>
                    <a:pt x="4101" y="3697"/>
                    <a:pt x="4134" y="3899"/>
                    <a:pt x="4168" y="4100"/>
                  </a:cubicBezTo>
                  <a:cubicBezTo>
                    <a:pt x="4168" y="4134"/>
                    <a:pt x="4168" y="4168"/>
                    <a:pt x="4168" y="4201"/>
                  </a:cubicBezTo>
                  <a:cubicBezTo>
                    <a:pt x="4168" y="4369"/>
                    <a:pt x="4168" y="4537"/>
                    <a:pt x="4168" y="4705"/>
                  </a:cubicBezTo>
                  <a:cubicBezTo>
                    <a:pt x="4168" y="4773"/>
                    <a:pt x="4134" y="4840"/>
                    <a:pt x="4134" y="4907"/>
                  </a:cubicBezTo>
                  <a:lnTo>
                    <a:pt x="4134" y="4907"/>
                  </a:lnTo>
                  <a:cubicBezTo>
                    <a:pt x="4134" y="4974"/>
                    <a:pt x="4101" y="5075"/>
                    <a:pt x="4067" y="5142"/>
                  </a:cubicBezTo>
                  <a:cubicBezTo>
                    <a:pt x="2924" y="7730"/>
                    <a:pt x="1782" y="10352"/>
                    <a:pt x="605" y="12973"/>
                  </a:cubicBezTo>
                  <a:cubicBezTo>
                    <a:pt x="572" y="13040"/>
                    <a:pt x="538" y="13107"/>
                    <a:pt x="505" y="13208"/>
                  </a:cubicBezTo>
                  <a:cubicBezTo>
                    <a:pt x="437" y="13343"/>
                    <a:pt x="370" y="13444"/>
                    <a:pt x="337" y="13578"/>
                  </a:cubicBezTo>
                  <a:lnTo>
                    <a:pt x="337" y="13578"/>
                  </a:lnTo>
                  <a:cubicBezTo>
                    <a:pt x="303" y="13679"/>
                    <a:pt x="269" y="13780"/>
                    <a:pt x="236" y="13880"/>
                  </a:cubicBezTo>
                  <a:cubicBezTo>
                    <a:pt x="202" y="13981"/>
                    <a:pt x="169" y="14049"/>
                    <a:pt x="169" y="14116"/>
                  </a:cubicBezTo>
                  <a:cubicBezTo>
                    <a:pt x="169" y="14116"/>
                    <a:pt x="135" y="14116"/>
                    <a:pt x="135" y="14149"/>
                  </a:cubicBezTo>
                  <a:cubicBezTo>
                    <a:pt x="135" y="14149"/>
                    <a:pt x="135" y="14183"/>
                    <a:pt x="135" y="14183"/>
                  </a:cubicBezTo>
                  <a:cubicBezTo>
                    <a:pt x="101" y="14284"/>
                    <a:pt x="101" y="14351"/>
                    <a:pt x="68" y="14452"/>
                  </a:cubicBezTo>
                  <a:lnTo>
                    <a:pt x="34" y="14586"/>
                  </a:lnTo>
                  <a:cubicBezTo>
                    <a:pt x="34" y="14620"/>
                    <a:pt x="34" y="14653"/>
                    <a:pt x="34" y="14653"/>
                  </a:cubicBezTo>
                  <a:cubicBezTo>
                    <a:pt x="34" y="14687"/>
                    <a:pt x="34" y="14721"/>
                    <a:pt x="34" y="14721"/>
                  </a:cubicBezTo>
                  <a:cubicBezTo>
                    <a:pt x="0" y="14788"/>
                    <a:pt x="34" y="14822"/>
                    <a:pt x="0" y="14855"/>
                  </a:cubicBezTo>
                  <a:cubicBezTo>
                    <a:pt x="0" y="14956"/>
                    <a:pt x="0" y="15057"/>
                    <a:pt x="0" y="15191"/>
                  </a:cubicBezTo>
                  <a:cubicBezTo>
                    <a:pt x="0" y="15225"/>
                    <a:pt x="34" y="15292"/>
                    <a:pt x="34" y="15326"/>
                  </a:cubicBezTo>
                  <a:cubicBezTo>
                    <a:pt x="34" y="15426"/>
                    <a:pt x="68" y="15527"/>
                    <a:pt x="101" y="15595"/>
                  </a:cubicBezTo>
                  <a:cubicBezTo>
                    <a:pt x="101" y="15662"/>
                    <a:pt x="135" y="15695"/>
                    <a:pt x="135" y="15729"/>
                  </a:cubicBezTo>
                  <a:cubicBezTo>
                    <a:pt x="202" y="15830"/>
                    <a:pt x="236" y="15897"/>
                    <a:pt x="303" y="15964"/>
                  </a:cubicBezTo>
                  <a:cubicBezTo>
                    <a:pt x="337" y="15998"/>
                    <a:pt x="337" y="16031"/>
                    <a:pt x="370" y="16065"/>
                  </a:cubicBezTo>
                  <a:cubicBezTo>
                    <a:pt x="471" y="16166"/>
                    <a:pt x="572" y="16267"/>
                    <a:pt x="706" y="16334"/>
                  </a:cubicBezTo>
                  <a:lnTo>
                    <a:pt x="11024" y="22350"/>
                  </a:lnTo>
                  <a:cubicBezTo>
                    <a:pt x="10890" y="22249"/>
                    <a:pt x="10789" y="22182"/>
                    <a:pt x="10688" y="22081"/>
                  </a:cubicBezTo>
                  <a:cubicBezTo>
                    <a:pt x="10654" y="22047"/>
                    <a:pt x="10621" y="22014"/>
                    <a:pt x="10621" y="21980"/>
                  </a:cubicBezTo>
                  <a:cubicBezTo>
                    <a:pt x="10554" y="21913"/>
                    <a:pt x="10486" y="21812"/>
                    <a:pt x="10453" y="21745"/>
                  </a:cubicBezTo>
                  <a:cubicBezTo>
                    <a:pt x="10453" y="21678"/>
                    <a:pt x="10419" y="21644"/>
                    <a:pt x="10419" y="21610"/>
                  </a:cubicBezTo>
                  <a:cubicBezTo>
                    <a:pt x="10386" y="21510"/>
                    <a:pt x="10352" y="21442"/>
                    <a:pt x="10352" y="21342"/>
                  </a:cubicBezTo>
                  <a:cubicBezTo>
                    <a:pt x="10318" y="21274"/>
                    <a:pt x="10318" y="21241"/>
                    <a:pt x="10318" y="21174"/>
                  </a:cubicBezTo>
                  <a:cubicBezTo>
                    <a:pt x="10318" y="21073"/>
                    <a:pt x="10318" y="20972"/>
                    <a:pt x="10318" y="20837"/>
                  </a:cubicBezTo>
                  <a:cubicBezTo>
                    <a:pt x="10318" y="20770"/>
                    <a:pt x="10318" y="20737"/>
                    <a:pt x="10352" y="20669"/>
                  </a:cubicBezTo>
                  <a:cubicBezTo>
                    <a:pt x="10352" y="20636"/>
                    <a:pt x="10352" y="20602"/>
                    <a:pt x="10352" y="20569"/>
                  </a:cubicBezTo>
                  <a:cubicBezTo>
                    <a:pt x="10386" y="20434"/>
                    <a:pt x="10419" y="20300"/>
                    <a:pt x="10453" y="20132"/>
                  </a:cubicBezTo>
                  <a:cubicBezTo>
                    <a:pt x="10453" y="20132"/>
                    <a:pt x="10453" y="20098"/>
                    <a:pt x="10453" y="20098"/>
                  </a:cubicBezTo>
                  <a:cubicBezTo>
                    <a:pt x="10520" y="19930"/>
                    <a:pt x="10554" y="19762"/>
                    <a:pt x="10654" y="19560"/>
                  </a:cubicBezTo>
                  <a:lnTo>
                    <a:pt x="10654" y="19560"/>
                  </a:lnTo>
                  <a:lnTo>
                    <a:pt x="10654" y="19560"/>
                  </a:lnTo>
                  <a:cubicBezTo>
                    <a:pt x="10722" y="19359"/>
                    <a:pt x="10789" y="19157"/>
                    <a:pt x="10890" y="18955"/>
                  </a:cubicBezTo>
                  <a:cubicBezTo>
                    <a:pt x="12100" y="16368"/>
                    <a:pt x="13242" y="13746"/>
                    <a:pt x="14385" y="11125"/>
                  </a:cubicBezTo>
                  <a:cubicBezTo>
                    <a:pt x="14385" y="11125"/>
                    <a:pt x="14385" y="11125"/>
                    <a:pt x="14385" y="11125"/>
                  </a:cubicBezTo>
                  <a:cubicBezTo>
                    <a:pt x="14385" y="11091"/>
                    <a:pt x="14385" y="11091"/>
                    <a:pt x="14385" y="11057"/>
                  </a:cubicBezTo>
                  <a:cubicBezTo>
                    <a:pt x="14385" y="11057"/>
                    <a:pt x="14419" y="11024"/>
                    <a:pt x="14419" y="11024"/>
                  </a:cubicBezTo>
                  <a:cubicBezTo>
                    <a:pt x="14419" y="10990"/>
                    <a:pt x="14419" y="10990"/>
                    <a:pt x="14419" y="10957"/>
                  </a:cubicBezTo>
                  <a:cubicBezTo>
                    <a:pt x="14419" y="10923"/>
                    <a:pt x="14452" y="10923"/>
                    <a:pt x="14452" y="10889"/>
                  </a:cubicBezTo>
                  <a:lnTo>
                    <a:pt x="14452" y="10889"/>
                  </a:lnTo>
                  <a:lnTo>
                    <a:pt x="14452" y="10889"/>
                  </a:lnTo>
                  <a:cubicBezTo>
                    <a:pt x="14452" y="10822"/>
                    <a:pt x="14452" y="10788"/>
                    <a:pt x="14486" y="10721"/>
                  </a:cubicBezTo>
                  <a:lnTo>
                    <a:pt x="14486" y="10688"/>
                  </a:lnTo>
                  <a:cubicBezTo>
                    <a:pt x="14486" y="10520"/>
                    <a:pt x="14486" y="10352"/>
                    <a:pt x="14486" y="10184"/>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16" name="Google Shape;3711;p49"/>
            <p:cNvSpPr/>
            <p:nvPr/>
          </p:nvSpPr>
          <p:spPr>
            <a:xfrm>
              <a:off x="-16829500" y="13565625"/>
              <a:ext cx="280650" cy="152950"/>
            </a:xfrm>
            <a:custGeom>
              <a:avLst/>
              <a:gdLst/>
              <a:ahLst/>
              <a:cxnLst/>
              <a:rect l="l" t="t" r="r" b="b"/>
              <a:pathLst>
                <a:path w="11226" h="6118" extrusionOk="0">
                  <a:moveTo>
                    <a:pt x="202" y="1"/>
                  </a:moveTo>
                  <a:cubicBezTo>
                    <a:pt x="135" y="34"/>
                    <a:pt x="68" y="34"/>
                    <a:pt x="1" y="68"/>
                  </a:cubicBezTo>
                  <a:lnTo>
                    <a:pt x="10318" y="6050"/>
                  </a:lnTo>
                  <a:cubicBezTo>
                    <a:pt x="10487" y="6017"/>
                    <a:pt x="10655" y="5983"/>
                    <a:pt x="10823" y="5983"/>
                  </a:cubicBezTo>
                  <a:cubicBezTo>
                    <a:pt x="10991" y="6017"/>
                    <a:pt x="11091" y="6050"/>
                    <a:pt x="11226" y="6117"/>
                  </a:cubicBezTo>
                  <a:lnTo>
                    <a:pt x="908" y="101"/>
                  </a:lnTo>
                  <a:cubicBezTo>
                    <a:pt x="874" y="101"/>
                    <a:pt x="841" y="68"/>
                    <a:pt x="807" y="68"/>
                  </a:cubicBezTo>
                  <a:cubicBezTo>
                    <a:pt x="774" y="68"/>
                    <a:pt x="774" y="34"/>
                    <a:pt x="740" y="34"/>
                  </a:cubicBezTo>
                  <a:cubicBezTo>
                    <a:pt x="706" y="34"/>
                    <a:pt x="673" y="1"/>
                    <a:pt x="639" y="1"/>
                  </a:cubicBezTo>
                  <a:close/>
                </a:path>
              </a:pathLst>
            </a:custGeom>
            <a:solidFill>
              <a:srgbClr val="A9A0B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17" name="Google Shape;3712;p49"/>
            <p:cNvSpPr/>
            <p:nvPr/>
          </p:nvSpPr>
          <p:spPr>
            <a:xfrm>
              <a:off x="-17731050" y="14896525"/>
              <a:ext cx="258800" cy="389050"/>
            </a:xfrm>
            <a:custGeom>
              <a:avLst/>
              <a:gdLst/>
              <a:ahLst/>
              <a:cxnLst/>
              <a:rect l="l" t="t" r="r" b="b"/>
              <a:pathLst>
                <a:path w="10352" h="15562" extrusionOk="0">
                  <a:moveTo>
                    <a:pt x="10352" y="15562"/>
                  </a:moveTo>
                  <a:lnTo>
                    <a:pt x="34" y="9546"/>
                  </a:lnTo>
                  <a:cubicBezTo>
                    <a:pt x="34" y="6353"/>
                    <a:pt x="1" y="3194"/>
                    <a:pt x="1" y="1"/>
                  </a:cubicBezTo>
                  <a:lnTo>
                    <a:pt x="10318" y="5983"/>
                  </a:lnTo>
                  <a:cubicBezTo>
                    <a:pt x="10318" y="9176"/>
                    <a:pt x="10318" y="12369"/>
                    <a:pt x="10352" y="15562"/>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18" name="Google Shape;3713;p49"/>
            <p:cNvSpPr/>
            <p:nvPr/>
          </p:nvSpPr>
          <p:spPr>
            <a:xfrm>
              <a:off x="-17037875" y="13567300"/>
              <a:ext cx="466350" cy="269750"/>
            </a:xfrm>
            <a:custGeom>
              <a:avLst/>
              <a:gdLst/>
              <a:ahLst/>
              <a:cxnLst/>
              <a:rect l="l" t="t" r="r" b="b"/>
              <a:pathLst>
                <a:path w="18654" h="10790" extrusionOk="0">
                  <a:moveTo>
                    <a:pt x="8336" y="1"/>
                  </a:moveTo>
                  <a:cubicBezTo>
                    <a:pt x="5546" y="1614"/>
                    <a:pt x="2790" y="3194"/>
                    <a:pt x="1" y="4807"/>
                  </a:cubicBezTo>
                  <a:lnTo>
                    <a:pt x="10319" y="10789"/>
                  </a:lnTo>
                  <a:cubicBezTo>
                    <a:pt x="13108" y="9210"/>
                    <a:pt x="15864" y="7596"/>
                    <a:pt x="18653" y="5983"/>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19" name="Google Shape;3714;p49"/>
            <p:cNvSpPr/>
            <p:nvPr/>
          </p:nvSpPr>
          <p:spPr>
            <a:xfrm>
              <a:off x="-17473100" y="13671500"/>
              <a:ext cx="1614075" cy="2050975"/>
            </a:xfrm>
            <a:custGeom>
              <a:avLst/>
              <a:gdLst/>
              <a:ahLst/>
              <a:cxnLst/>
              <a:rect l="l" t="t" r="r" b="b"/>
              <a:pathLst>
                <a:path w="64563" h="82039" extrusionOk="0">
                  <a:moveTo>
                    <a:pt x="62378" y="17342"/>
                  </a:moveTo>
                  <a:cubicBezTo>
                    <a:pt x="63185" y="17141"/>
                    <a:pt x="63823" y="17578"/>
                    <a:pt x="64529" y="17712"/>
                  </a:cubicBezTo>
                  <a:cubicBezTo>
                    <a:pt x="64563" y="20905"/>
                    <a:pt x="64563" y="24098"/>
                    <a:pt x="64563" y="27291"/>
                  </a:cubicBezTo>
                  <a:cubicBezTo>
                    <a:pt x="63958" y="28164"/>
                    <a:pt x="63420" y="29206"/>
                    <a:pt x="62714" y="29878"/>
                  </a:cubicBezTo>
                  <a:cubicBezTo>
                    <a:pt x="61739" y="30853"/>
                    <a:pt x="60698" y="31760"/>
                    <a:pt x="59656" y="32399"/>
                  </a:cubicBezTo>
                  <a:cubicBezTo>
                    <a:pt x="56597" y="34214"/>
                    <a:pt x="54581" y="36869"/>
                    <a:pt x="54043" y="40768"/>
                  </a:cubicBezTo>
                  <a:cubicBezTo>
                    <a:pt x="53942" y="41507"/>
                    <a:pt x="53909" y="42381"/>
                    <a:pt x="54178" y="42717"/>
                  </a:cubicBezTo>
                  <a:cubicBezTo>
                    <a:pt x="55320" y="44229"/>
                    <a:pt x="56597" y="45574"/>
                    <a:pt x="57841" y="46918"/>
                  </a:cubicBezTo>
                  <a:cubicBezTo>
                    <a:pt x="58446" y="47590"/>
                    <a:pt x="58379" y="48498"/>
                    <a:pt x="57606" y="49808"/>
                  </a:cubicBezTo>
                  <a:cubicBezTo>
                    <a:pt x="55925" y="52732"/>
                    <a:pt x="54245" y="55623"/>
                    <a:pt x="52564" y="58547"/>
                  </a:cubicBezTo>
                  <a:cubicBezTo>
                    <a:pt x="52127" y="59353"/>
                    <a:pt x="51691" y="59857"/>
                    <a:pt x="51220" y="60126"/>
                  </a:cubicBezTo>
                  <a:cubicBezTo>
                    <a:pt x="50817" y="60361"/>
                    <a:pt x="50380" y="60395"/>
                    <a:pt x="49909" y="60294"/>
                  </a:cubicBezTo>
                  <a:cubicBezTo>
                    <a:pt x="48968" y="60025"/>
                    <a:pt x="47859" y="60059"/>
                    <a:pt x="46985" y="59656"/>
                  </a:cubicBezTo>
                  <a:cubicBezTo>
                    <a:pt x="45775" y="59118"/>
                    <a:pt x="44599" y="59118"/>
                    <a:pt x="43288" y="59857"/>
                  </a:cubicBezTo>
                  <a:cubicBezTo>
                    <a:pt x="42415" y="60361"/>
                    <a:pt x="41507" y="61202"/>
                    <a:pt x="40499" y="62479"/>
                  </a:cubicBezTo>
                  <a:cubicBezTo>
                    <a:pt x="39558" y="63689"/>
                    <a:pt x="38986" y="64563"/>
                    <a:pt x="38818" y="65940"/>
                  </a:cubicBezTo>
                  <a:cubicBezTo>
                    <a:pt x="38516" y="68259"/>
                    <a:pt x="38079" y="70646"/>
                    <a:pt x="37777" y="72998"/>
                  </a:cubicBezTo>
                  <a:cubicBezTo>
                    <a:pt x="37608" y="74141"/>
                    <a:pt x="37205" y="75149"/>
                    <a:pt x="36264" y="75989"/>
                  </a:cubicBezTo>
                  <a:cubicBezTo>
                    <a:pt x="33575" y="77535"/>
                    <a:pt x="30887" y="79081"/>
                    <a:pt x="28232" y="80627"/>
                  </a:cubicBezTo>
                  <a:cubicBezTo>
                    <a:pt x="27257" y="80863"/>
                    <a:pt x="26887" y="80291"/>
                    <a:pt x="26719" y="79317"/>
                  </a:cubicBezTo>
                  <a:cubicBezTo>
                    <a:pt x="26518" y="78140"/>
                    <a:pt x="26081" y="77132"/>
                    <a:pt x="26081" y="75855"/>
                  </a:cubicBezTo>
                  <a:cubicBezTo>
                    <a:pt x="26014" y="72427"/>
                    <a:pt x="24568" y="71284"/>
                    <a:pt x="21712" y="72192"/>
                  </a:cubicBezTo>
                  <a:cubicBezTo>
                    <a:pt x="21510" y="72259"/>
                    <a:pt x="21275" y="72360"/>
                    <a:pt x="21039" y="72494"/>
                  </a:cubicBezTo>
                  <a:cubicBezTo>
                    <a:pt x="20703" y="72696"/>
                    <a:pt x="20334" y="72998"/>
                    <a:pt x="20065" y="73334"/>
                  </a:cubicBezTo>
                  <a:cubicBezTo>
                    <a:pt x="18317" y="75586"/>
                    <a:pt x="16603" y="77872"/>
                    <a:pt x="14990" y="80224"/>
                  </a:cubicBezTo>
                  <a:cubicBezTo>
                    <a:pt x="14452" y="80964"/>
                    <a:pt x="13982" y="81468"/>
                    <a:pt x="13545" y="81703"/>
                  </a:cubicBezTo>
                  <a:cubicBezTo>
                    <a:pt x="12973" y="82039"/>
                    <a:pt x="12436" y="82005"/>
                    <a:pt x="11864" y="81669"/>
                  </a:cubicBezTo>
                  <a:cubicBezTo>
                    <a:pt x="10352" y="80762"/>
                    <a:pt x="8840" y="79854"/>
                    <a:pt x="7260" y="79081"/>
                  </a:cubicBezTo>
                  <a:cubicBezTo>
                    <a:pt x="6184" y="78577"/>
                    <a:pt x="6218" y="77435"/>
                    <a:pt x="7025" y="75653"/>
                  </a:cubicBezTo>
                  <a:cubicBezTo>
                    <a:pt x="8201" y="73032"/>
                    <a:pt x="9344" y="70444"/>
                    <a:pt x="10486" y="67823"/>
                  </a:cubicBezTo>
                  <a:cubicBezTo>
                    <a:pt x="11058" y="66579"/>
                    <a:pt x="9512" y="62445"/>
                    <a:pt x="8571" y="62647"/>
                  </a:cubicBezTo>
                  <a:cubicBezTo>
                    <a:pt x="8403" y="62680"/>
                    <a:pt x="8201" y="62815"/>
                    <a:pt x="8033" y="62882"/>
                  </a:cubicBezTo>
                  <a:cubicBezTo>
                    <a:pt x="6050" y="63588"/>
                    <a:pt x="4067" y="64394"/>
                    <a:pt x="2151" y="64899"/>
                  </a:cubicBezTo>
                  <a:cubicBezTo>
                    <a:pt x="1378" y="65100"/>
                    <a:pt x="740" y="64663"/>
                    <a:pt x="34" y="64529"/>
                  </a:cubicBezTo>
                  <a:cubicBezTo>
                    <a:pt x="0" y="61336"/>
                    <a:pt x="0" y="58177"/>
                    <a:pt x="0" y="54984"/>
                  </a:cubicBezTo>
                  <a:cubicBezTo>
                    <a:pt x="673" y="54043"/>
                    <a:pt x="1278" y="52968"/>
                    <a:pt x="1983" y="52228"/>
                  </a:cubicBezTo>
                  <a:cubicBezTo>
                    <a:pt x="2958" y="51254"/>
                    <a:pt x="4033" y="50413"/>
                    <a:pt x="5075" y="49741"/>
                  </a:cubicBezTo>
                  <a:cubicBezTo>
                    <a:pt x="7798" y="47960"/>
                    <a:pt x="9814" y="45742"/>
                    <a:pt x="10453" y="41910"/>
                  </a:cubicBezTo>
                  <a:cubicBezTo>
                    <a:pt x="10621" y="40801"/>
                    <a:pt x="10722" y="40062"/>
                    <a:pt x="10217" y="39524"/>
                  </a:cubicBezTo>
                  <a:cubicBezTo>
                    <a:pt x="9041" y="38281"/>
                    <a:pt x="7932" y="36903"/>
                    <a:pt x="6756" y="35659"/>
                  </a:cubicBezTo>
                  <a:cubicBezTo>
                    <a:pt x="6050" y="34953"/>
                    <a:pt x="6050" y="34012"/>
                    <a:pt x="6890" y="32533"/>
                  </a:cubicBezTo>
                  <a:cubicBezTo>
                    <a:pt x="8604" y="29610"/>
                    <a:pt x="10251" y="26719"/>
                    <a:pt x="11932" y="23795"/>
                  </a:cubicBezTo>
                  <a:cubicBezTo>
                    <a:pt x="12368" y="23056"/>
                    <a:pt x="12772" y="22552"/>
                    <a:pt x="13242" y="22283"/>
                  </a:cubicBezTo>
                  <a:cubicBezTo>
                    <a:pt x="13578" y="22081"/>
                    <a:pt x="13948" y="22048"/>
                    <a:pt x="14351" y="22115"/>
                  </a:cubicBezTo>
                  <a:cubicBezTo>
                    <a:pt x="15393" y="22350"/>
                    <a:pt x="16603" y="22283"/>
                    <a:pt x="17544" y="22753"/>
                  </a:cubicBezTo>
                  <a:cubicBezTo>
                    <a:pt x="18687" y="23325"/>
                    <a:pt x="19863" y="23325"/>
                    <a:pt x="21073" y="22619"/>
                  </a:cubicBezTo>
                  <a:cubicBezTo>
                    <a:pt x="21980" y="22081"/>
                    <a:pt x="22922" y="21174"/>
                    <a:pt x="23963" y="19829"/>
                  </a:cubicBezTo>
                  <a:cubicBezTo>
                    <a:pt x="24770" y="18754"/>
                    <a:pt x="25274" y="17947"/>
                    <a:pt x="25409" y="16805"/>
                  </a:cubicBezTo>
                  <a:cubicBezTo>
                    <a:pt x="25711" y="14687"/>
                    <a:pt x="25913" y="12604"/>
                    <a:pt x="26383" y="10453"/>
                  </a:cubicBezTo>
                  <a:cubicBezTo>
                    <a:pt x="26618" y="9243"/>
                    <a:pt x="27257" y="7898"/>
                    <a:pt x="27728" y="6621"/>
                  </a:cubicBezTo>
                  <a:cubicBezTo>
                    <a:pt x="30483" y="5008"/>
                    <a:pt x="33273" y="3395"/>
                    <a:pt x="36029" y="1815"/>
                  </a:cubicBezTo>
                  <a:cubicBezTo>
                    <a:pt x="37004" y="1546"/>
                    <a:pt x="37407" y="2050"/>
                    <a:pt x="37575" y="3059"/>
                  </a:cubicBezTo>
                  <a:cubicBezTo>
                    <a:pt x="37777" y="4437"/>
                    <a:pt x="38213" y="5680"/>
                    <a:pt x="38348" y="7125"/>
                  </a:cubicBezTo>
                  <a:cubicBezTo>
                    <a:pt x="38550" y="9478"/>
                    <a:pt x="39121" y="11125"/>
                    <a:pt x="41608" y="10150"/>
                  </a:cubicBezTo>
                  <a:cubicBezTo>
                    <a:pt x="41877" y="10016"/>
                    <a:pt x="42146" y="10016"/>
                    <a:pt x="42381" y="10083"/>
                  </a:cubicBezTo>
                  <a:cubicBezTo>
                    <a:pt x="42751" y="10217"/>
                    <a:pt x="43087" y="10150"/>
                    <a:pt x="43423" y="9948"/>
                  </a:cubicBezTo>
                  <a:cubicBezTo>
                    <a:pt x="43927" y="9646"/>
                    <a:pt x="44431" y="9075"/>
                    <a:pt x="44935" y="8369"/>
                  </a:cubicBezTo>
                  <a:cubicBezTo>
                    <a:pt x="46616" y="5949"/>
                    <a:pt x="48397" y="3664"/>
                    <a:pt x="50111" y="1311"/>
                  </a:cubicBezTo>
                  <a:cubicBezTo>
                    <a:pt x="50481" y="807"/>
                    <a:pt x="50850" y="471"/>
                    <a:pt x="51186" y="269"/>
                  </a:cubicBezTo>
                  <a:cubicBezTo>
                    <a:pt x="51590" y="34"/>
                    <a:pt x="51959" y="0"/>
                    <a:pt x="52329" y="236"/>
                  </a:cubicBezTo>
                  <a:cubicBezTo>
                    <a:pt x="54144" y="1277"/>
                    <a:pt x="55992" y="2286"/>
                    <a:pt x="57706" y="3496"/>
                  </a:cubicBezTo>
                  <a:cubicBezTo>
                    <a:pt x="58043" y="3731"/>
                    <a:pt x="58076" y="4840"/>
                    <a:pt x="57841" y="5579"/>
                  </a:cubicBezTo>
                  <a:cubicBezTo>
                    <a:pt x="57270" y="7293"/>
                    <a:pt x="56597" y="9075"/>
                    <a:pt x="55690" y="10654"/>
                  </a:cubicBezTo>
                  <a:cubicBezTo>
                    <a:pt x="53606" y="14351"/>
                    <a:pt x="53472" y="17006"/>
                    <a:pt x="55085" y="18855"/>
                  </a:cubicBezTo>
                  <a:cubicBezTo>
                    <a:pt x="55589" y="19124"/>
                    <a:pt x="55992" y="19493"/>
                    <a:pt x="56530" y="19325"/>
                  </a:cubicBezTo>
                  <a:cubicBezTo>
                    <a:pt x="58446" y="18754"/>
                    <a:pt x="60462" y="17880"/>
                    <a:pt x="62378" y="17342"/>
                  </a:cubicBezTo>
                  <a:close/>
                  <a:moveTo>
                    <a:pt x="45775" y="33542"/>
                  </a:moveTo>
                  <a:cubicBezTo>
                    <a:pt x="45910" y="25106"/>
                    <a:pt x="39827" y="21275"/>
                    <a:pt x="32433" y="25509"/>
                  </a:cubicBezTo>
                  <a:cubicBezTo>
                    <a:pt x="24501" y="30080"/>
                    <a:pt x="18888" y="40499"/>
                    <a:pt x="18821" y="48699"/>
                  </a:cubicBezTo>
                  <a:cubicBezTo>
                    <a:pt x="18720" y="57269"/>
                    <a:pt x="24669" y="60866"/>
                    <a:pt x="32130" y="56732"/>
                  </a:cubicBezTo>
                  <a:cubicBezTo>
                    <a:pt x="32231" y="56698"/>
                    <a:pt x="32298" y="56631"/>
                    <a:pt x="32399" y="56597"/>
                  </a:cubicBezTo>
                  <a:cubicBezTo>
                    <a:pt x="39625" y="52430"/>
                    <a:pt x="45641" y="42078"/>
                    <a:pt x="45775" y="33542"/>
                  </a:cubicBezTo>
                  <a:close/>
                </a:path>
              </a:pathLst>
            </a:custGeom>
            <a:solidFill>
              <a:srgbClr val="BF4CA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20" name="Google Shape;3715;p49"/>
            <p:cNvSpPr/>
            <p:nvPr/>
          </p:nvSpPr>
          <p:spPr>
            <a:xfrm>
              <a:off x="-17731050" y="13687450"/>
              <a:ext cx="951150" cy="1358675"/>
            </a:xfrm>
            <a:custGeom>
              <a:avLst/>
              <a:gdLst/>
              <a:ahLst/>
              <a:cxnLst/>
              <a:rect l="l" t="t" r="r" b="b"/>
              <a:pathLst>
                <a:path w="38046" h="54347" extrusionOk="0">
                  <a:moveTo>
                    <a:pt x="27728" y="1"/>
                  </a:moveTo>
                  <a:cubicBezTo>
                    <a:pt x="27694" y="135"/>
                    <a:pt x="27627" y="270"/>
                    <a:pt x="27560" y="438"/>
                  </a:cubicBezTo>
                  <a:cubicBezTo>
                    <a:pt x="27392" y="942"/>
                    <a:pt x="27156" y="1446"/>
                    <a:pt x="26988" y="1950"/>
                  </a:cubicBezTo>
                  <a:cubicBezTo>
                    <a:pt x="26854" y="2219"/>
                    <a:pt x="26753" y="2488"/>
                    <a:pt x="26686" y="2790"/>
                  </a:cubicBezTo>
                  <a:cubicBezTo>
                    <a:pt x="26619" y="2958"/>
                    <a:pt x="26551" y="3126"/>
                    <a:pt x="26518" y="3328"/>
                  </a:cubicBezTo>
                  <a:cubicBezTo>
                    <a:pt x="26451" y="3496"/>
                    <a:pt x="26417" y="3631"/>
                    <a:pt x="26383" y="3799"/>
                  </a:cubicBezTo>
                  <a:cubicBezTo>
                    <a:pt x="26383" y="3799"/>
                    <a:pt x="26383" y="3832"/>
                    <a:pt x="26383" y="3832"/>
                  </a:cubicBezTo>
                  <a:cubicBezTo>
                    <a:pt x="26081" y="5244"/>
                    <a:pt x="25879" y="6655"/>
                    <a:pt x="25711" y="8067"/>
                  </a:cubicBezTo>
                  <a:cubicBezTo>
                    <a:pt x="25644" y="8638"/>
                    <a:pt x="25543" y="9243"/>
                    <a:pt x="25476" y="9815"/>
                  </a:cubicBezTo>
                  <a:cubicBezTo>
                    <a:pt x="25476" y="9949"/>
                    <a:pt x="25442" y="10050"/>
                    <a:pt x="25442" y="10184"/>
                  </a:cubicBezTo>
                  <a:cubicBezTo>
                    <a:pt x="25409" y="10319"/>
                    <a:pt x="25409" y="10420"/>
                    <a:pt x="25375" y="10554"/>
                  </a:cubicBezTo>
                  <a:cubicBezTo>
                    <a:pt x="25342" y="10655"/>
                    <a:pt x="25342" y="10722"/>
                    <a:pt x="25308" y="10823"/>
                  </a:cubicBezTo>
                  <a:cubicBezTo>
                    <a:pt x="25274" y="10890"/>
                    <a:pt x="25274" y="10957"/>
                    <a:pt x="25241" y="11025"/>
                  </a:cubicBezTo>
                  <a:cubicBezTo>
                    <a:pt x="25207" y="11092"/>
                    <a:pt x="25207" y="11159"/>
                    <a:pt x="25173" y="11226"/>
                  </a:cubicBezTo>
                  <a:cubicBezTo>
                    <a:pt x="25140" y="11293"/>
                    <a:pt x="25106" y="11361"/>
                    <a:pt x="25106" y="11428"/>
                  </a:cubicBezTo>
                  <a:cubicBezTo>
                    <a:pt x="25073" y="11495"/>
                    <a:pt x="25039" y="11529"/>
                    <a:pt x="25005" y="11596"/>
                  </a:cubicBezTo>
                  <a:cubicBezTo>
                    <a:pt x="24972" y="11663"/>
                    <a:pt x="24938" y="11730"/>
                    <a:pt x="24905" y="11798"/>
                  </a:cubicBezTo>
                  <a:cubicBezTo>
                    <a:pt x="24871" y="11865"/>
                    <a:pt x="24837" y="11932"/>
                    <a:pt x="24770" y="11999"/>
                  </a:cubicBezTo>
                  <a:cubicBezTo>
                    <a:pt x="24737" y="12100"/>
                    <a:pt x="24669" y="12201"/>
                    <a:pt x="24636" y="12268"/>
                  </a:cubicBezTo>
                  <a:cubicBezTo>
                    <a:pt x="24535" y="12402"/>
                    <a:pt x="24468" y="12503"/>
                    <a:pt x="24367" y="12638"/>
                  </a:cubicBezTo>
                  <a:cubicBezTo>
                    <a:pt x="24266" y="12806"/>
                    <a:pt x="24132" y="13007"/>
                    <a:pt x="23964" y="13175"/>
                  </a:cubicBezTo>
                  <a:lnTo>
                    <a:pt x="23863" y="13344"/>
                  </a:lnTo>
                  <a:cubicBezTo>
                    <a:pt x="23627" y="13612"/>
                    <a:pt x="23426" y="13881"/>
                    <a:pt x="23224" y="14117"/>
                  </a:cubicBezTo>
                  <a:cubicBezTo>
                    <a:pt x="23023" y="14352"/>
                    <a:pt x="22787" y="14587"/>
                    <a:pt x="22586" y="14822"/>
                  </a:cubicBezTo>
                  <a:cubicBezTo>
                    <a:pt x="22048" y="15326"/>
                    <a:pt x="21577" y="15696"/>
                    <a:pt x="21073" y="15999"/>
                  </a:cubicBezTo>
                  <a:cubicBezTo>
                    <a:pt x="20905" y="16099"/>
                    <a:pt x="20704" y="16200"/>
                    <a:pt x="20535" y="16267"/>
                  </a:cubicBezTo>
                  <a:cubicBezTo>
                    <a:pt x="20367" y="16335"/>
                    <a:pt x="20233" y="16368"/>
                    <a:pt x="20065" y="16435"/>
                  </a:cubicBezTo>
                  <a:cubicBezTo>
                    <a:pt x="19931" y="16469"/>
                    <a:pt x="19796" y="16503"/>
                    <a:pt x="19695" y="16503"/>
                  </a:cubicBezTo>
                  <a:cubicBezTo>
                    <a:pt x="19561" y="16536"/>
                    <a:pt x="19460" y="16536"/>
                    <a:pt x="19326" y="16536"/>
                  </a:cubicBezTo>
                  <a:cubicBezTo>
                    <a:pt x="19225" y="16536"/>
                    <a:pt x="19124" y="16536"/>
                    <a:pt x="18989" y="16536"/>
                  </a:cubicBezTo>
                  <a:cubicBezTo>
                    <a:pt x="18889" y="16536"/>
                    <a:pt x="18754" y="16503"/>
                    <a:pt x="18653" y="16503"/>
                  </a:cubicBezTo>
                  <a:cubicBezTo>
                    <a:pt x="18519" y="16469"/>
                    <a:pt x="18385" y="16435"/>
                    <a:pt x="18250" y="16402"/>
                  </a:cubicBezTo>
                  <a:cubicBezTo>
                    <a:pt x="18116" y="16368"/>
                    <a:pt x="17981" y="16301"/>
                    <a:pt x="17847" y="16267"/>
                  </a:cubicBezTo>
                  <a:cubicBezTo>
                    <a:pt x="17746" y="16200"/>
                    <a:pt x="17645" y="16167"/>
                    <a:pt x="17544" y="16133"/>
                  </a:cubicBezTo>
                  <a:cubicBezTo>
                    <a:pt x="17511" y="16099"/>
                    <a:pt x="17443" y="16066"/>
                    <a:pt x="17376" y="16066"/>
                  </a:cubicBezTo>
                  <a:cubicBezTo>
                    <a:pt x="17275" y="15999"/>
                    <a:pt x="17141" y="15965"/>
                    <a:pt x="17007" y="15931"/>
                  </a:cubicBezTo>
                  <a:cubicBezTo>
                    <a:pt x="16839" y="15864"/>
                    <a:pt x="16637" y="15831"/>
                    <a:pt x="16435" y="15797"/>
                  </a:cubicBezTo>
                  <a:cubicBezTo>
                    <a:pt x="15864" y="15696"/>
                    <a:pt x="15225" y="15663"/>
                    <a:pt x="14620" y="15562"/>
                  </a:cubicBezTo>
                  <a:cubicBezTo>
                    <a:pt x="14520" y="15528"/>
                    <a:pt x="14452" y="15528"/>
                    <a:pt x="14351" y="15494"/>
                  </a:cubicBezTo>
                  <a:cubicBezTo>
                    <a:pt x="14318" y="15494"/>
                    <a:pt x="14284" y="15494"/>
                    <a:pt x="14251" y="15461"/>
                  </a:cubicBezTo>
                  <a:cubicBezTo>
                    <a:pt x="14183" y="15461"/>
                    <a:pt x="14150" y="15461"/>
                    <a:pt x="14083" y="15461"/>
                  </a:cubicBezTo>
                  <a:cubicBezTo>
                    <a:pt x="14015" y="15461"/>
                    <a:pt x="13982" y="15461"/>
                    <a:pt x="13915" y="15461"/>
                  </a:cubicBezTo>
                  <a:cubicBezTo>
                    <a:pt x="13881" y="15461"/>
                    <a:pt x="13814" y="15461"/>
                    <a:pt x="13780" y="15461"/>
                  </a:cubicBezTo>
                  <a:cubicBezTo>
                    <a:pt x="13713" y="15494"/>
                    <a:pt x="13679" y="15494"/>
                    <a:pt x="13612" y="15494"/>
                  </a:cubicBezTo>
                  <a:cubicBezTo>
                    <a:pt x="13545" y="15528"/>
                    <a:pt x="13511" y="15528"/>
                    <a:pt x="13444" y="15562"/>
                  </a:cubicBezTo>
                  <a:cubicBezTo>
                    <a:pt x="13377" y="15595"/>
                    <a:pt x="13310" y="15629"/>
                    <a:pt x="13242" y="15663"/>
                  </a:cubicBezTo>
                  <a:cubicBezTo>
                    <a:pt x="13074" y="15763"/>
                    <a:pt x="12906" y="15898"/>
                    <a:pt x="12772" y="16032"/>
                  </a:cubicBezTo>
                  <a:cubicBezTo>
                    <a:pt x="12705" y="16099"/>
                    <a:pt x="12637" y="16167"/>
                    <a:pt x="12570" y="16234"/>
                  </a:cubicBezTo>
                  <a:cubicBezTo>
                    <a:pt x="12537" y="16301"/>
                    <a:pt x="12469" y="16368"/>
                    <a:pt x="12436" y="16402"/>
                  </a:cubicBezTo>
                  <a:cubicBezTo>
                    <a:pt x="12402" y="16469"/>
                    <a:pt x="12335" y="16536"/>
                    <a:pt x="12301" y="16604"/>
                  </a:cubicBezTo>
                  <a:cubicBezTo>
                    <a:pt x="12234" y="16704"/>
                    <a:pt x="12201" y="16772"/>
                    <a:pt x="12133" y="16839"/>
                  </a:cubicBezTo>
                  <a:cubicBezTo>
                    <a:pt x="12100" y="16940"/>
                    <a:pt x="12032" y="17007"/>
                    <a:pt x="11965" y="17108"/>
                  </a:cubicBezTo>
                  <a:lnTo>
                    <a:pt x="11932" y="17175"/>
                  </a:lnTo>
                  <a:cubicBezTo>
                    <a:pt x="10285" y="20099"/>
                    <a:pt x="8604" y="22989"/>
                    <a:pt x="6924" y="25913"/>
                  </a:cubicBezTo>
                  <a:cubicBezTo>
                    <a:pt x="6857" y="25980"/>
                    <a:pt x="6823" y="26081"/>
                    <a:pt x="6756" y="26182"/>
                  </a:cubicBezTo>
                  <a:cubicBezTo>
                    <a:pt x="6722" y="26249"/>
                    <a:pt x="6689" y="26350"/>
                    <a:pt x="6655" y="26417"/>
                  </a:cubicBezTo>
                  <a:cubicBezTo>
                    <a:pt x="6622" y="26484"/>
                    <a:pt x="6588" y="26552"/>
                    <a:pt x="6554" y="26619"/>
                  </a:cubicBezTo>
                  <a:cubicBezTo>
                    <a:pt x="6521" y="26686"/>
                    <a:pt x="6487" y="26753"/>
                    <a:pt x="6453" y="26821"/>
                  </a:cubicBezTo>
                  <a:cubicBezTo>
                    <a:pt x="6453" y="26888"/>
                    <a:pt x="6420" y="26921"/>
                    <a:pt x="6386" y="26989"/>
                  </a:cubicBezTo>
                  <a:cubicBezTo>
                    <a:pt x="6386" y="27056"/>
                    <a:pt x="6353" y="27123"/>
                    <a:pt x="6353" y="27157"/>
                  </a:cubicBezTo>
                  <a:cubicBezTo>
                    <a:pt x="6319" y="27224"/>
                    <a:pt x="6319" y="27291"/>
                    <a:pt x="6285" y="27358"/>
                  </a:cubicBezTo>
                  <a:cubicBezTo>
                    <a:pt x="6285" y="27426"/>
                    <a:pt x="6285" y="27493"/>
                    <a:pt x="6252" y="27560"/>
                  </a:cubicBezTo>
                  <a:cubicBezTo>
                    <a:pt x="6185" y="28165"/>
                    <a:pt x="6353" y="28635"/>
                    <a:pt x="6756" y="29039"/>
                  </a:cubicBezTo>
                  <a:cubicBezTo>
                    <a:pt x="7966" y="30282"/>
                    <a:pt x="9041" y="31660"/>
                    <a:pt x="10218" y="32904"/>
                  </a:cubicBezTo>
                  <a:cubicBezTo>
                    <a:pt x="10621" y="33341"/>
                    <a:pt x="10655" y="33912"/>
                    <a:pt x="10554" y="34685"/>
                  </a:cubicBezTo>
                  <a:cubicBezTo>
                    <a:pt x="10520" y="34887"/>
                    <a:pt x="10486" y="35088"/>
                    <a:pt x="10453" y="35290"/>
                  </a:cubicBezTo>
                  <a:cubicBezTo>
                    <a:pt x="10419" y="35492"/>
                    <a:pt x="10386" y="35693"/>
                    <a:pt x="10352" y="35861"/>
                  </a:cubicBezTo>
                  <a:cubicBezTo>
                    <a:pt x="10285" y="36130"/>
                    <a:pt x="10218" y="36365"/>
                    <a:pt x="10184" y="36601"/>
                  </a:cubicBezTo>
                  <a:cubicBezTo>
                    <a:pt x="10117" y="36802"/>
                    <a:pt x="10050" y="37004"/>
                    <a:pt x="9982" y="37172"/>
                  </a:cubicBezTo>
                  <a:cubicBezTo>
                    <a:pt x="9949" y="37340"/>
                    <a:pt x="9882" y="37475"/>
                    <a:pt x="9814" y="37643"/>
                  </a:cubicBezTo>
                  <a:cubicBezTo>
                    <a:pt x="9781" y="37777"/>
                    <a:pt x="9713" y="37911"/>
                    <a:pt x="9646" y="38046"/>
                  </a:cubicBezTo>
                  <a:cubicBezTo>
                    <a:pt x="9613" y="38180"/>
                    <a:pt x="9545" y="38315"/>
                    <a:pt x="9478" y="38416"/>
                  </a:cubicBezTo>
                  <a:lnTo>
                    <a:pt x="9310" y="38785"/>
                  </a:lnTo>
                  <a:cubicBezTo>
                    <a:pt x="9243" y="38886"/>
                    <a:pt x="9176" y="39021"/>
                    <a:pt x="9109" y="39121"/>
                  </a:cubicBezTo>
                  <a:cubicBezTo>
                    <a:pt x="9041" y="39256"/>
                    <a:pt x="8974" y="39357"/>
                    <a:pt x="8907" y="39457"/>
                  </a:cubicBezTo>
                  <a:cubicBezTo>
                    <a:pt x="8840" y="39592"/>
                    <a:pt x="8739" y="39693"/>
                    <a:pt x="8672" y="39827"/>
                  </a:cubicBezTo>
                  <a:cubicBezTo>
                    <a:pt x="8571" y="39962"/>
                    <a:pt x="8470" y="40096"/>
                    <a:pt x="8369" y="40197"/>
                  </a:cubicBezTo>
                  <a:cubicBezTo>
                    <a:pt x="8268" y="40365"/>
                    <a:pt x="8134" y="40499"/>
                    <a:pt x="8033" y="40667"/>
                  </a:cubicBezTo>
                  <a:cubicBezTo>
                    <a:pt x="7831" y="40869"/>
                    <a:pt x="7630" y="41071"/>
                    <a:pt x="7428" y="41272"/>
                  </a:cubicBezTo>
                  <a:cubicBezTo>
                    <a:pt x="6756" y="41978"/>
                    <a:pt x="5949" y="42583"/>
                    <a:pt x="5076" y="43121"/>
                  </a:cubicBezTo>
                  <a:cubicBezTo>
                    <a:pt x="4101" y="43759"/>
                    <a:pt x="3093" y="44566"/>
                    <a:pt x="2152" y="45473"/>
                  </a:cubicBezTo>
                  <a:cubicBezTo>
                    <a:pt x="2118" y="45507"/>
                    <a:pt x="2051" y="45574"/>
                    <a:pt x="2017" y="45608"/>
                  </a:cubicBezTo>
                  <a:cubicBezTo>
                    <a:pt x="1916" y="45709"/>
                    <a:pt x="1815" y="45809"/>
                    <a:pt x="1748" y="45910"/>
                  </a:cubicBezTo>
                  <a:cubicBezTo>
                    <a:pt x="1647" y="46011"/>
                    <a:pt x="1580" y="46112"/>
                    <a:pt x="1479" y="46246"/>
                  </a:cubicBezTo>
                  <a:cubicBezTo>
                    <a:pt x="1345" y="46381"/>
                    <a:pt x="1244" y="46549"/>
                    <a:pt x="1143" y="46683"/>
                  </a:cubicBezTo>
                  <a:cubicBezTo>
                    <a:pt x="774" y="47187"/>
                    <a:pt x="438" y="47725"/>
                    <a:pt x="101" y="48229"/>
                  </a:cubicBezTo>
                  <a:lnTo>
                    <a:pt x="1" y="48364"/>
                  </a:lnTo>
                  <a:lnTo>
                    <a:pt x="10318" y="54346"/>
                  </a:lnTo>
                  <a:lnTo>
                    <a:pt x="10419" y="54245"/>
                  </a:lnTo>
                  <a:cubicBezTo>
                    <a:pt x="10755" y="53741"/>
                    <a:pt x="11091" y="53203"/>
                    <a:pt x="11461" y="52699"/>
                  </a:cubicBezTo>
                  <a:cubicBezTo>
                    <a:pt x="11562" y="52531"/>
                    <a:pt x="11663" y="52363"/>
                    <a:pt x="11797" y="52229"/>
                  </a:cubicBezTo>
                  <a:cubicBezTo>
                    <a:pt x="11864" y="52128"/>
                    <a:pt x="11965" y="51993"/>
                    <a:pt x="12066" y="51893"/>
                  </a:cubicBezTo>
                  <a:cubicBezTo>
                    <a:pt x="12133" y="51792"/>
                    <a:pt x="12234" y="51691"/>
                    <a:pt x="12335" y="51624"/>
                  </a:cubicBezTo>
                  <a:cubicBezTo>
                    <a:pt x="12369" y="51557"/>
                    <a:pt x="12436" y="51523"/>
                    <a:pt x="12469" y="51456"/>
                  </a:cubicBezTo>
                  <a:cubicBezTo>
                    <a:pt x="13410" y="50548"/>
                    <a:pt x="14419" y="49775"/>
                    <a:pt x="15393" y="49137"/>
                  </a:cubicBezTo>
                  <a:cubicBezTo>
                    <a:pt x="16267" y="48565"/>
                    <a:pt x="17074" y="47960"/>
                    <a:pt x="17746" y="47255"/>
                  </a:cubicBezTo>
                  <a:cubicBezTo>
                    <a:pt x="17948" y="47053"/>
                    <a:pt x="18149" y="46851"/>
                    <a:pt x="18317" y="46650"/>
                  </a:cubicBezTo>
                  <a:cubicBezTo>
                    <a:pt x="18452" y="46515"/>
                    <a:pt x="18586" y="46347"/>
                    <a:pt x="18687" y="46213"/>
                  </a:cubicBezTo>
                  <a:cubicBezTo>
                    <a:pt x="18788" y="46078"/>
                    <a:pt x="18889" y="45944"/>
                    <a:pt x="18989" y="45809"/>
                  </a:cubicBezTo>
                  <a:cubicBezTo>
                    <a:pt x="19057" y="45709"/>
                    <a:pt x="19158" y="45574"/>
                    <a:pt x="19225" y="45473"/>
                  </a:cubicBezTo>
                  <a:cubicBezTo>
                    <a:pt x="19292" y="45339"/>
                    <a:pt x="19359" y="45238"/>
                    <a:pt x="19426" y="45104"/>
                  </a:cubicBezTo>
                  <a:cubicBezTo>
                    <a:pt x="19494" y="45003"/>
                    <a:pt x="19561" y="44902"/>
                    <a:pt x="19628" y="44768"/>
                  </a:cubicBezTo>
                  <a:cubicBezTo>
                    <a:pt x="19695" y="44667"/>
                    <a:pt x="19729" y="44532"/>
                    <a:pt x="19796" y="44432"/>
                  </a:cubicBezTo>
                  <a:cubicBezTo>
                    <a:pt x="19863" y="44297"/>
                    <a:pt x="19931" y="44163"/>
                    <a:pt x="19964" y="44062"/>
                  </a:cubicBezTo>
                  <a:cubicBezTo>
                    <a:pt x="20031" y="43927"/>
                    <a:pt x="20099" y="43793"/>
                    <a:pt x="20132" y="43625"/>
                  </a:cubicBezTo>
                  <a:cubicBezTo>
                    <a:pt x="20199" y="43490"/>
                    <a:pt x="20267" y="43322"/>
                    <a:pt x="20300" y="43154"/>
                  </a:cubicBezTo>
                  <a:cubicBezTo>
                    <a:pt x="20367" y="42986"/>
                    <a:pt x="20435" y="42785"/>
                    <a:pt x="20468" y="42617"/>
                  </a:cubicBezTo>
                  <a:cubicBezTo>
                    <a:pt x="20535" y="42381"/>
                    <a:pt x="20603" y="42113"/>
                    <a:pt x="20670" y="41877"/>
                  </a:cubicBezTo>
                  <a:cubicBezTo>
                    <a:pt x="20704" y="41676"/>
                    <a:pt x="20737" y="41474"/>
                    <a:pt x="20771" y="41272"/>
                  </a:cubicBezTo>
                  <a:cubicBezTo>
                    <a:pt x="20804" y="41071"/>
                    <a:pt x="20838" y="40869"/>
                    <a:pt x="20872" y="40667"/>
                  </a:cubicBezTo>
                  <a:cubicBezTo>
                    <a:pt x="20972" y="39894"/>
                    <a:pt x="20939" y="39323"/>
                    <a:pt x="20535" y="38886"/>
                  </a:cubicBezTo>
                  <a:cubicBezTo>
                    <a:pt x="19359" y="37643"/>
                    <a:pt x="18250" y="36265"/>
                    <a:pt x="17074" y="35055"/>
                  </a:cubicBezTo>
                  <a:cubicBezTo>
                    <a:pt x="16670" y="34651"/>
                    <a:pt x="16502" y="34147"/>
                    <a:pt x="16570" y="33542"/>
                  </a:cubicBezTo>
                  <a:cubicBezTo>
                    <a:pt x="16570" y="33475"/>
                    <a:pt x="16603" y="33408"/>
                    <a:pt x="16603" y="33341"/>
                  </a:cubicBezTo>
                  <a:cubicBezTo>
                    <a:pt x="16637" y="33273"/>
                    <a:pt x="16637" y="33240"/>
                    <a:pt x="16670" y="33173"/>
                  </a:cubicBezTo>
                  <a:cubicBezTo>
                    <a:pt x="16670" y="33105"/>
                    <a:pt x="16704" y="33038"/>
                    <a:pt x="16704" y="33005"/>
                  </a:cubicBezTo>
                  <a:cubicBezTo>
                    <a:pt x="16738" y="32937"/>
                    <a:pt x="16771" y="32870"/>
                    <a:pt x="16771" y="32803"/>
                  </a:cubicBezTo>
                  <a:cubicBezTo>
                    <a:pt x="16805" y="32736"/>
                    <a:pt x="16839" y="32668"/>
                    <a:pt x="16872" y="32635"/>
                  </a:cubicBezTo>
                  <a:cubicBezTo>
                    <a:pt x="16872" y="32568"/>
                    <a:pt x="16906" y="32467"/>
                    <a:pt x="16939" y="32400"/>
                  </a:cubicBezTo>
                  <a:cubicBezTo>
                    <a:pt x="17007" y="32332"/>
                    <a:pt x="17040" y="32265"/>
                    <a:pt x="17074" y="32164"/>
                  </a:cubicBezTo>
                  <a:cubicBezTo>
                    <a:pt x="17107" y="32064"/>
                    <a:pt x="17175" y="31996"/>
                    <a:pt x="17242" y="31895"/>
                  </a:cubicBezTo>
                  <a:cubicBezTo>
                    <a:pt x="18922" y="29005"/>
                    <a:pt x="20603" y="26081"/>
                    <a:pt x="22250" y="23157"/>
                  </a:cubicBezTo>
                  <a:lnTo>
                    <a:pt x="22283" y="23090"/>
                  </a:lnTo>
                  <a:cubicBezTo>
                    <a:pt x="22350" y="23023"/>
                    <a:pt x="22384" y="22922"/>
                    <a:pt x="22451" y="22855"/>
                  </a:cubicBezTo>
                  <a:cubicBezTo>
                    <a:pt x="22518" y="22754"/>
                    <a:pt x="22552" y="22687"/>
                    <a:pt x="22619" y="22619"/>
                  </a:cubicBezTo>
                  <a:cubicBezTo>
                    <a:pt x="22653" y="22552"/>
                    <a:pt x="22686" y="22485"/>
                    <a:pt x="22754" y="22418"/>
                  </a:cubicBezTo>
                  <a:cubicBezTo>
                    <a:pt x="22787" y="22351"/>
                    <a:pt x="22854" y="22283"/>
                    <a:pt x="22888" y="22216"/>
                  </a:cubicBezTo>
                  <a:cubicBezTo>
                    <a:pt x="22955" y="22149"/>
                    <a:pt x="23023" y="22082"/>
                    <a:pt x="23090" y="22048"/>
                  </a:cubicBezTo>
                  <a:cubicBezTo>
                    <a:pt x="23224" y="21880"/>
                    <a:pt x="23392" y="21746"/>
                    <a:pt x="23560" y="21678"/>
                  </a:cubicBezTo>
                  <a:cubicBezTo>
                    <a:pt x="23627" y="21611"/>
                    <a:pt x="23695" y="21578"/>
                    <a:pt x="23762" y="21578"/>
                  </a:cubicBezTo>
                  <a:cubicBezTo>
                    <a:pt x="23796" y="21544"/>
                    <a:pt x="23863" y="21510"/>
                    <a:pt x="23930" y="21510"/>
                  </a:cubicBezTo>
                  <a:cubicBezTo>
                    <a:pt x="23997" y="21477"/>
                    <a:pt x="24031" y="21477"/>
                    <a:pt x="24098" y="21477"/>
                  </a:cubicBezTo>
                  <a:cubicBezTo>
                    <a:pt x="24132" y="21443"/>
                    <a:pt x="24199" y="21443"/>
                    <a:pt x="24232" y="21443"/>
                  </a:cubicBezTo>
                  <a:cubicBezTo>
                    <a:pt x="24300" y="21443"/>
                    <a:pt x="24333" y="21443"/>
                    <a:pt x="24400" y="21443"/>
                  </a:cubicBezTo>
                  <a:cubicBezTo>
                    <a:pt x="24468" y="21443"/>
                    <a:pt x="24501" y="21443"/>
                    <a:pt x="24569" y="21477"/>
                  </a:cubicBezTo>
                  <a:cubicBezTo>
                    <a:pt x="24602" y="21477"/>
                    <a:pt x="24636" y="21477"/>
                    <a:pt x="24669" y="21477"/>
                  </a:cubicBezTo>
                  <a:cubicBezTo>
                    <a:pt x="24737" y="21510"/>
                    <a:pt x="24837" y="21544"/>
                    <a:pt x="24938" y="21544"/>
                  </a:cubicBezTo>
                  <a:cubicBezTo>
                    <a:pt x="25543" y="21645"/>
                    <a:pt x="26148" y="21678"/>
                    <a:pt x="26753" y="21779"/>
                  </a:cubicBezTo>
                  <a:cubicBezTo>
                    <a:pt x="26955" y="21813"/>
                    <a:pt x="27156" y="21846"/>
                    <a:pt x="27324" y="21914"/>
                  </a:cubicBezTo>
                  <a:cubicBezTo>
                    <a:pt x="27459" y="21947"/>
                    <a:pt x="27593" y="21981"/>
                    <a:pt x="27694" y="22048"/>
                  </a:cubicBezTo>
                  <a:cubicBezTo>
                    <a:pt x="27761" y="22082"/>
                    <a:pt x="27795" y="22082"/>
                    <a:pt x="27862" y="22115"/>
                  </a:cubicBezTo>
                  <a:cubicBezTo>
                    <a:pt x="27963" y="22183"/>
                    <a:pt x="28064" y="22216"/>
                    <a:pt x="28165" y="22250"/>
                  </a:cubicBezTo>
                  <a:cubicBezTo>
                    <a:pt x="28299" y="22317"/>
                    <a:pt x="28433" y="22351"/>
                    <a:pt x="28568" y="22418"/>
                  </a:cubicBezTo>
                  <a:cubicBezTo>
                    <a:pt x="28702" y="22451"/>
                    <a:pt x="28837" y="22485"/>
                    <a:pt x="28938" y="22485"/>
                  </a:cubicBezTo>
                  <a:cubicBezTo>
                    <a:pt x="29072" y="22519"/>
                    <a:pt x="29173" y="22519"/>
                    <a:pt x="29307" y="22519"/>
                  </a:cubicBezTo>
                  <a:cubicBezTo>
                    <a:pt x="29408" y="22552"/>
                    <a:pt x="29543" y="22552"/>
                    <a:pt x="29643" y="22519"/>
                  </a:cubicBezTo>
                  <a:cubicBezTo>
                    <a:pt x="29778" y="22519"/>
                    <a:pt x="29879" y="22519"/>
                    <a:pt x="30013" y="22519"/>
                  </a:cubicBezTo>
                  <a:cubicBezTo>
                    <a:pt x="30114" y="22485"/>
                    <a:pt x="30248" y="22451"/>
                    <a:pt x="30383" y="22418"/>
                  </a:cubicBezTo>
                  <a:cubicBezTo>
                    <a:pt x="30517" y="22384"/>
                    <a:pt x="30685" y="22317"/>
                    <a:pt x="30853" y="22250"/>
                  </a:cubicBezTo>
                  <a:cubicBezTo>
                    <a:pt x="31021" y="22183"/>
                    <a:pt x="31223" y="22082"/>
                    <a:pt x="31391" y="21981"/>
                  </a:cubicBezTo>
                  <a:cubicBezTo>
                    <a:pt x="31895" y="21712"/>
                    <a:pt x="32366" y="21309"/>
                    <a:pt x="32870" y="20805"/>
                  </a:cubicBezTo>
                  <a:cubicBezTo>
                    <a:pt x="33105" y="20603"/>
                    <a:pt x="33307" y="20368"/>
                    <a:pt x="33542" y="20099"/>
                  </a:cubicBezTo>
                  <a:cubicBezTo>
                    <a:pt x="33744" y="19864"/>
                    <a:pt x="33945" y="19628"/>
                    <a:pt x="34147" y="19359"/>
                  </a:cubicBezTo>
                  <a:lnTo>
                    <a:pt x="34281" y="19191"/>
                  </a:lnTo>
                  <a:cubicBezTo>
                    <a:pt x="34449" y="18990"/>
                    <a:pt x="34584" y="18822"/>
                    <a:pt x="34685" y="18620"/>
                  </a:cubicBezTo>
                  <a:cubicBezTo>
                    <a:pt x="34786" y="18519"/>
                    <a:pt x="34853" y="18385"/>
                    <a:pt x="34954" y="18284"/>
                  </a:cubicBezTo>
                  <a:cubicBezTo>
                    <a:pt x="34987" y="18183"/>
                    <a:pt x="35054" y="18082"/>
                    <a:pt x="35088" y="18015"/>
                  </a:cubicBezTo>
                  <a:cubicBezTo>
                    <a:pt x="35155" y="17948"/>
                    <a:pt x="35189" y="17881"/>
                    <a:pt x="35222" y="17780"/>
                  </a:cubicBezTo>
                  <a:cubicBezTo>
                    <a:pt x="35256" y="17746"/>
                    <a:pt x="35290" y="17679"/>
                    <a:pt x="35323" y="17612"/>
                  </a:cubicBezTo>
                  <a:cubicBezTo>
                    <a:pt x="35357" y="17545"/>
                    <a:pt x="35390" y="17477"/>
                    <a:pt x="35390" y="17410"/>
                  </a:cubicBezTo>
                  <a:cubicBezTo>
                    <a:pt x="35424" y="17343"/>
                    <a:pt x="35458" y="17309"/>
                    <a:pt x="35491" y="17242"/>
                  </a:cubicBezTo>
                  <a:cubicBezTo>
                    <a:pt x="35491" y="17175"/>
                    <a:pt x="35525" y="17108"/>
                    <a:pt x="35559" y="17040"/>
                  </a:cubicBezTo>
                  <a:cubicBezTo>
                    <a:pt x="35592" y="16973"/>
                    <a:pt x="35592" y="16906"/>
                    <a:pt x="35626" y="16805"/>
                  </a:cubicBezTo>
                  <a:cubicBezTo>
                    <a:pt x="35659" y="16738"/>
                    <a:pt x="35659" y="16637"/>
                    <a:pt x="35693" y="16536"/>
                  </a:cubicBezTo>
                  <a:cubicBezTo>
                    <a:pt x="35727" y="16435"/>
                    <a:pt x="35727" y="16301"/>
                    <a:pt x="35760" y="16167"/>
                  </a:cubicBezTo>
                  <a:cubicBezTo>
                    <a:pt x="35760" y="16066"/>
                    <a:pt x="35794" y="15931"/>
                    <a:pt x="35794" y="15797"/>
                  </a:cubicBezTo>
                  <a:cubicBezTo>
                    <a:pt x="35861" y="15226"/>
                    <a:pt x="35928" y="14654"/>
                    <a:pt x="36029" y="14049"/>
                  </a:cubicBezTo>
                  <a:cubicBezTo>
                    <a:pt x="36197" y="12671"/>
                    <a:pt x="36399" y="11260"/>
                    <a:pt x="36701" y="9815"/>
                  </a:cubicBezTo>
                  <a:cubicBezTo>
                    <a:pt x="36701" y="9815"/>
                    <a:pt x="36701" y="9815"/>
                    <a:pt x="36701" y="9781"/>
                  </a:cubicBezTo>
                  <a:cubicBezTo>
                    <a:pt x="36735" y="9647"/>
                    <a:pt x="36768" y="9479"/>
                    <a:pt x="36802" y="9310"/>
                  </a:cubicBezTo>
                  <a:cubicBezTo>
                    <a:pt x="36869" y="9142"/>
                    <a:pt x="36936" y="8941"/>
                    <a:pt x="36970" y="8773"/>
                  </a:cubicBezTo>
                  <a:cubicBezTo>
                    <a:pt x="37071" y="8504"/>
                    <a:pt x="37172" y="8201"/>
                    <a:pt x="37273" y="7933"/>
                  </a:cubicBezTo>
                  <a:cubicBezTo>
                    <a:pt x="37474" y="7428"/>
                    <a:pt x="37676" y="6924"/>
                    <a:pt x="37878" y="6420"/>
                  </a:cubicBezTo>
                  <a:cubicBezTo>
                    <a:pt x="37945" y="6286"/>
                    <a:pt x="37978" y="6118"/>
                    <a:pt x="38046" y="5983"/>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21" name="Google Shape;3716;p49"/>
            <p:cNvSpPr/>
            <p:nvPr/>
          </p:nvSpPr>
          <p:spPr>
            <a:xfrm>
              <a:off x="-16041375" y="12552950"/>
              <a:ext cx="399100" cy="367100"/>
            </a:xfrm>
            <a:custGeom>
              <a:avLst/>
              <a:gdLst/>
              <a:ahLst/>
              <a:cxnLst/>
              <a:rect l="l" t="t" r="r" b="b"/>
              <a:pathLst>
                <a:path w="15964" h="14684" extrusionOk="0">
                  <a:moveTo>
                    <a:pt x="8732" y="0"/>
                  </a:moveTo>
                  <a:cubicBezTo>
                    <a:pt x="7271" y="0"/>
                    <a:pt x="5742" y="419"/>
                    <a:pt x="4504" y="1185"/>
                  </a:cubicBezTo>
                  <a:cubicBezTo>
                    <a:pt x="1" y="3975"/>
                    <a:pt x="7092" y="8747"/>
                    <a:pt x="7092" y="8747"/>
                  </a:cubicBezTo>
                  <a:lnTo>
                    <a:pt x="11862" y="10778"/>
                  </a:lnTo>
                  <a:lnTo>
                    <a:pt x="11862" y="10778"/>
                  </a:lnTo>
                  <a:cubicBezTo>
                    <a:pt x="11979" y="10550"/>
                    <a:pt x="12103" y="10310"/>
                    <a:pt x="12234" y="10058"/>
                  </a:cubicBezTo>
                  <a:cubicBezTo>
                    <a:pt x="15963" y="2917"/>
                    <a:pt x="12587" y="0"/>
                    <a:pt x="8732" y="0"/>
                  </a:cubicBezTo>
                  <a:close/>
                  <a:moveTo>
                    <a:pt x="11862" y="10778"/>
                  </a:moveTo>
                  <a:lnTo>
                    <a:pt x="11862" y="10778"/>
                  </a:lnTo>
                  <a:cubicBezTo>
                    <a:pt x="10348" y="13712"/>
                    <a:pt x="9909" y="14683"/>
                    <a:pt x="9990" y="14683"/>
                  </a:cubicBezTo>
                  <a:cubicBezTo>
                    <a:pt x="10149" y="14683"/>
                    <a:pt x="12301" y="10966"/>
                    <a:pt x="12301" y="10966"/>
                  </a:cubicBezTo>
                  <a:lnTo>
                    <a:pt x="11862" y="10778"/>
                  </a:lnTo>
                  <a:close/>
                </a:path>
              </a:pathLst>
            </a:custGeom>
            <a:solidFill>
              <a:srgbClr val="C968B7"/>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22" name="Google Shape;3717;p49"/>
            <p:cNvSpPr/>
            <p:nvPr/>
          </p:nvSpPr>
          <p:spPr>
            <a:xfrm>
              <a:off x="-16281675" y="15482900"/>
              <a:ext cx="347025" cy="222875"/>
            </a:xfrm>
            <a:custGeom>
              <a:avLst/>
              <a:gdLst/>
              <a:ahLst/>
              <a:cxnLst/>
              <a:rect l="l" t="t" r="r" b="b"/>
              <a:pathLst>
                <a:path w="13881" h="8915" extrusionOk="0">
                  <a:moveTo>
                    <a:pt x="11498" y="0"/>
                  </a:moveTo>
                  <a:cubicBezTo>
                    <a:pt x="10684" y="0"/>
                    <a:pt x="9506" y="626"/>
                    <a:pt x="7495" y="2223"/>
                  </a:cubicBezTo>
                  <a:cubicBezTo>
                    <a:pt x="3966" y="5012"/>
                    <a:pt x="0" y="7130"/>
                    <a:pt x="1614" y="8608"/>
                  </a:cubicBezTo>
                  <a:cubicBezTo>
                    <a:pt x="1844" y="8818"/>
                    <a:pt x="2186" y="8915"/>
                    <a:pt x="2615" y="8915"/>
                  </a:cubicBezTo>
                  <a:cubicBezTo>
                    <a:pt x="4315" y="8915"/>
                    <a:pt x="7379" y="7395"/>
                    <a:pt x="10251" y="5382"/>
                  </a:cubicBezTo>
                  <a:cubicBezTo>
                    <a:pt x="13881" y="2861"/>
                    <a:pt x="13780" y="2055"/>
                    <a:pt x="12839" y="811"/>
                  </a:cubicBezTo>
                  <a:cubicBezTo>
                    <a:pt x="12464" y="311"/>
                    <a:pt x="12071" y="0"/>
                    <a:pt x="11498" y="0"/>
                  </a:cubicBezTo>
                  <a:close/>
                </a:path>
              </a:pathLst>
            </a:custGeom>
            <a:solidFill>
              <a:srgbClr val="240D4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23" name="Google Shape;3718;p49"/>
            <p:cNvSpPr/>
            <p:nvPr/>
          </p:nvSpPr>
          <p:spPr>
            <a:xfrm>
              <a:off x="-16185050" y="15479475"/>
              <a:ext cx="245375" cy="152275"/>
            </a:xfrm>
            <a:custGeom>
              <a:avLst/>
              <a:gdLst/>
              <a:ahLst/>
              <a:cxnLst/>
              <a:rect l="l" t="t" r="r" b="b"/>
              <a:pathLst>
                <a:path w="9815" h="6091" extrusionOk="0">
                  <a:moveTo>
                    <a:pt x="7865" y="1"/>
                  </a:moveTo>
                  <a:cubicBezTo>
                    <a:pt x="6776" y="1"/>
                    <a:pt x="5019" y="1180"/>
                    <a:pt x="3630" y="2360"/>
                  </a:cubicBezTo>
                  <a:cubicBezTo>
                    <a:pt x="1815" y="3872"/>
                    <a:pt x="0" y="5385"/>
                    <a:pt x="471" y="5922"/>
                  </a:cubicBezTo>
                  <a:cubicBezTo>
                    <a:pt x="579" y="6038"/>
                    <a:pt x="769" y="6091"/>
                    <a:pt x="1020" y="6091"/>
                  </a:cubicBezTo>
                  <a:cubicBezTo>
                    <a:pt x="1939" y="6091"/>
                    <a:pt x="3678" y="5372"/>
                    <a:pt x="5210" y="4343"/>
                  </a:cubicBezTo>
                  <a:cubicBezTo>
                    <a:pt x="6689" y="3402"/>
                    <a:pt x="9814" y="1721"/>
                    <a:pt x="8604" y="310"/>
                  </a:cubicBezTo>
                  <a:cubicBezTo>
                    <a:pt x="8427" y="95"/>
                    <a:pt x="8172" y="1"/>
                    <a:pt x="7865" y="1"/>
                  </a:cubicBezTo>
                  <a:close/>
                </a:path>
              </a:pathLst>
            </a:custGeom>
            <a:solidFill>
              <a:srgbClr val="ECCA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24" name="Google Shape;3719;p49"/>
            <p:cNvSpPr/>
            <p:nvPr/>
          </p:nvSpPr>
          <p:spPr>
            <a:xfrm>
              <a:off x="-15951475" y="15613400"/>
              <a:ext cx="341150" cy="248300"/>
            </a:xfrm>
            <a:custGeom>
              <a:avLst/>
              <a:gdLst/>
              <a:ahLst/>
              <a:cxnLst/>
              <a:rect l="l" t="t" r="r" b="b"/>
              <a:pathLst>
                <a:path w="13646" h="9932" extrusionOk="0">
                  <a:moveTo>
                    <a:pt x="11264" y="0"/>
                  </a:moveTo>
                  <a:cubicBezTo>
                    <a:pt x="10450" y="0"/>
                    <a:pt x="9284" y="703"/>
                    <a:pt x="7294" y="2515"/>
                  </a:cubicBezTo>
                  <a:cubicBezTo>
                    <a:pt x="3899" y="5640"/>
                    <a:pt x="1" y="8026"/>
                    <a:pt x="1614" y="9606"/>
                  </a:cubicBezTo>
                  <a:cubicBezTo>
                    <a:pt x="1843" y="9829"/>
                    <a:pt x="2172" y="9932"/>
                    <a:pt x="2580" y="9932"/>
                  </a:cubicBezTo>
                  <a:cubicBezTo>
                    <a:pt x="4261" y="9932"/>
                    <a:pt x="7276" y="8182"/>
                    <a:pt x="10117" y="5909"/>
                  </a:cubicBezTo>
                  <a:cubicBezTo>
                    <a:pt x="13646" y="3086"/>
                    <a:pt x="13545" y="2178"/>
                    <a:pt x="12604" y="868"/>
                  </a:cubicBezTo>
                  <a:cubicBezTo>
                    <a:pt x="12220" y="333"/>
                    <a:pt x="11825" y="0"/>
                    <a:pt x="11264" y="0"/>
                  </a:cubicBezTo>
                  <a:close/>
                </a:path>
              </a:pathLst>
            </a:custGeom>
            <a:solidFill>
              <a:srgbClr val="240D4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25" name="Google Shape;3720;p49"/>
            <p:cNvSpPr/>
            <p:nvPr/>
          </p:nvSpPr>
          <p:spPr>
            <a:xfrm>
              <a:off x="-15857375" y="15609825"/>
              <a:ext cx="242025" cy="169825"/>
            </a:xfrm>
            <a:custGeom>
              <a:avLst/>
              <a:gdLst/>
              <a:ahLst/>
              <a:cxnLst/>
              <a:rect l="l" t="t" r="r" b="b"/>
              <a:pathLst>
                <a:path w="9681" h="6793" extrusionOk="0">
                  <a:moveTo>
                    <a:pt x="7766" y="1"/>
                  </a:moveTo>
                  <a:cubicBezTo>
                    <a:pt x="6682" y="1"/>
                    <a:pt x="4938" y="1329"/>
                    <a:pt x="3530" y="2658"/>
                  </a:cubicBezTo>
                  <a:cubicBezTo>
                    <a:pt x="1782" y="4338"/>
                    <a:pt x="1" y="6052"/>
                    <a:pt x="505" y="6623"/>
                  </a:cubicBezTo>
                  <a:cubicBezTo>
                    <a:pt x="600" y="6739"/>
                    <a:pt x="769" y="6793"/>
                    <a:pt x="993" y="6793"/>
                  </a:cubicBezTo>
                  <a:cubicBezTo>
                    <a:pt x="1875" y="6793"/>
                    <a:pt x="3622" y="5961"/>
                    <a:pt x="5177" y="4809"/>
                  </a:cubicBezTo>
                  <a:cubicBezTo>
                    <a:pt x="6588" y="3733"/>
                    <a:pt x="9680" y="1851"/>
                    <a:pt x="8470" y="305"/>
                  </a:cubicBezTo>
                  <a:cubicBezTo>
                    <a:pt x="8294" y="94"/>
                    <a:pt x="8053" y="1"/>
                    <a:pt x="7766" y="1"/>
                  </a:cubicBezTo>
                  <a:close/>
                </a:path>
              </a:pathLst>
            </a:custGeom>
            <a:solidFill>
              <a:srgbClr val="ECCA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26" name="Google Shape;3721;p49"/>
            <p:cNvSpPr/>
            <p:nvPr/>
          </p:nvSpPr>
          <p:spPr>
            <a:xfrm>
              <a:off x="-16182525" y="13888275"/>
              <a:ext cx="605825" cy="1764475"/>
            </a:xfrm>
            <a:custGeom>
              <a:avLst/>
              <a:gdLst/>
              <a:ahLst/>
              <a:cxnLst/>
              <a:rect l="l" t="t" r="r" b="b"/>
              <a:pathLst>
                <a:path w="24233" h="70579" extrusionOk="0">
                  <a:moveTo>
                    <a:pt x="4470" y="0"/>
                  </a:moveTo>
                  <a:cubicBezTo>
                    <a:pt x="4470" y="0"/>
                    <a:pt x="0" y="9612"/>
                    <a:pt x="5310" y="64159"/>
                  </a:cubicBezTo>
                  <a:cubicBezTo>
                    <a:pt x="5310" y="64159"/>
                    <a:pt x="6722" y="65638"/>
                    <a:pt x="9680" y="63958"/>
                  </a:cubicBezTo>
                  <a:cubicBezTo>
                    <a:pt x="9680" y="63958"/>
                    <a:pt x="11226" y="34012"/>
                    <a:pt x="11797" y="20199"/>
                  </a:cubicBezTo>
                  <a:cubicBezTo>
                    <a:pt x="11797" y="20199"/>
                    <a:pt x="12368" y="11999"/>
                    <a:pt x="18015" y="69873"/>
                  </a:cubicBezTo>
                  <a:cubicBezTo>
                    <a:pt x="18015" y="69873"/>
                    <a:pt x="19561" y="70579"/>
                    <a:pt x="22249" y="69167"/>
                  </a:cubicBezTo>
                  <a:cubicBezTo>
                    <a:pt x="22249" y="69167"/>
                    <a:pt x="24232" y="38247"/>
                    <a:pt x="23358" y="18015"/>
                  </a:cubicBezTo>
                  <a:cubicBezTo>
                    <a:pt x="23022" y="10150"/>
                    <a:pt x="22249" y="3899"/>
                    <a:pt x="20770" y="1714"/>
                  </a:cubicBezTo>
                  <a:lnTo>
                    <a:pt x="11394" y="5714"/>
                  </a:ln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27" name="Google Shape;3722;p49"/>
            <p:cNvSpPr/>
            <p:nvPr/>
          </p:nvSpPr>
          <p:spPr>
            <a:xfrm>
              <a:off x="-15895175" y="12764500"/>
              <a:ext cx="167225" cy="67650"/>
            </a:xfrm>
            <a:custGeom>
              <a:avLst/>
              <a:gdLst/>
              <a:ahLst/>
              <a:cxnLst/>
              <a:rect l="l" t="t" r="r" b="b"/>
              <a:pathLst>
                <a:path w="6689" h="2706" extrusionOk="0">
                  <a:moveTo>
                    <a:pt x="2720" y="0"/>
                  </a:moveTo>
                  <a:cubicBezTo>
                    <a:pt x="1199" y="0"/>
                    <a:pt x="269" y="857"/>
                    <a:pt x="269" y="857"/>
                  </a:cubicBezTo>
                  <a:cubicBezTo>
                    <a:pt x="0" y="1126"/>
                    <a:pt x="0" y="1495"/>
                    <a:pt x="236" y="1764"/>
                  </a:cubicBezTo>
                  <a:cubicBezTo>
                    <a:pt x="362" y="1890"/>
                    <a:pt x="536" y="1958"/>
                    <a:pt x="707" y="1958"/>
                  </a:cubicBezTo>
                  <a:cubicBezTo>
                    <a:pt x="855" y="1958"/>
                    <a:pt x="1000" y="1907"/>
                    <a:pt x="1110" y="1798"/>
                  </a:cubicBezTo>
                  <a:cubicBezTo>
                    <a:pt x="1167" y="1760"/>
                    <a:pt x="1734" y="1266"/>
                    <a:pt x="2707" y="1266"/>
                  </a:cubicBezTo>
                  <a:cubicBezTo>
                    <a:pt x="3446" y="1266"/>
                    <a:pt x="4419" y="1551"/>
                    <a:pt x="5579" y="2537"/>
                  </a:cubicBezTo>
                  <a:cubicBezTo>
                    <a:pt x="5680" y="2672"/>
                    <a:pt x="5848" y="2705"/>
                    <a:pt x="5983" y="2705"/>
                  </a:cubicBezTo>
                  <a:cubicBezTo>
                    <a:pt x="6151" y="2705"/>
                    <a:pt x="6352" y="2638"/>
                    <a:pt x="6453" y="2504"/>
                  </a:cubicBezTo>
                  <a:cubicBezTo>
                    <a:pt x="6689" y="2235"/>
                    <a:pt x="6655" y="1831"/>
                    <a:pt x="6386" y="1596"/>
                  </a:cubicBezTo>
                  <a:cubicBezTo>
                    <a:pt x="4973" y="370"/>
                    <a:pt x="3719" y="0"/>
                    <a:pt x="2720"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28" name="Google Shape;3723;p49"/>
            <p:cNvSpPr/>
            <p:nvPr/>
          </p:nvSpPr>
          <p:spPr>
            <a:xfrm>
              <a:off x="-16190925" y="13283550"/>
              <a:ext cx="592375" cy="747525"/>
            </a:xfrm>
            <a:custGeom>
              <a:avLst/>
              <a:gdLst/>
              <a:ahLst/>
              <a:cxnLst/>
              <a:rect l="l" t="t" r="r" b="b"/>
              <a:pathLst>
                <a:path w="23695" h="29901" extrusionOk="0">
                  <a:moveTo>
                    <a:pt x="15466" y="1"/>
                  </a:moveTo>
                  <a:cubicBezTo>
                    <a:pt x="12655" y="1"/>
                    <a:pt x="8949" y="1699"/>
                    <a:pt x="8738" y="2041"/>
                  </a:cubicBezTo>
                  <a:cubicBezTo>
                    <a:pt x="7764" y="3587"/>
                    <a:pt x="4705" y="7687"/>
                    <a:pt x="3932" y="8931"/>
                  </a:cubicBezTo>
                  <a:cubicBezTo>
                    <a:pt x="0" y="15451"/>
                    <a:pt x="5210" y="18980"/>
                    <a:pt x="5210" y="18980"/>
                  </a:cubicBezTo>
                  <a:cubicBezTo>
                    <a:pt x="4437" y="23383"/>
                    <a:pt x="4168" y="25668"/>
                    <a:pt x="4168" y="25668"/>
                  </a:cubicBezTo>
                  <a:cubicBezTo>
                    <a:pt x="7489" y="28846"/>
                    <a:pt x="10695" y="29900"/>
                    <a:pt x="13411" y="29900"/>
                  </a:cubicBezTo>
                  <a:cubicBezTo>
                    <a:pt x="18336" y="29900"/>
                    <a:pt x="21648" y="26433"/>
                    <a:pt x="21106" y="25870"/>
                  </a:cubicBezTo>
                  <a:cubicBezTo>
                    <a:pt x="20401" y="21635"/>
                    <a:pt x="23694" y="8091"/>
                    <a:pt x="23694" y="5570"/>
                  </a:cubicBezTo>
                  <a:cubicBezTo>
                    <a:pt x="23694" y="5570"/>
                    <a:pt x="21442" y="2915"/>
                    <a:pt x="17510" y="462"/>
                  </a:cubicBezTo>
                  <a:cubicBezTo>
                    <a:pt x="16961" y="132"/>
                    <a:pt x="16248" y="1"/>
                    <a:pt x="15466" y="1"/>
                  </a:cubicBezTo>
                  <a:close/>
                </a:path>
              </a:pathLst>
            </a:custGeom>
            <a:solidFill>
              <a:srgbClr val="A96EEC"/>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29" name="Google Shape;3724;p49"/>
            <p:cNvSpPr/>
            <p:nvPr/>
          </p:nvSpPr>
          <p:spPr>
            <a:xfrm>
              <a:off x="-16056500" y="12829600"/>
              <a:ext cx="363850" cy="599450"/>
            </a:xfrm>
            <a:custGeom>
              <a:avLst/>
              <a:gdLst/>
              <a:ahLst/>
              <a:cxnLst/>
              <a:rect l="l" t="t" r="r" b="b"/>
              <a:pathLst>
                <a:path w="14554" h="23978" extrusionOk="0">
                  <a:moveTo>
                    <a:pt x="7294" y="0"/>
                  </a:moveTo>
                  <a:cubicBezTo>
                    <a:pt x="3261" y="0"/>
                    <a:pt x="1" y="4101"/>
                    <a:pt x="1" y="9108"/>
                  </a:cubicBezTo>
                  <a:cubicBezTo>
                    <a:pt x="1" y="14049"/>
                    <a:pt x="1983" y="19191"/>
                    <a:pt x="5815" y="19426"/>
                  </a:cubicBezTo>
                  <a:lnTo>
                    <a:pt x="5748" y="21913"/>
                  </a:lnTo>
                  <a:cubicBezTo>
                    <a:pt x="5748" y="21913"/>
                    <a:pt x="6565" y="23977"/>
                    <a:pt x="8046" y="23977"/>
                  </a:cubicBezTo>
                  <a:cubicBezTo>
                    <a:pt x="9185" y="23977"/>
                    <a:pt x="10716" y="22759"/>
                    <a:pt x="12570" y="18452"/>
                  </a:cubicBezTo>
                  <a:lnTo>
                    <a:pt x="13007" y="14452"/>
                  </a:lnTo>
                  <a:cubicBezTo>
                    <a:pt x="13948" y="12805"/>
                    <a:pt x="14553" y="10957"/>
                    <a:pt x="14553" y="9108"/>
                  </a:cubicBezTo>
                  <a:cubicBezTo>
                    <a:pt x="14553" y="4101"/>
                    <a:pt x="11293" y="0"/>
                    <a:pt x="7294" y="0"/>
                  </a:cubicBezTo>
                  <a:close/>
                </a:path>
              </a:pathLst>
            </a:custGeom>
            <a:solidFill>
              <a:srgbClr val="ECCA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30" name="Google Shape;3725;p49"/>
            <p:cNvSpPr/>
            <p:nvPr/>
          </p:nvSpPr>
          <p:spPr>
            <a:xfrm>
              <a:off x="-16564825" y="13591675"/>
              <a:ext cx="888975" cy="526825"/>
            </a:xfrm>
            <a:custGeom>
              <a:avLst/>
              <a:gdLst/>
              <a:ahLst/>
              <a:cxnLst/>
              <a:rect l="l" t="t" r="r" b="b"/>
              <a:pathLst>
                <a:path w="35559" h="21073" extrusionOk="0">
                  <a:moveTo>
                    <a:pt x="30954" y="0"/>
                  </a:moveTo>
                  <a:cubicBezTo>
                    <a:pt x="30046" y="2017"/>
                    <a:pt x="27929" y="4807"/>
                    <a:pt x="25812" y="9310"/>
                  </a:cubicBezTo>
                  <a:lnTo>
                    <a:pt x="11226" y="15460"/>
                  </a:lnTo>
                  <a:cubicBezTo>
                    <a:pt x="11125" y="15483"/>
                    <a:pt x="11006" y="15494"/>
                    <a:pt x="10873" y="15494"/>
                  </a:cubicBezTo>
                  <a:cubicBezTo>
                    <a:pt x="9630" y="15494"/>
                    <a:pt x="7132" y="14578"/>
                    <a:pt x="6252" y="14183"/>
                  </a:cubicBezTo>
                  <a:cubicBezTo>
                    <a:pt x="5030" y="13643"/>
                    <a:pt x="3890" y="13332"/>
                    <a:pt x="3246" y="13332"/>
                  </a:cubicBezTo>
                  <a:cubicBezTo>
                    <a:pt x="2969" y="13332"/>
                    <a:pt x="2783" y="13390"/>
                    <a:pt x="2723" y="13511"/>
                  </a:cubicBezTo>
                  <a:cubicBezTo>
                    <a:pt x="2521" y="13914"/>
                    <a:pt x="3765" y="14889"/>
                    <a:pt x="5479" y="15696"/>
                  </a:cubicBezTo>
                  <a:cubicBezTo>
                    <a:pt x="2588" y="16267"/>
                    <a:pt x="0" y="16738"/>
                    <a:pt x="303" y="18149"/>
                  </a:cubicBezTo>
                  <a:cubicBezTo>
                    <a:pt x="569" y="19390"/>
                    <a:pt x="2575" y="21073"/>
                    <a:pt x="5021" y="21073"/>
                  </a:cubicBezTo>
                  <a:cubicBezTo>
                    <a:pt x="5357" y="21073"/>
                    <a:pt x="5701" y="21041"/>
                    <a:pt x="6050" y="20972"/>
                  </a:cubicBezTo>
                  <a:cubicBezTo>
                    <a:pt x="6851" y="20805"/>
                    <a:pt x="10769" y="18350"/>
                    <a:pt x="10855" y="18350"/>
                  </a:cubicBezTo>
                  <a:cubicBezTo>
                    <a:pt x="10855" y="18350"/>
                    <a:pt x="10856" y="18351"/>
                    <a:pt x="10856" y="18351"/>
                  </a:cubicBezTo>
                  <a:cubicBezTo>
                    <a:pt x="10856" y="18351"/>
                    <a:pt x="23560" y="16536"/>
                    <a:pt x="27459" y="14183"/>
                  </a:cubicBezTo>
                  <a:cubicBezTo>
                    <a:pt x="27459" y="14183"/>
                    <a:pt x="32130" y="9949"/>
                    <a:pt x="35558" y="5647"/>
                  </a:cubicBezTo>
                  <a:cubicBezTo>
                    <a:pt x="33575" y="3160"/>
                    <a:pt x="33508" y="1782"/>
                    <a:pt x="30954" y="0"/>
                  </a:cubicBezTo>
                  <a:close/>
                </a:path>
              </a:pathLst>
            </a:custGeom>
            <a:solidFill>
              <a:srgbClr val="ECCA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31" name="Google Shape;3726;p49"/>
            <p:cNvSpPr/>
            <p:nvPr/>
          </p:nvSpPr>
          <p:spPr>
            <a:xfrm>
              <a:off x="-15827950" y="13392800"/>
              <a:ext cx="253750" cy="389625"/>
            </a:xfrm>
            <a:custGeom>
              <a:avLst/>
              <a:gdLst/>
              <a:ahLst/>
              <a:cxnLst/>
              <a:rect l="l" t="t" r="r" b="b"/>
              <a:pathLst>
                <a:path w="10150" h="15585" extrusionOk="0">
                  <a:moveTo>
                    <a:pt x="7691" y="0"/>
                  </a:moveTo>
                  <a:cubicBezTo>
                    <a:pt x="6980" y="0"/>
                    <a:pt x="6062" y="503"/>
                    <a:pt x="4907" y="1704"/>
                  </a:cubicBezTo>
                  <a:cubicBezTo>
                    <a:pt x="2790" y="3956"/>
                    <a:pt x="1277" y="6846"/>
                    <a:pt x="0" y="9670"/>
                  </a:cubicBezTo>
                  <a:cubicBezTo>
                    <a:pt x="0" y="9670"/>
                    <a:pt x="2689" y="14308"/>
                    <a:pt x="6352" y="15585"/>
                  </a:cubicBezTo>
                  <a:cubicBezTo>
                    <a:pt x="6251" y="15450"/>
                    <a:pt x="9175" y="9233"/>
                    <a:pt x="9377" y="8560"/>
                  </a:cubicBezTo>
                  <a:cubicBezTo>
                    <a:pt x="10150" y="6208"/>
                    <a:pt x="10150" y="1503"/>
                    <a:pt x="8537" y="293"/>
                  </a:cubicBezTo>
                  <a:cubicBezTo>
                    <a:pt x="8295" y="104"/>
                    <a:pt x="8014" y="0"/>
                    <a:pt x="7691" y="0"/>
                  </a:cubicBezTo>
                  <a:close/>
                </a:path>
              </a:pathLst>
            </a:custGeom>
            <a:solidFill>
              <a:srgbClr val="9E5DE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32" name="Google Shape;3727;p49"/>
            <p:cNvSpPr/>
            <p:nvPr/>
          </p:nvSpPr>
          <p:spPr>
            <a:xfrm>
              <a:off x="-16063225" y="12795700"/>
              <a:ext cx="428425" cy="391850"/>
            </a:xfrm>
            <a:custGeom>
              <a:avLst/>
              <a:gdLst/>
              <a:ahLst/>
              <a:cxnLst/>
              <a:rect l="l" t="t" r="r" b="b"/>
              <a:pathLst>
                <a:path w="17137" h="15674" extrusionOk="0">
                  <a:moveTo>
                    <a:pt x="8749" y="0"/>
                  </a:moveTo>
                  <a:cubicBezTo>
                    <a:pt x="6367" y="0"/>
                    <a:pt x="3955" y="821"/>
                    <a:pt x="2488" y="2365"/>
                  </a:cubicBezTo>
                  <a:cubicBezTo>
                    <a:pt x="1513" y="3407"/>
                    <a:pt x="1" y="6599"/>
                    <a:pt x="538" y="7977"/>
                  </a:cubicBezTo>
                  <a:cubicBezTo>
                    <a:pt x="1379" y="10162"/>
                    <a:pt x="3563" y="10968"/>
                    <a:pt x="5849" y="11641"/>
                  </a:cubicBezTo>
                  <a:cubicBezTo>
                    <a:pt x="8302" y="12380"/>
                    <a:pt x="10890" y="13019"/>
                    <a:pt x="12066" y="15136"/>
                  </a:cubicBezTo>
                  <a:cubicBezTo>
                    <a:pt x="12100" y="15136"/>
                    <a:pt x="12100" y="15102"/>
                    <a:pt x="12133" y="15069"/>
                  </a:cubicBezTo>
                  <a:cubicBezTo>
                    <a:pt x="12940" y="14229"/>
                    <a:pt x="12772" y="12783"/>
                    <a:pt x="12638" y="10027"/>
                  </a:cubicBezTo>
                  <a:cubicBezTo>
                    <a:pt x="13378" y="9040"/>
                    <a:pt x="13870" y="8642"/>
                    <a:pt x="14181" y="8642"/>
                  </a:cubicBezTo>
                  <a:cubicBezTo>
                    <a:pt x="15436" y="8642"/>
                    <a:pt x="13765" y="15111"/>
                    <a:pt x="13622" y="15640"/>
                  </a:cubicBezTo>
                  <a:lnTo>
                    <a:pt x="13622" y="15640"/>
                  </a:lnTo>
                  <a:cubicBezTo>
                    <a:pt x="14669" y="11917"/>
                    <a:pt x="17136" y="7596"/>
                    <a:pt x="15494" y="3709"/>
                  </a:cubicBezTo>
                  <a:cubicBezTo>
                    <a:pt x="14413" y="1180"/>
                    <a:pt x="11603" y="0"/>
                    <a:pt x="8749" y="0"/>
                  </a:cubicBezTo>
                  <a:close/>
                  <a:moveTo>
                    <a:pt x="13622" y="15640"/>
                  </a:moveTo>
                  <a:lnTo>
                    <a:pt x="13622" y="15640"/>
                  </a:lnTo>
                  <a:cubicBezTo>
                    <a:pt x="13618" y="15651"/>
                    <a:pt x="13615" y="15663"/>
                    <a:pt x="13612" y="15674"/>
                  </a:cubicBezTo>
                  <a:cubicBezTo>
                    <a:pt x="13613" y="15671"/>
                    <a:pt x="13616" y="15659"/>
                    <a:pt x="13622" y="15640"/>
                  </a:cubicBezTo>
                  <a:close/>
                </a:path>
              </a:pathLst>
            </a:custGeom>
            <a:solidFill>
              <a:srgbClr val="CD72BC"/>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33" name="Google Shape;3728;p49"/>
            <p:cNvSpPr/>
            <p:nvPr/>
          </p:nvSpPr>
          <p:spPr>
            <a:xfrm>
              <a:off x="-23860425" y="9357000"/>
              <a:ext cx="142025" cy="86925"/>
            </a:xfrm>
            <a:custGeom>
              <a:avLst/>
              <a:gdLst/>
              <a:ahLst/>
              <a:cxnLst/>
              <a:rect l="l" t="t" r="r" b="b"/>
              <a:pathLst>
                <a:path w="5681" h="3477" extrusionOk="0">
                  <a:moveTo>
                    <a:pt x="2231" y="1"/>
                  </a:moveTo>
                  <a:cubicBezTo>
                    <a:pt x="1816" y="1"/>
                    <a:pt x="1431" y="53"/>
                    <a:pt x="1110" y="168"/>
                  </a:cubicBezTo>
                  <a:cubicBezTo>
                    <a:pt x="438" y="370"/>
                    <a:pt x="1" y="806"/>
                    <a:pt x="1" y="1344"/>
                  </a:cubicBezTo>
                  <a:cubicBezTo>
                    <a:pt x="1" y="2285"/>
                    <a:pt x="1278" y="3226"/>
                    <a:pt x="2824" y="3428"/>
                  </a:cubicBezTo>
                  <a:cubicBezTo>
                    <a:pt x="3048" y="3462"/>
                    <a:pt x="3261" y="3476"/>
                    <a:pt x="3464" y="3476"/>
                  </a:cubicBezTo>
                  <a:cubicBezTo>
                    <a:pt x="3869" y="3476"/>
                    <a:pt x="4235" y="3417"/>
                    <a:pt x="4572" y="3327"/>
                  </a:cubicBezTo>
                  <a:cubicBezTo>
                    <a:pt x="5244" y="3125"/>
                    <a:pt x="5681" y="2689"/>
                    <a:pt x="5681" y="2151"/>
                  </a:cubicBezTo>
                  <a:cubicBezTo>
                    <a:pt x="5647" y="1210"/>
                    <a:pt x="4403" y="269"/>
                    <a:pt x="2824" y="33"/>
                  </a:cubicBezTo>
                  <a:cubicBezTo>
                    <a:pt x="2622" y="12"/>
                    <a:pt x="2423" y="1"/>
                    <a:pt x="2231" y="1"/>
                  </a:cubicBezTo>
                  <a:close/>
                </a:path>
              </a:pathLst>
            </a:custGeom>
            <a:solidFill>
              <a:srgbClr val="D3CED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34" name="Google Shape;3729;p49"/>
            <p:cNvSpPr/>
            <p:nvPr/>
          </p:nvSpPr>
          <p:spPr>
            <a:xfrm>
              <a:off x="-23832700" y="8934150"/>
              <a:ext cx="143700" cy="97000"/>
            </a:xfrm>
            <a:custGeom>
              <a:avLst/>
              <a:gdLst/>
              <a:ahLst/>
              <a:cxnLst/>
              <a:rect l="l" t="t" r="r" b="b"/>
              <a:pathLst>
                <a:path w="5748" h="3880" extrusionOk="0">
                  <a:moveTo>
                    <a:pt x="3957" y="1"/>
                  </a:moveTo>
                  <a:cubicBezTo>
                    <a:pt x="3515" y="1"/>
                    <a:pt x="3025" y="80"/>
                    <a:pt x="2488" y="278"/>
                  </a:cubicBezTo>
                  <a:cubicBezTo>
                    <a:pt x="1009" y="849"/>
                    <a:pt x="1" y="2025"/>
                    <a:pt x="202" y="2933"/>
                  </a:cubicBezTo>
                  <a:cubicBezTo>
                    <a:pt x="303" y="3470"/>
                    <a:pt x="841" y="3806"/>
                    <a:pt x="1547" y="3874"/>
                  </a:cubicBezTo>
                  <a:cubicBezTo>
                    <a:pt x="1610" y="3878"/>
                    <a:pt x="1674" y="3880"/>
                    <a:pt x="1739" y="3880"/>
                  </a:cubicBezTo>
                  <a:cubicBezTo>
                    <a:pt x="2194" y="3880"/>
                    <a:pt x="2698" y="3777"/>
                    <a:pt x="3227" y="3571"/>
                  </a:cubicBezTo>
                  <a:cubicBezTo>
                    <a:pt x="4706" y="3033"/>
                    <a:pt x="5748" y="1824"/>
                    <a:pt x="5546" y="916"/>
                  </a:cubicBezTo>
                  <a:cubicBezTo>
                    <a:pt x="5412" y="378"/>
                    <a:pt x="4908" y="76"/>
                    <a:pt x="4202" y="9"/>
                  </a:cubicBezTo>
                  <a:cubicBezTo>
                    <a:pt x="4122" y="3"/>
                    <a:pt x="4041" y="1"/>
                    <a:pt x="3957" y="1"/>
                  </a:cubicBezTo>
                  <a:close/>
                </a:path>
              </a:pathLst>
            </a:custGeom>
            <a:solidFill>
              <a:srgbClr val="D3CED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35" name="Google Shape;3730;p49"/>
            <p:cNvSpPr/>
            <p:nvPr/>
          </p:nvSpPr>
          <p:spPr>
            <a:xfrm>
              <a:off x="-24309100" y="8522650"/>
              <a:ext cx="1117525" cy="1487200"/>
            </a:xfrm>
            <a:custGeom>
              <a:avLst/>
              <a:gdLst/>
              <a:ahLst/>
              <a:cxnLst/>
              <a:rect l="l" t="t" r="r" b="b"/>
              <a:pathLst>
                <a:path w="44701" h="59488" extrusionOk="0">
                  <a:moveTo>
                    <a:pt x="34" y="40297"/>
                  </a:moveTo>
                  <a:cubicBezTo>
                    <a:pt x="34" y="40230"/>
                    <a:pt x="34" y="40196"/>
                    <a:pt x="34" y="40129"/>
                  </a:cubicBezTo>
                  <a:cubicBezTo>
                    <a:pt x="68" y="39995"/>
                    <a:pt x="68" y="39860"/>
                    <a:pt x="68" y="39726"/>
                  </a:cubicBezTo>
                  <a:cubicBezTo>
                    <a:pt x="68" y="39558"/>
                    <a:pt x="68" y="39390"/>
                    <a:pt x="102" y="39222"/>
                  </a:cubicBezTo>
                  <a:cubicBezTo>
                    <a:pt x="102" y="39121"/>
                    <a:pt x="102" y="38986"/>
                    <a:pt x="135" y="38886"/>
                  </a:cubicBezTo>
                  <a:cubicBezTo>
                    <a:pt x="135" y="38718"/>
                    <a:pt x="135" y="38583"/>
                    <a:pt x="169" y="38449"/>
                  </a:cubicBezTo>
                  <a:cubicBezTo>
                    <a:pt x="169" y="38348"/>
                    <a:pt x="169" y="38247"/>
                    <a:pt x="169" y="38146"/>
                  </a:cubicBezTo>
                  <a:cubicBezTo>
                    <a:pt x="202" y="37945"/>
                    <a:pt x="236" y="37743"/>
                    <a:pt x="236" y="37541"/>
                  </a:cubicBezTo>
                  <a:cubicBezTo>
                    <a:pt x="270" y="37440"/>
                    <a:pt x="270" y="37306"/>
                    <a:pt x="270" y="37205"/>
                  </a:cubicBezTo>
                  <a:cubicBezTo>
                    <a:pt x="270" y="37138"/>
                    <a:pt x="303" y="37104"/>
                    <a:pt x="303" y="37071"/>
                  </a:cubicBezTo>
                  <a:cubicBezTo>
                    <a:pt x="337" y="36701"/>
                    <a:pt x="404" y="36331"/>
                    <a:pt x="438" y="35962"/>
                  </a:cubicBezTo>
                  <a:cubicBezTo>
                    <a:pt x="438" y="35962"/>
                    <a:pt x="471" y="35928"/>
                    <a:pt x="471" y="35928"/>
                  </a:cubicBezTo>
                  <a:cubicBezTo>
                    <a:pt x="471" y="35894"/>
                    <a:pt x="471" y="35827"/>
                    <a:pt x="471" y="35760"/>
                  </a:cubicBezTo>
                  <a:cubicBezTo>
                    <a:pt x="538" y="35458"/>
                    <a:pt x="572" y="35155"/>
                    <a:pt x="639" y="34853"/>
                  </a:cubicBezTo>
                  <a:cubicBezTo>
                    <a:pt x="639" y="34785"/>
                    <a:pt x="673" y="34718"/>
                    <a:pt x="673" y="34685"/>
                  </a:cubicBezTo>
                  <a:cubicBezTo>
                    <a:pt x="707" y="34517"/>
                    <a:pt x="740" y="34382"/>
                    <a:pt x="774" y="34214"/>
                  </a:cubicBezTo>
                  <a:cubicBezTo>
                    <a:pt x="807" y="34046"/>
                    <a:pt x="841" y="33878"/>
                    <a:pt x="875" y="33676"/>
                  </a:cubicBezTo>
                  <a:cubicBezTo>
                    <a:pt x="908" y="33575"/>
                    <a:pt x="942" y="33475"/>
                    <a:pt x="942" y="33374"/>
                  </a:cubicBezTo>
                  <a:cubicBezTo>
                    <a:pt x="975" y="33206"/>
                    <a:pt x="1043" y="33071"/>
                    <a:pt x="1076" y="32903"/>
                  </a:cubicBezTo>
                  <a:cubicBezTo>
                    <a:pt x="1110" y="32769"/>
                    <a:pt x="1110" y="32634"/>
                    <a:pt x="1143" y="32534"/>
                  </a:cubicBezTo>
                  <a:cubicBezTo>
                    <a:pt x="1177" y="32366"/>
                    <a:pt x="1244" y="32231"/>
                    <a:pt x="1278" y="32063"/>
                  </a:cubicBezTo>
                  <a:cubicBezTo>
                    <a:pt x="1311" y="31895"/>
                    <a:pt x="1345" y="31761"/>
                    <a:pt x="1412" y="31593"/>
                  </a:cubicBezTo>
                  <a:lnTo>
                    <a:pt x="1480" y="31357"/>
                  </a:lnTo>
                  <a:cubicBezTo>
                    <a:pt x="1513" y="31122"/>
                    <a:pt x="1580" y="30920"/>
                    <a:pt x="1648" y="30719"/>
                  </a:cubicBezTo>
                  <a:cubicBezTo>
                    <a:pt x="1681" y="30584"/>
                    <a:pt x="1715" y="30416"/>
                    <a:pt x="1782" y="30282"/>
                  </a:cubicBezTo>
                  <a:cubicBezTo>
                    <a:pt x="1782" y="30248"/>
                    <a:pt x="1782" y="30215"/>
                    <a:pt x="1816" y="30181"/>
                  </a:cubicBezTo>
                  <a:cubicBezTo>
                    <a:pt x="1916" y="29778"/>
                    <a:pt x="2051" y="29408"/>
                    <a:pt x="2185" y="29038"/>
                  </a:cubicBezTo>
                  <a:cubicBezTo>
                    <a:pt x="2185" y="29038"/>
                    <a:pt x="2185" y="29005"/>
                    <a:pt x="2185" y="29005"/>
                  </a:cubicBezTo>
                  <a:cubicBezTo>
                    <a:pt x="2185" y="28971"/>
                    <a:pt x="2185" y="28937"/>
                    <a:pt x="2219" y="28904"/>
                  </a:cubicBezTo>
                  <a:cubicBezTo>
                    <a:pt x="2320" y="28568"/>
                    <a:pt x="2454" y="28232"/>
                    <a:pt x="2555" y="27896"/>
                  </a:cubicBezTo>
                  <a:cubicBezTo>
                    <a:pt x="2589" y="27828"/>
                    <a:pt x="2622" y="27795"/>
                    <a:pt x="2622" y="27728"/>
                  </a:cubicBezTo>
                  <a:cubicBezTo>
                    <a:pt x="2656" y="27627"/>
                    <a:pt x="2723" y="27492"/>
                    <a:pt x="2757" y="27358"/>
                  </a:cubicBezTo>
                  <a:cubicBezTo>
                    <a:pt x="2824" y="27190"/>
                    <a:pt x="2891" y="26988"/>
                    <a:pt x="2958" y="26820"/>
                  </a:cubicBezTo>
                  <a:cubicBezTo>
                    <a:pt x="3026" y="26686"/>
                    <a:pt x="3059" y="26585"/>
                    <a:pt x="3126" y="26450"/>
                  </a:cubicBezTo>
                  <a:cubicBezTo>
                    <a:pt x="3160" y="26316"/>
                    <a:pt x="3227" y="26182"/>
                    <a:pt x="3294" y="26047"/>
                  </a:cubicBezTo>
                  <a:cubicBezTo>
                    <a:pt x="3328" y="25946"/>
                    <a:pt x="3362" y="25845"/>
                    <a:pt x="3395" y="25745"/>
                  </a:cubicBezTo>
                  <a:cubicBezTo>
                    <a:pt x="3496" y="25543"/>
                    <a:pt x="3563" y="25341"/>
                    <a:pt x="3664" y="25140"/>
                  </a:cubicBezTo>
                  <a:cubicBezTo>
                    <a:pt x="3731" y="25005"/>
                    <a:pt x="3765" y="24904"/>
                    <a:pt x="3799" y="24804"/>
                  </a:cubicBezTo>
                  <a:cubicBezTo>
                    <a:pt x="3832" y="24736"/>
                    <a:pt x="3832" y="24703"/>
                    <a:pt x="3866" y="24669"/>
                  </a:cubicBezTo>
                  <a:cubicBezTo>
                    <a:pt x="4034" y="24299"/>
                    <a:pt x="4202" y="23963"/>
                    <a:pt x="4336" y="23594"/>
                  </a:cubicBezTo>
                  <a:cubicBezTo>
                    <a:pt x="4370" y="23594"/>
                    <a:pt x="4370" y="23560"/>
                    <a:pt x="4370" y="23560"/>
                  </a:cubicBezTo>
                  <a:cubicBezTo>
                    <a:pt x="4403" y="23459"/>
                    <a:pt x="4471" y="23358"/>
                    <a:pt x="4504" y="23291"/>
                  </a:cubicBezTo>
                  <a:cubicBezTo>
                    <a:pt x="4639" y="22989"/>
                    <a:pt x="4773" y="22720"/>
                    <a:pt x="4908" y="22417"/>
                  </a:cubicBezTo>
                  <a:lnTo>
                    <a:pt x="4975" y="22317"/>
                  </a:lnTo>
                  <a:cubicBezTo>
                    <a:pt x="5076" y="22081"/>
                    <a:pt x="5210" y="21880"/>
                    <a:pt x="5311" y="21644"/>
                  </a:cubicBezTo>
                  <a:lnTo>
                    <a:pt x="5580" y="21107"/>
                  </a:lnTo>
                  <a:cubicBezTo>
                    <a:pt x="5613" y="21073"/>
                    <a:pt x="5647" y="21039"/>
                    <a:pt x="5647" y="21006"/>
                  </a:cubicBezTo>
                  <a:cubicBezTo>
                    <a:pt x="5949" y="20434"/>
                    <a:pt x="6286" y="19863"/>
                    <a:pt x="6622" y="19292"/>
                  </a:cubicBezTo>
                  <a:cubicBezTo>
                    <a:pt x="6622" y="19258"/>
                    <a:pt x="6655" y="19191"/>
                    <a:pt x="6689" y="19157"/>
                  </a:cubicBezTo>
                  <a:cubicBezTo>
                    <a:pt x="6756" y="19023"/>
                    <a:pt x="6857" y="18855"/>
                    <a:pt x="6958" y="18720"/>
                  </a:cubicBezTo>
                  <a:cubicBezTo>
                    <a:pt x="7092" y="18485"/>
                    <a:pt x="7227" y="18284"/>
                    <a:pt x="7361" y="18048"/>
                  </a:cubicBezTo>
                  <a:cubicBezTo>
                    <a:pt x="7495" y="17847"/>
                    <a:pt x="7630" y="17645"/>
                    <a:pt x="7764" y="17443"/>
                  </a:cubicBezTo>
                  <a:cubicBezTo>
                    <a:pt x="7899" y="17208"/>
                    <a:pt x="8033" y="16973"/>
                    <a:pt x="8168" y="16771"/>
                  </a:cubicBezTo>
                  <a:cubicBezTo>
                    <a:pt x="8235" y="16670"/>
                    <a:pt x="8268" y="16603"/>
                    <a:pt x="8336" y="16536"/>
                  </a:cubicBezTo>
                  <a:cubicBezTo>
                    <a:pt x="8369" y="16469"/>
                    <a:pt x="8437" y="16401"/>
                    <a:pt x="8470" y="16334"/>
                  </a:cubicBezTo>
                  <a:cubicBezTo>
                    <a:pt x="8873" y="15729"/>
                    <a:pt x="9310" y="15124"/>
                    <a:pt x="9714" y="14553"/>
                  </a:cubicBezTo>
                  <a:lnTo>
                    <a:pt x="9714" y="14553"/>
                  </a:lnTo>
                  <a:cubicBezTo>
                    <a:pt x="9714" y="14519"/>
                    <a:pt x="9714" y="14519"/>
                    <a:pt x="9747" y="14519"/>
                  </a:cubicBezTo>
                  <a:cubicBezTo>
                    <a:pt x="10050" y="14116"/>
                    <a:pt x="10352" y="13713"/>
                    <a:pt x="10655" y="13309"/>
                  </a:cubicBezTo>
                  <a:cubicBezTo>
                    <a:pt x="10688" y="13276"/>
                    <a:pt x="10688" y="13276"/>
                    <a:pt x="10722" y="13242"/>
                  </a:cubicBezTo>
                  <a:cubicBezTo>
                    <a:pt x="10924" y="12940"/>
                    <a:pt x="11192" y="12671"/>
                    <a:pt x="11428" y="12368"/>
                  </a:cubicBezTo>
                  <a:cubicBezTo>
                    <a:pt x="11461" y="12301"/>
                    <a:pt x="11495" y="12268"/>
                    <a:pt x="11562" y="12200"/>
                  </a:cubicBezTo>
                  <a:cubicBezTo>
                    <a:pt x="11562" y="12200"/>
                    <a:pt x="11562" y="12200"/>
                    <a:pt x="11562" y="12200"/>
                  </a:cubicBezTo>
                  <a:cubicBezTo>
                    <a:pt x="11831" y="11831"/>
                    <a:pt x="12133" y="11528"/>
                    <a:pt x="12402" y="11192"/>
                  </a:cubicBezTo>
                  <a:cubicBezTo>
                    <a:pt x="12436" y="11158"/>
                    <a:pt x="12436" y="11158"/>
                    <a:pt x="12470" y="11125"/>
                  </a:cubicBezTo>
                  <a:cubicBezTo>
                    <a:pt x="12537" y="11024"/>
                    <a:pt x="12638" y="10957"/>
                    <a:pt x="12738" y="10856"/>
                  </a:cubicBezTo>
                  <a:cubicBezTo>
                    <a:pt x="12906" y="10621"/>
                    <a:pt x="13108" y="10419"/>
                    <a:pt x="13276" y="10217"/>
                  </a:cubicBezTo>
                  <a:cubicBezTo>
                    <a:pt x="13310" y="10184"/>
                    <a:pt x="13343" y="10150"/>
                    <a:pt x="13377" y="10117"/>
                  </a:cubicBezTo>
                  <a:cubicBezTo>
                    <a:pt x="13511" y="9982"/>
                    <a:pt x="13646" y="9848"/>
                    <a:pt x="13780" y="9713"/>
                  </a:cubicBezTo>
                  <a:cubicBezTo>
                    <a:pt x="13915" y="9579"/>
                    <a:pt x="14049" y="9444"/>
                    <a:pt x="14184" y="9276"/>
                  </a:cubicBezTo>
                  <a:cubicBezTo>
                    <a:pt x="14251" y="9243"/>
                    <a:pt x="14284" y="9176"/>
                    <a:pt x="14352" y="9142"/>
                  </a:cubicBezTo>
                  <a:cubicBezTo>
                    <a:pt x="14486" y="8974"/>
                    <a:pt x="14620" y="8839"/>
                    <a:pt x="14755" y="8705"/>
                  </a:cubicBezTo>
                  <a:cubicBezTo>
                    <a:pt x="14889" y="8604"/>
                    <a:pt x="14990" y="8470"/>
                    <a:pt x="15125" y="8369"/>
                  </a:cubicBezTo>
                  <a:cubicBezTo>
                    <a:pt x="15192" y="8302"/>
                    <a:pt x="15259" y="8235"/>
                    <a:pt x="15326" y="8167"/>
                  </a:cubicBezTo>
                  <a:cubicBezTo>
                    <a:pt x="15461" y="8033"/>
                    <a:pt x="15629" y="7898"/>
                    <a:pt x="15763" y="7730"/>
                  </a:cubicBezTo>
                  <a:cubicBezTo>
                    <a:pt x="15864" y="7663"/>
                    <a:pt x="15998" y="7562"/>
                    <a:pt x="16099" y="7462"/>
                  </a:cubicBezTo>
                  <a:cubicBezTo>
                    <a:pt x="16166" y="7361"/>
                    <a:pt x="16267" y="7293"/>
                    <a:pt x="16335" y="7226"/>
                  </a:cubicBezTo>
                  <a:cubicBezTo>
                    <a:pt x="16503" y="7092"/>
                    <a:pt x="16637" y="6957"/>
                    <a:pt x="16805" y="6823"/>
                  </a:cubicBezTo>
                  <a:cubicBezTo>
                    <a:pt x="16906" y="6756"/>
                    <a:pt x="16973" y="6655"/>
                    <a:pt x="17074" y="6588"/>
                  </a:cubicBezTo>
                  <a:cubicBezTo>
                    <a:pt x="17175" y="6520"/>
                    <a:pt x="17276" y="6420"/>
                    <a:pt x="17376" y="6352"/>
                  </a:cubicBezTo>
                  <a:cubicBezTo>
                    <a:pt x="17511" y="6218"/>
                    <a:pt x="17679" y="6084"/>
                    <a:pt x="17813" y="5983"/>
                  </a:cubicBezTo>
                  <a:cubicBezTo>
                    <a:pt x="17914" y="5916"/>
                    <a:pt x="17981" y="5848"/>
                    <a:pt x="18049" y="5781"/>
                  </a:cubicBezTo>
                  <a:cubicBezTo>
                    <a:pt x="18183" y="5680"/>
                    <a:pt x="18317" y="5579"/>
                    <a:pt x="18452" y="5512"/>
                  </a:cubicBezTo>
                  <a:cubicBezTo>
                    <a:pt x="18586" y="5378"/>
                    <a:pt x="18721" y="5277"/>
                    <a:pt x="18855" y="5176"/>
                  </a:cubicBezTo>
                  <a:cubicBezTo>
                    <a:pt x="18922" y="5143"/>
                    <a:pt x="18990" y="5075"/>
                    <a:pt x="19023" y="5042"/>
                  </a:cubicBezTo>
                  <a:cubicBezTo>
                    <a:pt x="19191" y="4907"/>
                    <a:pt x="19359" y="4806"/>
                    <a:pt x="19561" y="4672"/>
                  </a:cubicBezTo>
                  <a:lnTo>
                    <a:pt x="19897" y="4437"/>
                  </a:lnTo>
                  <a:cubicBezTo>
                    <a:pt x="19931" y="4403"/>
                    <a:pt x="19964" y="4370"/>
                    <a:pt x="19998" y="4370"/>
                  </a:cubicBezTo>
                  <a:cubicBezTo>
                    <a:pt x="20300" y="4134"/>
                    <a:pt x="20603" y="3933"/>
                    <a:pt x="20939" y="3731"/>
                  </a:cubicBezTo>
                  <a:cubicBezTo>
                    <a:pt x="20939" y="3731"/>
                    <a:pt x="20939" y="3731"/>
                    <a:pt x="20939" y="3731"/>
                  </a:cubicBezTo>
                  <a:cubicBezTo>
                    <a:pt x="20973" y="3731"/>
                    <a:pt x="20973" y="3697"/>
                    <a:pt x="21006" y="3697"/>
                  </a:cubicBezTo>
                  <a:cubicBezTo>
                    <a:pt x="21309" y="3496"/>
                    <a:pt x="21577" y="3328"/>
                    <a:pt x="21880" y="3160"/>
                  </a:cubicBezTo>
                  <a:cubicBezTo>
                    <a:pt x="21947" y="3126"/>
                    <a:pt x="22014" y="3092"/>
                    <a:pt x="22082" y="3025"/>
                  </a:cubicBezTo>
                  <a:cubicBezTo>
                    <a:pt x="22317" y="2891"/>
                    <a:pt x="22552" y="2756"/>
                    <a:pt x="22787" y="2655"/>
                  </a:cubicBezTo>
                  <a:lnTo>
                    <a:pt x="23056" y="2521"/>
                  </a:lnTo>
                  <a:cubicBezTo>
                    <a:pt x="23191" y="2454"/>
                    <a:pt x="23292" y="2387"/>
                    <a:pt x="23426" y="2319"/>
                  </a:cubicBezTo>
                  <a:cubicBezTo>
                    <a:pt x="23493" y="2286"/>
                    <a:pt x="23594" y="2219"/>
                    <a:pt x="23695" y="2151"/>
                  </a:cubicBezTo>
                  <a:cubicBezTo>
                    <a:pt x="23863" y="2084"/>
                    <a:pt x="23997" y="2017"/>
                    <a:pt x="24132" y="1950"/>
                  </a:cubicBezTo>
                  <a:cubicBezTo>
                    <a:pt x="24233" y="1916"/>
                    <a:pt x="24367" y="1849"/>
                    <a:pt x="24468" y="1815"/>
                  </a:cubicBezTo>
                  <a:cubicBezTo>
                    <a:pt x="24501" y="1782"/>
                    <a:pt x="24569" y="1748"/>
                    <a:pt x="24602" y="1748"/>
                  </a:cubicBezTo>
                  <a:cubicBezTo>
                    <a:pt x="24905" y="1614"/>
                    <a:pt x="25174" y="1479"/>
                    <a:pt x="25476" y="1378"/>
                  </a:cubicBezTo>
                  <a:cubicBezTo>
                    <a:pt x="25476" y="1378"/>
                    <a:pt x="25476" y="1378"/>
                    <a:pt x="25476" y="1378"/>
                  </a:cubicBezTo>
                  <a:cubicBezTo>
                    <a:pt x="25779" y="1244"/>
                    <a:pt x="26081" y="1143"/>
                    <a:pt x="26384" y="1042"/>
                  </a:cubicBezTo>
                  <a:lnTo>
                    <a:pt x="26484" y="1009"/>
                  </a:lnTo>
                  <a:cubicBezTo>
                    <a:pt x="26585" y="941"/>
                    <a:pt x="26720" y="908"/>
                    <a:pt x="26820" y="874"/>
                  </a:cubicBezTo>
                  <a:cubicBezTo>
                    <a:pt x="26955" y="841"/>
                    <a:pt x="27123" y="773"/>
                    <a:pt x="27257" y="740"/>
                  </a:cubicBezTo>
                  <a:cubicBezTo>
                    <a:pt x="27325" y="706"/>
                    <a:pt x="27425" y="706"/>
                    <a:pt x="27493" y="673"/>
                  </a:cubicBezTo>
                  <a:cubicBezTo>
                    <a:pt x="27627" y="639"/>
                    <a:pt x="27761" y="605"/>
                    <a:pt x="27862" y="572"/>
                  </a:cubicBezTo>
                  <a:cubicBezTo>
                    <a:pt x="27963" y="538"/>
                    <a:pt x="28064" y="505"/>
                    <a:pt x="28165" y="471"/>
                  </a:cubicBezTo>
                  <a:cubicBezTo>
                    <a:pt x="28299" y="471"/>
                    <a:pt x="28400" y="437"/>
                    <a:pt x="28501" y="404"/>
                  </a:cubicBezTo>
                  <a:lnTo>
                    <a:pt x="28871" y="336"/>
                  </a:lnTo>
                  <a:cubicBezTo>
                    <a:pt x="28938" y="303"/>
                    <a:pt x="29005" y="303"/>
                    <a:pt x="29072" y="269"/>
                  </a:cubicBezTo>
                  <a:cubicBezTo>
                    <a:pt x="29207" y="269"/>
                    <a:pt x="29341" y="236"/>
                    <a:pt x="29442" y="236"/>
                  </a:cubicBezTo>
                  <a:cubicBezTo>
                    <a:pt x="29610" y="202"/>
                    <a:pt x="29744" y="168"/>
                    <a:pt x="29912" y="135"/>
                  </a:cubicBezTo>
                  <a:cubicBezTo>
                    <a:pt x="29946" y="135"/>
                    <a:pt x="30013" y="135"/>
                    <a:pt x="30047" y="135"/>
                  </a:cubicBezTo>
                  <a:cubicBezTo>
                    <a:pt x="30181" y="101"/>
                    <a:pt x="30316" y="101"/>
                    <a:pt x="30417" y="68"/>
                  </a:cubicBezTo>
                  <a:cubicBezTo>
                    <a:pt x="30585" y="68"/>
                    <a:pt x="30753" y="34"/>
                    <a:pt x="30921" y="34"/>
                  </a:cubicBezTo>
                  <a:cubicBezTo>
                    <a:pt x="30954" y="34"/>
                    <a:pt x="30988" y="34"/>
                    <a:pt x="31055" y="34"/>
                  </a:cubicBezTo>
                  <a:cubicBezTo>
                    <a:pt x="31156" y="0"/>
                    <a:pt x="31257" y="0"/>
                    <a:pt x="31358" y="0"/>
                  </a:cubicBezTo>
                  <a:cubicBezTo>
                    <a:pt x="31559" y="0"/>
                    <a:pt x="31761" y="0"/>
                    <a:pt x="31929" y="0"/>
                  </a:cubicBezTo>
                  <a:cubicBezTo>
                    <a:pt x="31996" y="0"/>
                    <a:pt x="32030" y="0"/>
                    <a:pt x="32097" y="0"/>
                  </a:cubicBezTo>
                  <a:cubicBezTo>
                    <a:pt x="32164" y="0"/>
                    <a:pt x="32265" y="0"/>
                    <a:pt x="32332" y="0"/>
                  </a:cubicBezTo>
                  <a:cubicBezTo>
                    <a:pt x="32567" y="0"/>
                    <a:pt x="32803" y="0"/>
                    <a:pt x="33038" y="34"/>
                  </a:cubicBezTo>
                  <a:cubicBezTo>
                    <a:pt x="33105" y="34"/>
                    <a:pt x="33172" y="34"/>
                    <a:pt x="33240" y="34"/>
                  </a:cubicBezTo>
                  <a:cubicBezTo>
                    <a:pt x="33340" y="34"/>
                    <a:pt x="33441" y="68"/>
                    <a:pt x="33509" y="68"/>
                  </a:cubicBezTo>
                  <a:lnTo>
                    <a:pt x="33744" y="101"/>
                  </a:lnTo>
                  <a:cubicBezTo>
                    <a:pt x="34013" y="135"/>
                    <a:pt x="34248" y="168"/>
                    <a:pt x="34517" y="236"/>
                  </a:cubicBezTo>
                  <a:cubicBezTo>
                    <a:pt x="34517" y="236"/>
                    <a:pt x="34517" y="236"/>
                    <a:pt x="34550" y="236"/>
                  </a:cubicBezTo>
                  <a:cubicBezTo>
                    <a:pt x="34618" y="236"/>
                    <a:pt x="34685" y="269"/>
                    <a:pt x="34752" y="269"/>
                  </a:cubicBezTo>
                  <a:cubicBezTo>
                    <a:pt x="34954" y="336"/>
                    <a:pt x="35155" y="370"/>
                    <a:pt x="35357" y="437"/>
                  </a:cubicBezTo>
                  <a:cubicBezTo>
                    <a:pt x="35458" y="471"/>
                    <a:pt x="35559" y="505"/>
                    <a:pt x="35659" y="538"/>
                  </a:cubicBezTo>
                  <a:cubicBezTo>
                    <a:pt x="35794" y="572"/>
                    <a:pt x="35928" y="605"/>
                    <a:pt x="36063" y="639"/>
                  </a:cubicBezTo>
                  <a:cubicBezTo>
                    <a:pt x="36096" y="673"/>
                    <a:pt x="36130" y="673"/>
                    <a:pt x="36164" y="673"/>
                  </a:cubicBezTo>
                  <a:cubicBezTo>
                    <a:pt x="36365" y="773"/>
                    <a:pt x="36567" y="841"/>
                    <a:pt x="36735" y="941"/>
                  </a:cubicBezTo>
                  <a:cubicBezTo>
                    <a:pt x="36836" y="975"/>
                    <a:pt x="36937" y="1009"/>
                    <a:pt x="37037" y="1042"/>
                  </a:cubicBezTo>
                  <a:cubicBezTo>
                    <a:pt x="37306" y="1177"/>
                    <a:pt x="37575" y="1311"/>
                    <a:pt x="37844" y="1479"/>
                  </a:cubicBezTo>
                  <a:lnTo>
                    <a:pt x="44700" y="5445"/>
                  </a:lnTo>
                  <a:cubicBezTo>
                    <a:pt x="44431" y="5311"/>
                    <a:pt x="44162" y="5143"/>
                    <a:pt x="43860" y="5008"/>
                  </a:cubicBezTo>
                  <a:cubicBezTo>
                    <a:pt x="43759" y="4974"/>
                    <a:pt x="43692" y="4941"/>
                    <a:pt x="43591" y="4907"/>
                  </a:cubicBezTo>
                  <a:cubicBezTo>
                    <a:pt x="43389" y="4806"/>
                    <a:pt x="43188" y="4739"/>
                    <a:pt x="42986" y="4672"/>
                  </a:cubicBezTo>
                  <a:cubicBezTo>
                    <a:pt x="42852" y="4605"/>
                    <a:pt x="42684" y="4538"/>
                    <a:pt x="42516" y="4504"/>
                  </a:cubicBezTo>
                  <a:cubicBezTo>
                    <a:pt x="42415" y="4470"/>
                    <a:pt x="42314" y="4437"/>
                    <a:pt x="42213" y="4403"/>
                  </a:cubicBezTo>
                  <a:cubicBezTo>
                    <a:pt x="42012" y="4336"/>
                    <a:pt x="41776" y="4302"/>
                    <a:pt x="41575" y="4235"/>
                  </a:cubicBezTo>
                  <a:cubicBezTo>
                    <a:pt x="41507" y="4235"/>
                    <a:pt x="41440" y="4201"/>
                    <a:pt x="41373" y="4201"/>
                  </a:cubicBezTo>
                  <a:cubicBezTo>
                    <a:pt x="41104" y="4134"/>
                    <a:pt x="40835" y="4101"/>
                    <a:pt x="40566" y="4067"/>
                  </a:cubicBezTo>
                  <a:lnTo>
                    <a:pt x="40365" y="4033"/>
                  </a:lnTo>
                  <a:cubicBezTo>
                    <a:pt x="40197" y="4033"/>
                    <a:pt x="40029" y="4000"/>
                    <a:pt x="39861" y="4000"/>
                  </a:cubicBezTo>
                  <a:cubicBezTo>
                    <a:pt x="39625" y="4000"/>
                    <a:pt x="39390" y="3966"/>
                    <a:pt x="39155" y="3966"/>
                  </a:cubicBezTo>
                  <a:cubicBezTo>
                    <a:pt x="39020" y="3966"/>
                    <a:pt x="38920" y="3966"/>
                    <a:pt x="38785" y="3966"/>
                  </a:cubicBezTo>
                  <a:cubicBezTo>
                    <a:pt x="38583" y="3966"/>
                    <a:pt x="38382" y="3966"/>
                    <a:pt x="38214" y="3966"/>
                  </a:cubicBezTo>
                  <a:cubicBezTo>
                    <a:pt x="38046" y="4000"/>
                    <a:pt x="37911" y="4000"/>
                    <a:pt x="37743" y="4000"/>
                  </a:cubicBezTo>
                  <a:cubicBezTo>
                    <a:pt x="37575" y="4033"/>
                    <a:pt x="37441" y="4033"/>
                    <a:pt x="37273" y="4067"/>
                  </a:cubicBezTo>
                  <a:cubicBezTo>
                    <a:pt x="37105" y="4067"/>
                    <a:pt x="36903" y="4101"/>
                    <a:pt x="36735" y="4134"/>
                  </a:cubicBezTo>
                  <a:cubicBezTo>
                    <a:pt x="36601" y="4134"/>
                    <a:pt x="36432" y="4168"/>
                    <a:pt x="36298" y="4201"/>
                  </a:cubicBezTo>
                  <a:cubicBezTo>
                    <a:pt x="36096" y="4235"/>
                    <a:pt x="35928" y="4269"/>
                    <a:pt x="35727" y="4302"/>
                  </a:cubicBezTo>
                  <a:cubicBezTo>
                    <a:pt x="35592" y="4336"/>
                    <a:pt x="35458" y="4370"/>
                    <a:pt x="35323" y="4403"/>
                  </a:cubicBezTo>
                  <a:cubicBezTo>
                    <a:pt x="35122" y="4437"/>
                    <a:pt x="34920" y="4470"/>
                    <a:pt x="34718" y="4538"/>
                  </a:cubicBezTo>
                  <a:cubicBezTo>
                    <a:pt x="34584" y="4571"/>
                    <a:pt x="34450" y="4605"/>
                    <a:pt x="34315" y="4638"/>
                  </a:cubicBezTo>
                  <a:cubicBezTo>
                    <a:pt x="34113" y="4706"/>
                    <a:pt x="33878" y="4773"/>
                    <a:pt x="33643" y="4874"/>
                  </a:cubicBezTo>
                  <a:cubicBezTo>
                    <a:pt x="33542" y="4907"/>
                    <a:pt x="33441" y="4941"/>
                    <a:pt x="33340" y="4974"/>
                  </a:cubicBezTo>
                  <a:cubicBezTo>
                    <a:pt x="33004" y="5075"/>
                    <a:pt x="32668" y="5210"/>
                    <a:pt x="32332" y="5344"/>
                  </a:cubicBezTo>
                  <a:lnTo>
                    <a:pt x="32332" y="5344"/>
                  </a:lnTo>
                  <a:lnTo>
                    <a:pt x="32332" y="5344"/>
                  </a:lnTo>
                  <a:cubicBezTo>
                    <a:pt x="31996" y="5479"/>
                    <a:pt x="31660" y="5613"/>
                    <a:pt x="31290" y="5781"/>
                  </a:cubicBezTo>
                  <a:cubicBezTo>
                    <a:pt x="31190" y="5815"/>
                    <a:pt x="31089" y="5882"/>
                    <a:pt x="30988" y="5916"/>
                  </a:cubicBezTo>
                  <a:cubicBezTo>
                    <a:pt x="30753" y="6050"/>
                    <a:pt x="30517" y="6151"/>
                    <a:pt x="30248" y="6285"/>
                  </a:cubicBezTo>
                  <a:cubicBezTo>
                    <a:pt x="30148" y="6352"/>
                    <a:pt x="30013" y="6420"/>
                    <a:pt x="29912" y="6487"/>
                  </a:cubicBezTo>
                  <a:cubicBezTo>
                    <a:pt x="29576" y="6655"/>
                    <a:pt x="29240" y="6823"/>
                    <a:pt x="28938" y="6991"/>
                  </a:cubicBezTo>
                  <a:cubicBezTo>
                    <a:pt x="28568" y="7226"/>
                    <a:pt x="28198" y="7428"/>
                    <a:pt x="27862" y="7663"/>
                  </a:cubicBezTo>
                  <a:cubicBezTo>
                    <a:pt x="27829" y="7663"/>
                    <a:pt x="27795" y="7697"/>
                    <a:pt x="27795" y="7697"/>
                  </a:cubicBezTo>
                  <a:cubicBezTo>
                    <a:pt x="27425" y="7932"/>
                    <a:pt x="27089" y="8167"/>
                    <a:pt x="26753" y="8403"/>
                  </a:cubicBezTo>
                  <a:cubicBezTo>
                    <a:pt x="26619" y="8470"/>
                    <a:pt x="26518" y="8571"/>
                    <a:pt x="26384" y="8638"/>
                  </a:cubicBezTo>
                  <a:cubicBezTo>
                    <a:pt x="26148" y="8806"/>
                    <a:pt x="25913" y="8974"/>
                    <a:pt x="25711" y="9142"/>
                  </a:cubicBezTo>
                  <a:cubicBezTo>
                    <a:pt x="25543" y="9243"/>
                    <a:pt x="25409" y="9344"/>
                    <a:pt x="25274" y="9478"/>
                  </a:cubicBezTo>
                  <a:cubicBezTo>
                    <a:pt x="25073" y="9612"/>
                    <a:pt x="24871" y="9781"/>
                    <a:pt x="24669" y="9949"/>
                  </a:cubicBezTo>
                  <a:cubicBezTo>
                    <a:pt x="24501" y="10083"/>
                    <a:pt x="24367" y="10184"/>
                    <a:pt x="24199" y="10318"/>
                  </a:cubicBezTo>
                  <a:cubicBezTo>
                    <a:pt x="24031" y="10486"/>
                    <a:pt x="23829" y="10621"/>
                    <a:pt x="23628" y="10789"/>
                  </a:cubicBezTo>
                  <a:cubicBezTo>
                    <a:pt x="23460" y="10923"/>
                    <a:pt x="23325" y="11058"/>
                    <a:pt x="23157" y="11192"/>
                  </a:cubicBezTo>
                  <a:cubicBezTo>
                    <a:pt x="22989" y="11360"/>
                    <a:pt x="22787" y="11528"/>
                    <a:pt x="22619" y="11696"/>
                  </a:cubicBezTo>
                  <a:cubicBezTo>
                    <a:pt x="22451" y="11864"/>
                    <a:pt x="22317" y="11999"/>
                    <a:pt x="22149" y="12133"/>
                  </a:cubicBezTo>
                  <a:cubicBezTo>
                    <a:pt x="21947" y="12301"/>
                    <a:pt x="21779" y="12503"/>
                    <a:pt x="21577" y="12671"/>
                  </a:cubicBezTo>
                  <a:cubicBezTo>
                    <a:pt x="21443" y="12805"/>
                    <a:pt x="21309" y="12940"/>
                    <a:pt x="21174" y="13108"/>
                  </a:cubicBezTo>
                  <a:cubicBezTo>
                    <a:pt x="20973" y="13276"/>
                    <a:pt x="20771" y="13477"/>
                    <a:pt x="20603" y="13679"/>
                  </a:cubicBezTo>
                  <a:cubicBezTo>
                    <a:pt x="20468" y="13814"/>
                    <a:pt x="20334" y="13948"/>
                    <a:pt x="20200" y="14082"/>
                  </a:cubicBezTo>
                  <a:cubicBezTo>
                    <a:pt x="19998" y="14318"/>
                    <a:pt x="19763" y="14553"/>
                    <a:pt x="19561" y="14822"/>
                  </a:cubicBezTo>
                  <a:cubicBezTo>
                    <a:pt x="19460" y="14923"/>
                    <a:pt x="19359" y="15023"/>
                    <a:pt x="19292" y="15124"/>
                  </a:cubicBezTo>
                  <a:cubicBezTo>
                    <a:pt x="18990" y="15460"/>
                    <a:pt x="18687" y="15796"/>
                    <a:pt x="18385" y="16166"/>
                  </a:cubicBezTo>
                  <a:cubicBezTo>
                    <a:pt x="18317" y="16233"/>
                    <a:pt x="18284" y="16267"/>
                    <a:pt x="18250" y="16334"/>
                  </a:cubicBezTo>
                  <a:cubicBezTo>
                    <a:pt x="17981" y="16637"/>
                    <a:pt x="17746" y="16939"/>
                    <a:pt x="17477" y="17275"/>
                  </a:cubicBezTo>
                  <a:cubicBezTo>
                    <a:pt x="17175" y="17679"/>
                    <a:pt x="16872" y="18082"/>
                    <a:pt x="16570" y="18485"/>
                  </a:cubicBezTo>
                  <a:cubicBezTo>
                    <a:pt x="16570" y="18485"/>
                    <a:pt x="16570" y="18485"/>
                    <a:pt x="16536" y="18519"/>
                  </a:cubicBezTo>
                  <a:cubicBezTo>
                    <a:pt x="16133" y="19090"/>
                    <a:pt x="15696" y="19695"/>
                    <a:pt x="15293" y="20300"/>
                  </a:cubicBezTo>
                  <a:lnTo>
                    <a:pt x="14990" y="20737"/>
                  </a:lnTo>
                  <a:cubicBezTo>
                    <a:pt x="14856" y="20939"/>
                    <a:pt x="14721" y="21174"/>
                    <a:pt x="14553" y="21409"/>
                  </a:cubicBezTo>
                  <a:cubicBezTo>
                    <a:pt x="14452" y="21611"/>
                    <a:pt x="14318" y="21812"/>
                    <a:pt x="14184" y="22014"/>
                  </a:cubicBezTo>
                  <a:cubicBezTo>
                    <a:pt x="14049" y="22249"/>
                    <a:pt x="13915" y="22451"/>
                    <a:pt x="13780" y="22686"/>
                  </a:cubicBezTo>
                  <a:cubicBezTo>
                    <a:pt x="13646" y="22888"/>
                    <a:pt x="13545" y="23056"/>
                    <a:pt x="13411" y="23258"/>
                  </a:cubicBezTo>
                  <a:cubicBezTo>
                    <a:pt x="13108" y="23829"/>
                    <a:pt x="12772" y="24400"/>
                    <a:pt x="12470" y="24972"/>
                  </a:cubicBezTo>
                  <a:cubicBezTo>
                    <a:pt x="12369" y="25173"/>
                    <a:pt x="12234" y="25409"/>
                    <a:pt x="12133" y="25610"/>
                  </a:cubicBezTo>
                  <a:cubicBezTo>
                    <a:pt x="12033" y="25812"/>
                    <a:pt x="11898" y="26047"/>
                    <a:pt x="11797" y="26282"/>
                  </a:cubicBezTo>
                  <a:cubicBezTo>
                    <a:pt x="11629" y="26585"/>
                    <a:pt x="11461" y="26921"/>
                    <a:pt x="11327" y="27223"/>
                  </a:cubicBezTo>
                  <a:cubicBezTo>
                    <a:pt x="11293" y="27324"/>
                    <a:pt x="11226" y="27425"/>
                    <a:pt x="11192" y="27526"/>
                  </a:cubicBezTo>
                  <a:cubicBezTo>
                    <a:pt x="10991" y="27929"/>
                    <a:pt x="10823" y="28333"/>
                    <a:pt x="10621" y="28736"/>
                  </a:cubicBezTo>
                  <a:cubicBezTo>
                    <a:pt x="10587" y="28870"/>
                    <a:pt x="10520" y="28971"/>
                    <a:pt x="10487" y="29072"/>
                  </a:cubicBezTo>
                  <a:cubicBezTo>
                    <a:pt x="10352" y="29374"/>
                    <a:pt x="10218" y="29677"/>
                    <a:pt x="10117" y="30013"/>
                  </a:cubicBezTo>
                  <a:cubicBezTo>
                    <a:pt x="10050" y="30147"/>
                    <a:pt x="9982" y="30282"/>
                    <a:pt x="9915" y="30416"/>
                  </a:cubicBezTo>
                  <a:cubicBezTo>
                    <a:pt x="9814" y="30719"/>
                    <a:pt x="9714" y="31021"/>
                    <a:pt x="9579" y="31324"/>
                  </a:cubicBezTo>
                  <a:cubicBezTo>
                    <a:pt x="9546" y="31425"/>
                    <a:pt x="9478" y="31559"/>
                    <a:pt x="9445" y="31693"/>
                  </a:cubicBezTo>
                  <a:cubicBezTo>
                    <a:pt x="9310" y="32097"/>
                    <a:pt x="9176" y="32466"/>
                    <a:pt x="9041" y="32870"/>
                  </a:cubicBezTo>
                  <a:cubicBezTo>
                    <a:pt x="9008" y="32903"/>
                    <a:pt x="9008" y="32937"/>
                    <a:pt x="9008" y="32971"/>
                  </a:cubicBezTo>
                  <a:cubicBezTo>
                    <a:pt x="8840" y="33407"/>
                    <a:pt x="8705" y="33811"/>
                    <a:pt x="8571" y="34248"/>
                  </a:cubicBezTo>
                  <a:cubicBezTo>
                    <a:pt x="8537" y="34382"/>
                    <a:pt x="8504" y="34517"/>
                    <a:pt x="8470" y="34651"/>
                  </a:cubicBezTo>
                  <a:cubicBezTo>
                    <a:pt x="8369" y="34953"/>
                    <a:pt x="8302" y="35256"/>
                    <a:pt x="8201" y="35525"/>
                  </a:cubicBezTo>
                  <a:cubicBezTo>
                    <a:pt x="8168" y="35693"/>
                    <a:pt x="8134" y="35861"/>
                    <a:pt x="8100" y="36029"/>
                  </a:cubicBezTo>
                  <a:cubicBezTo>
                    <a:pt x="8000" y="36298"/>
                    <a:pt x="7932" y="36567"/>
                    <a:pt x="7865" y="36836"/>
                  </a:cubicBezTo>
                  <a:cubicBezTo>
                    <a:pt x="7832" y="37004"/>
                    <a:pt x="7798" y="37172"/>
                    <a:pt x="7764" y="37340"/>
                  </a:cubicBezTo>
                  <a:cubicBezTo>
                    <a:pt x="7697" y="37609"/>
                    <a:pt x="7630" y="37911"/>
                    <a:pt x="7596" y="38180"/>
                  </a:cubicBezTo>
                  <a:cubicBezTo>
                    <a:pt x="7563" y="38314"/>
                    <a:pt x="7529" y="38482"/>
                    <a:pt x="7495" y="38617"/>
                  </a:cubicBezTo>
                  <a:cubicBezTo>
                    <a:pt x="7428" y="38986"/>
                    <a:pt x="7361" y="39356"/>
                    <a:pt x="7294" y="39726"/>
                  </a:cubicBezTo>
                  <a:cubicBezTo>
                    <a:pt x="7294" y="39793"/>
                    <a:pt x="7260" y="39827"/>
                    <a:pt x="7260" y="39894"/>
                  </a:cubicBezTo>
                  <a:cubicBezTo>
                    <a:pt x="7193" y="40297"/>
                    <a:pt x="7126" y="40734"/>
                    <a:pt x="7092" y="41137"/>
                  </a:cubicBezTo>
                  <a:cubicBezTo>
                    <a:pt x="7092" y="41272"/>
                    <a:pt x="7059" y="41373"/>
                    <a:pt x="7059" y="41507"/>
                  </a:cubicBezTo>
                  <a:cubicBezTo>
                    <a:pt x="7025" y="41810"/>
                    <a:pt x="6991" y="42112"/>
                    <a:pt x="6958" y="42381"/>
                  </a:cubicBezTo>
                  <a:cubicBezTo>
                    <a:pt x="6958" y="42549"/>
                    <a:pt x="6924" y="42683"/>
                    <a:pt x="6924" y="42818"/>
                  </a:cubicBezTo>
                  <a:cubicBezTo>
                    <a:pt x="6891" y="43120"/>
                    <a:pt x="6891" y="43389"/>
                    <a:pt x="6891" y="43658"/>
                  </a:cubicBezTo>
                  <a:cubicBezTo>
                    <a:pt x="6857" y="43792"/>
                    <a:pt x="6857" y="43927"/>
                    <a:pt x="6857" y="44061"/>
                  </a:cubicBezTo>
                  <a:cubicBezTo>
                    <a:pt x="6857" y="44465"/>
                    <a:pt x="6823" y="44868"/>
                    <a:pt x="6823" y="45271"/>
                  </a:cubicBezTo>
                  <a:cubicBezTo>
                    <a:pt x="6823" y="45675"/>
                    <a:pt x="6857" y="46078"/>
                    <a:pt x="6857" y="46481"/>
                  </a:cubicBezTo>
                  <a:cubicBezTo>
                    <a:pt x="6857" y="46582"/>
                    <a:pt x="6891" y="46716"/>
                    <a:pt x="6891" y="46817"/>
                  </a:cubicBezTo>
                  <a:cubicBezTo>
                    <a:pt x="6891" y="47086"/>
                    <a:pt x="6924" y="47355"/>
                    <a:pt x="6958" y="47624"/>
                  </a:cubicBezTo>
                  <a:cubicBezTo>
                    <a:pt x="6958" y="47792"/>
                    <a:pt x="6991" y="47926"/>
                    <a:pt x="6991" y="48094"/>
                  </a:cubicBezTo>
                  <a:cubicBezTo>
                    <a:pt x="7025" y="48296"/>
                    <a:pt x="7059" y="48531"/>
                    <a:pt x="7059" y="48767"/>
                  </a:cubicBezTo>
                  <a:cubicBezTo>
                    <a:pt x="7092" y="48935"/>
                    <a:pt x="7126" y="49069"/>
                    <a:pt x="7159" y="49237"/>
                  </a:cubicBezTo>
                  <a:cubicBezTo>
                    <a:pt x="7193" y="49439"/>
                    <a:pt x="7227" y="49640"/>
                    <a:pt x="7260" y="49842"/>
                  </a:cubicBezTo>
                  <a:cubicBezTo>
                    <a:pt x="7294" y="50010"/>
                    <a:pt x="7327" y="50212"/>
                    <a:pt x="7361" y="50380"/>
                  </a:cubicBezTo>
                  <a:cubicBezTo>
                    <a:pt x="7395" y="50548"/>
                    <a:pt x="7428" y="50716"/>
                    <a:pt x="7462" y="50884"/>
                  </a:cubicBezTo>
                  <a:cubicBezTo>
                    <a:pt x="7529" y="51119"/>
                    <a:pt x="7563" y="51321"/>
                    <a:pt x="7630" y="51489"/>
                  </a:cubicBezTo>
                  <a:cubicBezTo>
                    <a:pt x="7664" y="51657"/>
                    <a:pt x="7731" y="51825"/>
                    <a:pt x="7764" y="51959"/>
                  </a:cubicBezTo>
                  <a:cubicBezTo>
                    <a:pt x="7832" y="52195"/>
                    <a:pt x="7932" y="52430"/>
                    <a:pt x="8000" y="52665"/>
                  </a:cubicBezTo>
                  <a:cubicBezTo>
                    <a:pt x="8033" y="52800"/>
                    <a:pt x="8100" y="52934"/>
                    <a:pt x="8134" y="53035"/>
                  </a:cubicBezTo>
                  <a:cubicBezTo>
                    <a:pt x="8302" y="53438"/>
                    <a:pt x="8437" y="53808"/>
                    <a:pt x="8605" y="54178"/>
                  </a:cubicBezTo>
                  <a:cubicBezTo>
                    <a:pt x="8739" y="54446"/>
                    <a:pt x="8873" y="54715"/>
                    <a:pt x="9041" y="54984"/>
                  </a:cubicBezTo>
                  <a:cubicBezTo>
                    <a:pt x="9041" y="54984"/>
                    <a:pt x="9041" y="54984"/>
                    <a:pt x="9041" y="54984"/>
                  </a:cubicBezTo>
                  <a:cubicBezTo>
                    <a:pt x="9176" y="55253"/>
                    <a:pt x="9344" y="55522"/>
                    <a:pt x="9512" y="55757"/>
                  </a:cubicBezTo>
                  <a:cubicBezTo>
                    <a:pt x="9546" y="55824"/>
                    <a:pt x="9579" y="55858"/>
                    <a:pt x="9613" y="55925"/>
                  </a:cubicBezTo>
                  <a:cubicBezTo>
                    <a:pt x="9714" y="56093"/>
                    <a:pt x="9848" y="56295"/>
                    <a:pt x="9982" y="56463"/>
                  </a:cubicBezTo>
                  <a:cubicBezTo>
                    <a:pt x="10050" y="56530"/>
                    <a:pt x="10083" y="56597"/>
                    <a:pt x="10151" y="56665"/>
                  </a:cubicBezTo>
                  <a:cubicBezTo>
                    <a:pt x="10251" y="56833"/>
                    <a:pt x="10386" y="57001"/>
                    <a:pt x="10520" y="57135"/>
                  </a:cubicBezTo>
                  <a:cubicBezTo>
                    <a:pt x="10587" y="57202"/>
                    <a:pt x="10621" y="57270"/>
                    <a:pt x="10655" y="57303"/>
                  </a:cubicBezTo>
                  <a:cubicBezTo>
                    <a:pt x="10856" y="57505"/>
                    <a:pt x="11024" y="57706"/>
                    <a:pt x="11226" y="57875"/>
                  </a:cubicBezTo>
                  <a:cubicBezTo>
                    <a:pt x="11260" y="57908"/>
                    <a:pt x="11260" y="57942"/>
                    <a:pt x="11293" y="57975"/>
                  </a:cubicBezTo>
                  <a:cubicBezTo>
                    <a:pt x="11461" y="58110"/>
                    <a:pt x="11629" y="58278"/>
                    <a:pt x="11797" y="58412"/>
                  </a:cubicBezTo>
                  <a:cubicBezTo>
                    <a:pt x="11865" y="58479"/>
                    <a:pt x="11932" y="58513"/>
                    <a:pt x="11999" y="58580"/>
                  </a:cubicBezTo>
                  <a:cubicBezTo>
                    <a:pt x="12167" y="58681"/>
                    <a:pt x="12301" y="58816"/>
                    <a:pt x="12470" y="58916"/>
                  </a:cubicBezTo>
                  <a:cubicBezTo>
                    <a:pt x="12537" y="58950"/>
                    <a:pt x="12570" y="59017"/>
                    <a:pt x="12638" y="59051"/>
                  </a:cubicBezTo>
                  <a:cubicBezTo>
                    <a:pt x="12873" y="59219"/>
                    <a:pt x="13074" y="59353"/>
                    <a:pt x="13310" y="59488"/>
                  </a:cubicBezTo>
                  <a:lnTo>
                    <a:pt x="6454" y="55488"/>
                  </a:lnTo>
                  <a:cubicBezTo>
                    <a:pt x="6252" y="55387"/>
                    <a:pt x="6017" y="55219"/>
                    <a:pt x="5815" y="55085"/>
                  </a:cubicBezTo>
                  <a:cubicBezTo>
                    <a:pt x="5748" y="55051"/>
                    <a:pt x="5681" y="54984"/>
                    <a:pt x="5613" y="54951"/>
                  </a:cubicBezTo>
                  <a:cubicBezTo>
                    <a:pt x="5479" y="54850"/>
                    <a:pt x="5311" y="54715"/>
                    <a:pt x="5176" y="54614"/>
                  </a:cubicBezTo>
                  <a:cubicBezTo>
                    <a:pt x="5109" y="54547"/>
                    <a:pt x="5042" y="54514"/>
                    <a:pt x="4975" y="54446"/>
                  </a:cubicBezTo>
                  <a:cubicBezTo>
                    <a:pt x="4807" y="54312"/>
                    <a:pt x="4639" y="54144"/>
                    <a:pt x="4471" y="53976"/>
                  </a:cubicBezTo>
                  <a:cubicBezTo>
                    <a:pt x="4437" y="53976"/>
                    <a:pt x="4403" y="53942"/>
                    <a:pt x="4403" y="53909"/>
                  </a:cubicBezTo>
                  <a:cubicBezTo>
                    <a:pt x="4202" y="53741"/>
                    <a:pt x="4000" y="53539"/>
                    <a:pt x="3832" y="53337"/>
                  </a:cubicBezTo>
                  <a:cubicBezTo>
                    <a:pt x="3799" y="53270"/>
                    <a:pt x="3731" y="53203"/>
                    <a:pt x="3698" y="53169"/>
                  </a:cubicBezTo>
                  <a:cubicBezTo>
                    <a:pt x="3563" y="53001"/>
                    <a:pt x="3429" y="52867"/>
                    <a:pt x="3294" y="52699"/>
                  </a:cubicBezTo>
                  <a:cubicBezTo>
                    <a:pt x="3261" y="52632"/>
                    <a:pt x="3194" y="52564"/>
                    <a:pt x="3160" y="52497"/>
                  </a:cubicBezTo>
                  <a:cubicBezTo>
                    <a:pt x="3026" y="52295"/>
                    <a:pt x="2891" y="52127"/>
                    <a:pt x="2757" y="51926"/>
                  </a:cubicBezTo>
                  <a:cubicBezTo>
                    <a:pt x="2723" y="51892"/>
                    <a:pt x="2689" y="51859"/>
                    <a:pt x="2656" y="51791"/>
                  </a:cubicBezTo>
                  <a:cubicBezTo>
                    <a:pt x="2656" y="51758"/>
                    <a:pt x="2656" y="51758"/>
                    <a:pt x="2622" y="51758"/>
                  </a:cubicBezTo>
                  <a:cubicBezTo>
                    <a:pt x="2488" y="51522"/>
                    <a:pt x="2353" y="51254"/>
                    <a:pt x="2185" y="51018"/>
                  </a:cubicBezTo>
                  <a:cubicBezTo>
                    <a:pt x="2185" y="51018"/>
                    <a:pt x="2185" y="51018"/>
                    <a:pt x="2185" y="51018"/>
                  </a:cubicBezTo>
                  <a:cubicBezTo>
                    <a:pt x="2051" y="50749"/>
                    <a:pt x="1916" y="50481"/>
                    <a:pt x="1816" y="50245"/>
                  </a:cubicBezTo>
                  <a:cubicBezTo>
                    <a:pt x="1782" y="50212"/>
                    <a:pt x="1782" y="50212"/>
                    <a:pt x="1782" y="50178"/>
                  </a:cubicBezTo>
                  <a:cubicBezTo>
                    <a:pt x="1614" y="49842"/>
                    <a:pt x="1446" y="49472"/>
                    <a:pt x="1311" y="49069"/>
                  </a:cubicBezTo>
                  <a:cubicBezTo>
                    <a:pt x="1311" y="49035"/>
                    <a:pt x="1278" y="49002"/>
                    <a:pt x="1278" y="48968"/>
                  </a:cubicBezTo>
                  <a:cubicBezTo>
                    <a:pt x="1244" y="48867"/>
                    <a:pt x="1211" y="48800"/>
                    <a:pt x="1177" y="48699"/>
                  </a:cubicBezTo>
                  <a:cubicBezTo>
                    <a:pt x="1110" y="48464"/>
                    <a:pt x="1009" y="48229"/>
                    <a:pt x="942" y="47994"/>
                  </a:cubicBezTo>
                  <a:cubicBezTo>
                    <a:pt x="908" y="47926"/>
                    <a:pt x="908" y="47859"/>
                    <a:pt x="875" y="47792"/>
                  </a:cubicBezTo>
                  <a:cubicBezTo>
                    <a:pt x="841" y="47725"/>
                    <a:pt x="841" y="47624"/>
                    <a:pt x="807" y="47523"/>
                  </a:cubicBezTo>
                  <a:cubicBezTo>
                    <a:pt x="740" y="47321"/>
                    <a:pt x="707" y="47120"/>
                    <a:pt x="639" y="46918"/>
                  </a:cubicBezTo>
                  <a:cubicBezTo>
                    <a:pt x="639" y="46817"/>
                    <a:pt x="606" y="46750"/>
                    <a:pt x="572" y="46683"/>
                  </a:cubicBezTo>
                  <a:cubicBezTo>
                    <a:pt x="572" y="46582"/>
                    <a:pt x="538" y="46481"/>
                    <a:pt x="538" y="46380"/>
                  </a:cubicBezTo>
                  <a:cubicBezTo>
                    <a:pt x="505" y="46212"/>
                    <a:pt x="471" y="46044"/>
                    <a:pt x="438" y="45843"/>
                  </a:cubicBezTo>
                  <a:cubicBezTo>
                    <a:pt x="404" y="45775"/>
                    <a:pt x="370" y="45675"/>
                    <a:pt x="370" y="45574"/>
                  </a:cubicBezTo>
                  <a:cubicBezTo>
                    <a:pt x="337" y="45473"/>
                    <a:pt x="337" y="45372"/>
                    <a:pt x="303" y="45271"/>
                  </a:cubicBezTo>
                  <a:cubicBezTo>
                    <a:pt x="303" y="45103"/>
                    <a:pt x="270" y="44935"/>
                    <a:pt x="236" y="44767"/>
                  </a:cubicBezTo>
                  <a:cubicBezTo>
                    <a:pt x="236" y="44700"/>
                    <a:pt x="236" y="44599"/>
                    <a:pt x="202" y="44532"/>
                  </a:cubicBezTo>
                  <a:cubicBezTo>
                    <a:pt x="202" y="44397"/>
                    <a:pt x="169" y="44263"/>
                    <a:pt x="169" y="44095"/>
                  </a:cubicBezTo>
                  <a:cubicBezTo>
                    <a:pt x="135" y="43961"/>
                    <a:pt x="135" y="43792"/>
                    <a:pt x="135" y="43658"/>
                  </a:cubicBezTo>
                  <a:cubicBezTo>
                    <a:pt x="102" y="43591"/>
                    <a:pt x="102" y="43524"/>
                    <a:pt x="102" y="43456"/>
                  </a:cubicBezTo>
                  <a:cubicBezTo>
                    <a:pt x="68" y="43255"/>
                    <a:pt x="68" y="43053"/>
                    <a:pt x="68" y="42851"/>
                  </a:cubicBezTo>
                  <a:cubicBezTo>
                    <a:pt x="68" y="42717"/>
                    <a:pt x="34" y="42616"/>
                    <a:pt x="34" y="42515"/>
                  </a:cubicBezTo>
                  <a:cubicBezTo>
                    <a:pt x="34" y="42482"/>
                    <a:pt x="34" y="42448"/>
                    <a:pt x="34" y="42415"/>
                  </a:cubicBezTo>
                  <a:cubicBezTo>
                    <a:pt x="34" y="42078"/>
                    <a:pt x="1" y="41709"/>
                    <a:pt x="1" y="41339"/>
                  </a:cubicBezTo>
                  <a:lnTo>
                    <a:pt x="1" y="41272"/>
                  </a:lnTo>
                  <a:cubicBezTo>
                    <a:pt x="34" y="40969"/>
                    <a:pt x="34" y="40633"/>
                    <a:pt x="34" y="40297"/>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36" name="Google Shape;3731;p49"/>
            <p:cNvSpPr/>
            <p:nvPr/>
          </p:nvSpPr>
          <p:spPr>
            <a:xfrm>
              <a:off x="-24138525" y="8521800"/>
              <a:ext cx="1109950" cy="1626700"/>
            </a:xfrm>
            <a:custGeom>
              <a:avLst/>
              <a:gdLst/>
              <a:ahLst/>
              <a:cxnLst/>
              <a:rect l="l" t="t" r="r" b="b"/>
              <a:pathLst>
                <a:path w="44398" h="65068" extrusionOk="0">
                  <a:moveTo>
                    <a:pt x="22115" y="7059"/>
                  </a:moveTo>
                  <a:cubicBezTo>
                    <a:pt x="9881" y="14116"/>
                    <a:pt x="0" y="31257"/>
                    <a:pt x="34" y="45305"/>
                  </a:cubicBezTo>
                  <a:cubicBezTo>
                    <a:pt x="68" y="59387"/>
                    <a:pt x="10049" y="65067"/>
                    <a:pt x="22283" y="57976"/>
                  </a:cubicBezTo>
                  <a:cubicBezTo>
                    <a:pt x="34516" y="50918"/>
                    <a:pt x="44397" y="33778"/>
                    <a:pt x="44364" y="19729"/>
                  </a:cubicBezTo>
                  <a:cubicBezTo>
                    <a:pt x="44296" y="5681"/>
                    <a:pt x="34348" y="1"/>
                    <a:pt x="22115" y="7059"/>
                  </a:cubicBezTo>
                  <a:close/>
                </a:path>
              </a:pathLst>
            </a:custGeom>
            <a:solidFill>
              <a:srgbClr val="BF4CA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37" name="Google Shape;3732;p49"/>
            <p:cNvSpPr/>
            <p:nvPr/>
          </p:nvSpPr>
          <p:spPr>
            <a:xfrm>
              <a:off x="-24058700" y="8725200"/>
              <a:ext cx="948625" cy="1217050"/>
            </a:xfrm>
            <a:custGeom>
              <a:avLst/>
              <a:gdLst/>
              <a:ahLst/>
              <a:cxnLst/>
              <a:rect l="l" t="t" r="r" b="b"/>
              <a:pathLst>
                <a:path w="37945" h="48682" extrusionOk="0">
                  <a:moveTo>
                    <a:pt x="27406" y="1"/>
                  </a:moveTo>
                  <a:cubicBezTo>
                    <a:pt x="24851" y="1"/>
                    <a:pt x="21969" y="832"/>
                    <a:pt x="18922" y="2586"/>
                  </a:cubicBezTo>
                  <a:cubicBezTo>
                    <a:pt x="8469" y="8636"/>
                    <a:pt x="0" y="23255"/>
                    <a:pt x="34" y="35254"/>
                  </a:cubicBezTo>
                  <a:cubicBezTo>
                    <a:pt x="58" y="43769"/>
                    <a:pt x="4323" y="48682"/>
                    <a:pt x="10520" y="48682"/>
                  </a:cubicBezTo>
                  <a:cubicBezTo>
                    <a:pt x="13079" y="48682"/>
                    <a:pt x="15968" y="47844"/>
                    <a:pt x="19023" y="46076"/>
                  </a:cubicBezTo>
                  <a:cubicBezTo>
                    <a:pt x="29475" y="40060"/>
                    <a:pt x="37944" y="25406"/>
                    <a:pt x="37911" y="13408"/>
                  </a:cubicBezTo>
                  <a:cubicBezTo>
                    <a:pt x="37887" y="4908"/>
                    <a:pt x="33612" y="1"/>
                    <a:pt x="27406" y="1"/>
                  </a:cubicBezTo>
                  <a:close/>
                </a:path>
              </a:pathLst>
            </a:custGeom>
            <a:solidFill>
              <a:srgbClr val="F0EEF2"/>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38" name="Google Shape;3733;p49"/>
            <p:cNvSpPr/>
            <p:nvPr/>
          </p:nvSpPr>
          <p:spPr>
            <a:xfrm>
              <a:off x="-23946125" y="8868875"/>
              <a:ext cx="724300" cy="930025"/>
            </a:xfrm>
            <a:custGeom>
              <a:avLst/>
              <a:gdLst/>
              <a:ahLst/>
              <a:cxnLst/>
              <a:rect l="l" t="t" r="r" b="b"/>
              <a:pathLst>
                <a:path w="28972" h="37201" extrusionOk="0">
                  <a:moveTo>
                    <a:pt x="20912" y="1"/>
                  </a:moveTo>
                  <a:cubicBezTo>
                    <a:pt x="18958" y="1"/>
                    <a:pt x="16753" y="637"/>
                    <a:pt x="14419" y="1981"/>
                  </a:cubicBezTo>
                  <a:cubicBezTo>
                    <a:pt x="6454" y="6585"/>
                    <a:pt x="1" y="17777"/>
                    <a:pt x="34" y="26952"/>
                  </a:cubicBezTo>
                  <a:cubicBezTo>
                    <a:pt x="34" y="33450"/>
                    <a:pt x="3304" y="37200"/>
                    <a:pt x="8042" y="37200"/>
                  </a:cubicBezTo>
                  <a:cubicBezTo>
                    <a:pt x="9994" y="37200"/>
                    <a:pt x="12195" y="36564"/>
                    <a:pt x="14520" y="35220"/>
                  </a:cubicBezTo>
                  <a:cubicBezTo>
                    <a:pt x="22518" y="30582"/>
                    <a:pt x="28971" y="19424"/>
                    <a:pt x="28938" y="10249"/>
                  </a:cubicBezTo>
                  <a:cubicBezTo>
                    <a:pt x="28914" y="3751"/>
                    <a:pt x="25654" y="1"/>
                    <a:pt x="20912" y="1"/>
                  </a:cubicBezTo>
                  <a:close/>
                </a:path>
              </a:pathLst>
            </a:custGeom>
            <a:solidFill>
              <a:srgbClr val="A96EEC"/>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39" name="Google Shape;3734;p49"/>
            <p:cNvSpPr/>
            <p:nvPr/>
          </p:nvSpPr>
          <p:spPr>
            <a:xfrm>
              <a:off x="-23834375" y="9012550"/>
              <a:ext cx="499950" cy="642150"/>
            </a:xfrm>
            <a:custGeom>
              <a:avLst/>
              <a:gdLst/>
              <a:ahLst/>
              <a:cxnLst/>
              <a:rect l="l" t="t" r="r" b="b"/>
              <a:pathLst>
                <a:path w="19998" h="25686" extrusionOk="0">
                  <a:moveTo>
                    <a:pt x="14463" y="1"/>
                  </a:moveTo>
                  <a:cubicBezTo>
                    <a:pt x="13115" y="1"/>
                    <a:pt x="11593" y="443"/>
                    <a:pt x="9982" y="1376"/>
                  </a:cubicBezTo>
                  <a:cubicBezTo>
                    <a:pt x="4471" y="4569"/>
                    <a:pt x="1" y="12265"/>
                    <a:pt x="34" y="18617"/>
                  </a:cubicBezTo>
                  <a:cubicBezTo>
                    <a:pt x="34" y="23098"/>
                    <a:pt x="2299" y="25685"/>
                    <a:pt x="5581" y="25685"/>
                  </a:cubicBezTo>
                  <a:cubicBezTo>
                    <a:pt x="6928" y="25685"/>
                    <a:pt x="8446" y="25250"/>
                    <a:pt x="10050" y="24331"/>
                  </a:cubicBezTo>
                  <a:cubicBezTo>
                    <a:pt x="15561" y="21138"/>
                    <a:pt x="19998" y="13408"/>
                    <a:pt x="19964" y="7090"/>
                  </a:cubicBezTo>
                  <a:cubicBezTo>
                    <a:pt x="19964" y="2594"/>
                    <a:pt x="17725" y="1"/>
                    <a:pt x="14463" y="1"/>
                  </a:cubicBezTo>
                  <a:close/>
                </a:path>
              </a:pathLst>
            </a:custGeom>
            <a:solidFill>
              <a:srgbClr val="F0EEF2"/>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40" name="Google Shape;3735;p49"/>
            <p:cNvSpPr/>
            <p:nvPr/>
          </p:nvSpPr>
          <p:spPr>
            <a:xfrm>
              <a:off x="-23678925" y="9194825"/>
              <a:ext cx="189075" cy="278125"/>
            </a:xfrm>
            <a:custGeom>
              <a:avLst/>
              <a:gdLst/>
              <a:ahLst/>
              <a:cxnLst/>
              <a:rect l="l" t="t" r="r" b="b"/>
              <a:pathLst>
                <a:path w="7563" h="11125" extrusionOk="0">
                  <a:moveTo>
                    <a:pt x="3764" y="1210"/>
                  </a:moveTo>
                  <a:cubicBezTo>
                    <a:pt x="1681" y="2420"/>
                    <a:pt x="0" y="5344"/>
                    <a:pt x="0" y="7730"/>
                  </a:cubicBezTo>
                  <a:cubicBezTo>
                    <a:pt x="0" y="10150"/>
                    <a:pt x="1714" y="11125"/>
                    <a:pt x="3798" y="9915"/>
                  </a:cubicBezTo>
                  <a:cubicBezTo>
                    <a:pt x="5882" y="8705"/>
                    <a:pt x="7562" y="5781"/>
                    <a:pt x="7562" y="3361"/>
                  </a:cubicBezTo>
                  <a:cubicBezTo>
                    <a:pt x="7562" y="975"/>
                    <a:pt x="5848" y="0"/>
                    <a:pt x="3764" y="1210"/>
                  </a:cubicBezTo>
                  <a:close/>
                </a:path>
              </a:pathLst>
            </a:custGeom>
            <a:solidFill>
              <a:srgbClr val="BF4CA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41" name="Google Shape;3736;p49"/>
            <p:cNvSpPr/>
            <p:nvPr/>
          </p:nvSpPr>
          <p:spPr>
            <a:xfrm>
              <a:off x="-23591550" y="9329250"/>
              <a:ext cx="21025" cy="43725"/>
            </a:xfrm>
            <a:custGeom>
              <a:avLst/>
              <a:gdLst/>
              <a:ahLst/>
              <a:cxnLst/>
              <a:rect l="l" t="t" r="r" b="b"/>
              <a:pathLst>
                <a:path w="841" h="1749" extrusionOk="0">
                  <a:moveTo>
                    <a:pt x="841" y="1"/>
                  </a:moveTo>
                  <a:lnTo>
                    <a:pt x="0" y="505"/>
                  </a:lnTo>
                  <a:lnTo>
                    <a:pt x="0" y="1748"/>
                  </a:lnTo>
                  <a:lnTo>
                    <a:pt x="841" y="1244"/>
                  </a:lnTo>
                  <a:lnTo>
                    <a:pt x="841" y="1"/>
                  </a:lnTo>
                  <a:close/>
                </a:path>
              </a:pathLst>
            </a:custGeom>
            <a:solidFill>
              <a:srgbClr val="5B4A78"/>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42" name="Google Shape;3737;p49"/>
            <p:cNvSpPr/>
            <p:nvPr/>
          </p:nvSpPr>
          <p:spPr>
            <a:xfrm>
              <a:off x="-22749650" y="9818250"/>
              <a:ext cx="20175" cy="31125"/>
            </a:xfrm>
            <a:custGeom>
              <a:avLst/>
              <a:gdLst/>
              <a:ahLst/>
              <a:cxnLst/>
              <a:rect l="l" t="t" r="r" b="b"/>
              <a:pathLst>
                <a:path w="807" h="1245" extrusionOk="0">
                  <a:moveTo>
                    <a:pt x="0" y="1"/>
                  </a:moveTo>
                  <a:lnTo>
                    <a:pt x="0" y="1244"/>
                  </a:lnTo>
                  <a:lnTo>
                    <a:pt x="807" y="1244"/>
                  </a:lnTo>
                  <a:lnTo>
                    <a:pt x="807" y="1"/>
                  </a:lnTo>
                  <a:close/>
                </a:path>
              </a:pathLst>
            </a:custGeom>
            <a:solidFill>
              <a:srgbClr val="6F6089"/>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43" name="Google Shape;3738;p49"/>
            <p:cNvSpPr/>
            <p:nvPr/>
          </p:nvSpPr>
          <p:spPr>
            <a:xfrm>
              <a:off x="-22749650" y="9818250"/>
              <a:ext cx="1700" cy="44575"/>
            </a:xfrm>
            <a:custGeom>
              <a:avLst/>
              <a:gdLst/>
              <a:ahLst/>
              <a:cxnLst/>
              <a:rect l="l" t="t" r="r" b="b"/>
              <a:pathLst>
                <a:path w="68" h="1783" extrusionOk="0">
                  <a:moveTo>
                    <a:pt x="0" y="1"/>
                  </a:moveTo>
                  <a:lnTo>
                    <a:pt x="0" y="1244"/>
                  </a:lnTo>
                  <a:lnTo>
                    <a:pt x="68" y="1782"/>
                  </a:lnTo>
                  <a:lnTo>
                    <a:pt x="68" y="572"/>
                  </a:lnTo>
                  <a:lnTo>
                    <a:pt x="0" y="1"/>
                  </a:lnTo>
                  <a:close/>
                </a:path>
              </a:pathLst>
            </a:custGeom>
            <a:solidFill>
              <a:srgbClr val="64548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44" name="Google Shape;3739;p49"/>
            <p:cNvSpPr/>
            <p:nvPr/>
          </p:nvSpPr>
          <p:spPr>
            <a:xfrm>
              <a:off x="-23591550" y="9341850"/>
              <a:ext cx="843600" cy="520975"/>
            </a:xfrm>
            <a:custGeom>
              <a:avLst/>
              <a:gdLst/>
              <a:ahLst/>
              <a:cxnLst/>
              <a:rect l="l" t="t" r="r" b="b"/>
              <a:pathLst>
                <a:path w="33744" h="20839" extrusionOk="0">
                  <a:moveTo>
                    <a:pt x="0" y="1"/>
                  </a:moveTo>
                  <a:lnTo>
                    <a:pt x="0" y="1244"/>
                  </a:lnTo>
                  <a:lnTo>
                    <a:pt x="33744" y="20838"/>
                  </a:lnTo>
                  <a:lnTo>
                    <a:pt x="33744" y="19628"/>
                  </a:ln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45" name="Google Shape;3740;p49"/>
            <p:cNvSpPr/>
            <p:nvPr/>
          </p:nvSpPr>
          <p:spPr>
            <a:xfrm>
              <a:off x="-22730325" y="9828350"/>
              <a:ext cx="19350" cy="31100"/>
            </a:xfrm>
            <a:custGeom>
              <a:avLst/>
              <a:gdLst/>
              <a:ahLst/>
              <a:cxnLst/>
              <a:rect l="l" t="t" r="r" b="b"/>
              <a:pathLst>
                <a:path w="774" h="1244" extrusionOk="0">
                  <a:moveTo>
                    <a:pt x="0" y="0"/>
                  </a:moveTo>
                  <a:lnTo>
                    <a:pt x="0" y="1244"/>
                  </a:lnTo>
                  <a:lnTo>
                    <a:pt x="773" y="1244"/>
                  </a:lnTo>
                  <a:lnTo>
                    <a:pt x="773" y="0"/>
                  </a:lnTo>
                  <a:close/>
                </a:path>
              </a:pathLst>
            </a:custGeom>
            <a:solidFill>
              <a:srgbClr val="6F6089"/>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46" name="Google Shape;3741;p49"/>
            <p:cNvSpPr/>
            <p:nvPr/>
          </p:nvSpPr>
          <p:spPr>
            <a:xfrm>
              <a:off x="-22626150" y="9818250"/>
              <a:ext cx="25" cy="41200"/>
            </a:xfrm>
            <a:custGeom>
              <a:avLst/>
              <a:gdLst/>
              <a:ahLst/>
              <a:cxnLst/>
              <a:rect l="l" t="t" r="r" b="b"/>
              <a:pathLst>
                <a:path w="1" h="1648" extrusionOk="0">
                  <a:moveTo>
                    <a:pt x="1" y="404"/>
                  </a:moveTo>
                  <a:lnTo>
                    <a:pt x="1" y="1648"/>
                  </a:lnTo>
                  <a:lnTo>
                    <a:pt x="1" y="1211"/>
                  </a:lnTo>
                  <a:lnTo>
                    <a:pt x="1" y="1"/>
                  </a:lnTo>
                  <a:close/>
                </a:path>
              </a:pathLst>
            </a:custGeom>
            <a:solidFill>
              <a:srgbClr val="57467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47" name="Google Shape;3742;p49"/>
            <p:cNvSpPr/>
            <p:nvPr/>
          </p:nvSpPr>
          <p:spPr>
            <a:xfrm>
              <a:off x="-22711000" y="9828350"/>
              <a:ext cx="84875" cy="31100"/>
            </a:xfrm>
            <a:custGeom>
              <a:avLst/>
              <a:gdLst/>
              <a:ahLst/>
              <a:cxnLst/>
              <a:rect l="l" t="t" r="r" b="b"/>
              <a:pathLst>
                <a:path w="3395" h="1244" extrusionOk="0">
                  <a:moveTo>
                    <a:pt x="0" y="0"/>
                  </a:moveTo>
                  <a:lnTo>
                    <a:pt x="0" y="1244"/>
                  </a:lnTo>
                  <a:lnTo>
                    <a:pt x="3395" y="1244"/>
                  </a:lnTo>
                  <a:lnTo>
                    <a:pt x="3395" y="0"/>
                  </a:ln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48" name="Google Shape;3743;p49"/>
            <p:cNvSpPr/>
            <p:nvPr/>
          </p:nvSpPr>
          <p:spPr>
            <a:xfrm>
              <a:off x="-22730325" y="9828350"/>
              <a:ext cx="1700" cy="46225"/>
            </a:xfrm>
            <a:custGeom>
              <a:avLst/>
              <a:gdLst/>
              <a:ahLst/>
              <a:cxnLst/>
              <a:rect l="l" t="t" r="r" b="b"/>
              <a:pathLst>
                <a:path w="68" h="1849" extrusionOk="0">
                  <a:moveTo>
                    <a:pt x="0" y="0"/>
                  </a:moveTo>
                  <a:lnTo>
                    <a:pt x="0" y="1244"/>
                  </a:lnTo>
                  <a:lnTo>
                    <a:pt x="68" y="1849"/>
                  </a:lnTo>
                  <a:lnTo>
                    <a:pt x="68" y="605"/>
                  </a:lnTo>
                  <a:lnTo>
                    <a:pt x="0" y="0"/>
                  </a:lnTo>
                  <a:close/>
                </a:path>
              </a:pathLst>
            </a:custGeom>
            <a:solidFill>
              <a:srgbClr val="64548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49" name="Google Shape;3744;p49"/>
            <p:cNvSpPr/>
            <p:nvPr/>
          </p:nvSpPr>
          <p:spPr>
            <a:xfrm>
              <a:off x="-22685800" y="9855225"/>
              <a:ext cx="21025" cy="31125"/>
            </a:xfrm>
            <a:custGeom>
              <a:avLst/>
              <a:gdLst/>
              <a:ahLst/>
              <a:cxnLst/>
              <a:rect l="l" t="t" r="r" b="b"/>
              <a:pathLst>
                <a:path w="841" h="1245" extrusionOk="0">
                  <a:moveTo>
                    <a:pt x="1" y="1"/>
                  </a:moveTo>
                  <a:lnTo>
                    <a:pt x="1" y="1244"/>
                  </a:lnTo>
                  <a:lnTo>
                    <a:pt x="841" y="1244"/>
                  </a:lnTo>
                  <a:lnTo>
                    <a:pt x="841" y="1"/>
                  </a:lnTo>
                  <a:close/>
                </a:path>
              </a:pathLst>
            </a:custGeom>
            <a:solidFill>
              <a:srgbClr val="6F6089"/>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50" name="Google Shape;3745;p49"/>
            <p:cNvSpPr/>
            <p:nvPr/>
          </p:nvSpPr>
          <p:spPr>
            <a:xfrm>
              <a:off x="-22666475" y="9866150"/>
              <a:ext cx="19350" cy="30275"/>
            </a:xfrm>
            <a:custGeom>
              <a:avLst/>
              <a:gdLst/>
              <a:ahLst/>
              <a:cxnLst/>
              <a:rect l="l" t="t" r="r" b="b"/>
              <a:pathLst>
                <a:path w="774" h="1211" extrusionOk="0">
                  <a:moveTo>
                    <a:pt x="1" y="1"/>
                  </a:moveTo>
                  <a:lnTo>
                    <a:pt x="34" y="1211"/>
                  </a:lnTo>
                  <a:lnTo>
                    <a:pt x="774" y="1211"/>
                  </a:lnTo>
                  <a:lnTo>
                    <a:pt x="774" y="1"/>
                  </a:lnTo>
                  <a:close/>
                </a:path>
              </a:pathLst>
            </a:custGeom>
            <a:solidFill>
              <a:srgbClr val="6F6089"/>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51" name="Google Shape;3746;p49"/>
            <p:cNvSpPr/>
            <p:nvPr/>
          </p:nvSpPr>
          <p:spPr>
            <a:xfrm>
              <a:off x="-22647150" y="9865325"/>
              <a:ext cx="84875" cy="31100"/>
            </a:xfrm>
            <a:custGeom>
              <a:avLst/>
              <a:gdLst/>
              <a:ahLst/>
              <a:cxnLst/>
              <a:rect l="l" t="t" r="r" b="b"/>
              <a:pathLst>
                <a:path w="3395" h="1244" extrusionOk="0">
                  <a:moveTo>
                    <a:pt x="1" y="34"/>
                  </a:moveTo>
                  <a:lnTo>
                    <a:pt x="1" y="1244"/>
                  </a:lnTo>
                  <a:lnTo>
                    <a:pt x="3395" y="1244"/>
                  </a:lnTo>
                  <a:lnTo>
                    <a:pt x="3395" y="0"/>
                  </a:ln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52" name="Google Shape;3747;p49"/>
            <p:cNvSpPr/>
            <p:nvPr/>
          </p:nvSpPr>
          <p:spPr>
            <a:xfrm>
              <a:off x="-22562275" y="9855225"/>
              <a:ext cx="0" cy="41200"/>
            </a:xfrm>
            <a:custGeom>
              <a:avLst/>
              <a:gdLst/>
              <a:ahLst/>
              <a:cxnLst/>
              <a:rect l="l" t="t" r="r" b="b"/>
              <a:pathLst>
                <a:path h="1648" extrusionOk="0">
                  <a:moveTo>
                    <a:pt x="0" y="404"/>
                  </a:moveTo>
                  <a:lnTo>
                    <a:pt x="0" y="1648"/>
                  </a:lnTo>
                  <a:lnTo>
                    <a:pt x="0" y="1244"/>
                  </a:lnTo>
                  <a:lnTo>
                    <a:pt x="0" y="1"/>
                  </a:lnTo>
                  <a:close/>
                </a:path>
              </a:pathLst>
            </a:custGeom>
            <a:solidFill>
              <a:srgbClr val="574675"/>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53" name="Google Shape;3748;p49"/>
            <p:cNvSpPr/>
            <p:nvPr/>
          </p:nvSpPr>
          <p:spPr>
            <a:xfrm>
              <a:off x="-22685800" y="9855225"/>
              <a:ext cx="2550" cy="45400"/>
            </a:xfrm>
            <a:custGeom>
              <a:avLst/>
              <a:gdLst/>
              <a:ahLst/>
              <a:cxnLst/>
              <a:rect l="l" t="t" r="r" b="b"/>
              <a:pathLst>
                <a:path w="102" h="1816" extrusionOk="0">
                  <a:moveTo>
                    <a:pt x="1" y="1"/>
                  </a:moveTo>
                  <a:lnTo>
                    <a:pt x="1" y="1244"/>
                  </a:lnTo>
                  <a:lnTo>
                    <a:pt x="101" y="1816"/>
                  </a:lnTo>
                  <a:lnTo>
                    <a:pt x="68" y="572"/>
                  </a:lnTo>
                  <a:lnTo>
                    <a:pt x="1" y="1"/>
                  </a:lnTo>
                  <a:close/>
                </a:path>
              </a:pathLst>
            </a:custGeom>
            <a:solidFill>
              <a:srgbClr val="64548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54" name="Google Shape;3749;p49"/>
            <p:cNvSpPr/>
            <p:nvPr/>
          </p:nvSpPr>
          <p:spPr>
            <a:xfrm>
              <a:off x="-22728650" y="9843475"/>
              <a:ext cx="45400" cy="57150"/>
            </a:xfrm>
            <a:custGeom>
              <a:avLst/>
              <a:gdLst/>
              <a:ahLst/>
              <a:cxnLst/>
              <a:rect l="l" t="t" r="r" b="b"/>
              <a:pathLst>
                <a:path w="1816" h="2286" extrusionOk="0">
                  <a:moveTo>
                    <a:pt x="1" y="0"/>
                  </a:moveTo>
                  <a:lnTo>
                    <a:pt x="1" y="1244"/>
                  </a:lnTo>
                  <a:lnTo>
                    <a:pt x="1815" y="2286"/>
                  </a:lnTo>
                  <a:lnTo>
                    <a:pt x="1782" y="1042"/>
                  </a:ln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55" name="Google Shape;3750;p49"/>
            <p:cNvSpPr/>
            <p:nvPr/>
          </p:nvSpPr>
          <p:spPr>
            <a:xfrm>
              <a:off x="-22666475" y="9866150"/>
              <a:ext cx="2550" cy="45400"/>
            </a:xfrm>
            <a:custGeom>
              <a:avLst/>
              <a:gdLst/>
              <a:ahLst/>
              <a:cxnLst/>
              <a:rect l="l" t="t" r="r" b="b"/>
              <a:pathLst>
                <a:path w="102" h="1816" extrusionOk="0">
                  <a:moveTo>
                    <a:pt x="1" y="1"/>
                  </a:moveTo>
                  <a:lnTo>
                    <a:pt x="34" y="1211"/>
                  </a:lnTo>
                  <a:lnTo>
                    <a:pt x="101" y="1816"/>
                  </a:lnTo>
                  <a:lnTo>
                    <a:pt x="101" y="572"/>
                  </a:lnTo>
                  <a:lnTo>
                    <a:pt x="1" y="1"/>
                  </a:lnTo>
                  <a:close/>
                </a:path>
              </a:pathLst>
            </a:custGeom>
            <a:solidFill>
              <a:srgbClr val="64548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56" name="Google Shape;3751;p49"/>
            <p:cNvSpPr/>
            <p:nvPr/>
          </p:nvSpPr>
          <p:spPr>
            <a:xfrm>
              <a:off x="-22747975" y="9832550"/>
              <a:ext cx="7575" cy="89925"/>
            </a:xfrm>
            <a:custGeom>
              <a:avLst/>
              <a:gdLst/>
              <a:ahLst/>
              <a:cxnLst/>
              <a:rect l="l" t="t" r="r" b="b"/>
              <a:pathLst>
                <a:path w="303" h="3597" extrusionOk="0">
                  <a:moveTo>
                    <a:pt x="1" y="0"/>
                  </a:moveTo>
                  <a:lnTo>
                    <a:pt x="1" y="1210"/>
                  </a:lnTo>
                  <a:lnTo>
                    <a:pt x="303" y="3596"/>
                  </a:lnTo>
                  <a:lnTo>
                    <a:pt x="303" y="2353"/>
                  </a:ln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57" name="Google Shape;3752;p49"/>
            <p:cNvSpPr/>
            <p:nvPr/>
          </p:nvSpPr>
          <p:spPr>
            <a:xfrm>
              <a:off x="-22740400" y="9890525"/>
              <a:ext cx="17650" cy="31950"/>
            </a:xfrm>
            <a:custGeom>
              <a:avLst/>
              <a:gdLst/>
              <a:ahLst/>
              <a:cxnLst/>
              <a:rect l="l" t="t" r="r" b="b"/>
              <a:pathLst>
                <a:path w="706" h="1278" extrusionOk="0">
                  <a:moveTo>
                    <a:pt x="0" y="34"/>
                  </a:moveTo>
                  <a:lnTo>
                    <a:pt x="0" y="1277"/>
                  </a:lnTo>
                  <a:lnTo>
                    <a:pt x="706" y="1244"/>
                  </a:lnTo>
                  <a:lnTo>
                    <a:pt x="706" y="0"/>
                  </a:ln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58" name="Google Shape;3753;p49"/>
            <p:cNvSpPr/>
            <p:nvPr/>
          </p:nvSpPr>
          <p:spPr>
            <a:xfrm>
              <a:off x="-22663950" y="9880450"/>
              <a:ext cx="44550" cy="57150"/>
            </a:xfrm>
            <a:custGeom>
              <a:avLst/>
              <a:gdLst/>
              <a:ahLst/>
              <a:cxnLst/>
              <a:rect l="l" t="t" r="r" b="b"/>
              <a:pathLst>
                <a:path w="1782" h="2286" extrusionOk="0">
                  <a:moveTo>
                    <a:pt x="0" y="0"/>
                  </a:moveTo>
                  <a:lnTo>
                    <a:pt x="0" y="1244"/>
                  </a:lnTo>
                  <a:lnTo>
                    <a:pt x="1782" y="2285"/>
                  </a:lnTo>
                  <a:lnTo>
                    <a:pt x="1782" y="1042"/>
                  </a:ln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59" name="Google Shape;3754;p49"/>
            <p:cNvSpPr/>
            <p:nvPr/>
          </p:nvSpPr>
          <p:spPr>
            <a:xfrm>
              <a:off x="-23570550" y="9329250"/>
              <a:ext cx="25" cy="25"/>
            </a:xfrm>
            <a:custGeom>
              <a:avLst/>
              <a:gdLst/>
              <a:ahLst/>
              <a:cxnLst/>
              <a:rect l="l" t="t" r="r" b="b"/>
              <a:pathLst>
                <a:path w="1" h="1" extrusionOk="0">
                  <a:moveTo>
                    <a:pt x="1" y="1"/>
                  </a:move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60" name="Google Shape;3755;p49"/>
            <p:cNvSpPr/>
            <p:nvPr/>
          </p:nvSpPr>
          <p:spPr>
            <a:xfrm>
              <a:off x="-23591550" y="9329250"/>
              <a:ext cx="1029275" cy="599100"/>
            </a:xfrm>
            <a:custGeom>
              <a:avLst/>
              <a:gdLst/>
              <a:ahLst/>
              <a:cxnLst/>
              <a:rect l="l" t="t" r="r" b="b"/>
              <a:pathLst>
                <a:path w="41171" h="23964" extrusionOk="0">
                  <a:moveTo>
                    <a:pt x="41171" y="21040"/>
                  </a:moveTo>
                  <a:lnTo>
                    <a:pt x="37071" y="21040"/>
                  </a:lnTo>
                  <a:lnTo>
                    <a:pt x="37071" y="21040"/>
                  </a:lnTo>
                  <a:lnTo>
                    <a:pt x="35222" y="19964"/>
                  </a:lnTo>
                  <a:lnTo>
                    <a:pt x="35222" y="19964"/>
                  </a:lnTo>
                  <a:lnTo>
                    <a:pt x="38617" y="19964"/>
                  </a:lnTo>
                  <a:lnTo>
                    <a:pt x="38617" y="19561"/>
                  </a:lnTo>
                  <a:lnTo>
                    <a:pt x="34483" y="19561"/>
                  </a:lnTo>
                  <a:lnTo>
                    <a:pt x="841" y="1"/>
                  </a:lnTo>
                  <a:lnTo>
                    <a:pt x="0" y="505"/>
                  </a:lnTo>
                  <a:lnTo>
                    <a:pt x="33744" y="20132"/>
                  </a:lnTo>
                  <a:lnTo>
                    <a:pt x="34046" y="22485"/>
                  </a:lnTo>
                  <a:lnTo>
                    <a:pt x="34752" y="22451"/>
                  </a:lnTo>
                  <a:lnTo>
                    <a:pt x="34517" y="20569"/>
                  </a:lnTo>
                  <a:lnTo>
                    <a:pt x="36298" y="21611"/>
                  </a:lnTo>
                  <a:lnTo>
                    <a:pt x="36600" y="23964"/>
                  </a:lnTo>
                  <a:lnTo>
                    <a:pt x="37340" y="23930"/>
                  </a:lnTo>
                  <a:lnTo>
                    <a:pt x="37104" y="22048"/>
                  </a:lnTo>
                  <a:lnTo>
                    <a:pt x="38886" y="23090"/>
                  </a:lnTo>
                  <a:lnTo>
                    <a:pt x="39726" y="22586"/>
                  </a:lnTo>
                  <a:lnTo>
                    <a:pt x="37777" y="21477"/>
                  </a:lnTo>
                  <a:lnTo>
                    <a:pt x="41171" y="21443"/>
                  </a:ln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61" name="Google Shape;3756;p49"/>
            <p:cNvSpPr/>
            <p:nvPr/>
          </p:nvSpPr>
          <p:spPr>
            <a:xfrm>
              <a:off x="-22619425" y="9893875"/>
              <a:ext cx="21875" cy="43725"/>
            </a:xfrm>
            <a:custGeom>
              <a:avLst/>
              <a:gdLst/>
              <a:ahLst/>
              <a:cxnLst/>
              <a:rect l="l" t="t" r="r" b="b"/>
              <a:pathLst>
                <a:path w="875" h="1749" extrusionOk="0">
                  <a:moveTo>
                    <a:pt x="1" y="505"/>
                  </a:moveTo>
                  <a:lnTo>
                    <a:pt x="1" y="1748"/>
                  </a:lnTo>
                  <a:lnTo>
                    <a:pt x="874" y="1244"/>
                  </a:lnTo>
                  <a:lnTo>
                    <a:pt x="841" y="1"/>
                  </a:ln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62" name="Google Shape;3757;p49"/>
            <p:cNvSpPr/>
            <p:nvPr/>
          </p:nvSpPr>
          <p:spPr>
            <a:xfrm>
              <a:off x="-22676550" y="9927500"/>
              <a:ext cx="18500" cy="31950"/>
            </a:xfrm>
            <a:custGeom>
              <a:avLst/>
              <a:gdLst/>
              <a:ahLst/>
              <a:cxnLst/>
              <a:rect l="l" t="t" r="r" b="b"/>
              <a:pathLst>
                <a:path w="740" h="1278" extrusionOk="0">
                  <a:moveTo>
                    <a:pt x="0" y="34"/>
                  </a:moveTo>
                  <a:lnTo>
                    <a:pt x="0" y="1277"/>
                  </a:lnTo>
                  <a:lnTo>
                    <a:pt x="740" y="1244"/>
                  </a:lnTo>
                  <a:lnTo>
                    <a:pt x="740" y="0"/>
                  </a:ln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63" name="Google Shape;3758;p49"/>
            <p:cNvSpPr/>
            <p:nvPr/>
          </p:nvSpPr>
          <p:spPr>
            <a:xfrm>
              <a:off x="-22684125" y="9869525"/>
              <a:ext cx="7600" cy="89925"/>
            </a:xfrm>
            <a:custGeom>
              <a:avLst/>
              <a:gdLst/>
              <a:ahLst/>
              <a:cxnLst/>
              <a:rect l="l" t="t" r="r" b="b"/>
              <a:pathLst>
                <a:path w="304" h="3597" extrusionOk="0">
                  <a:moveTo>
                    <a:pt x="1" y="0"/>
                  </a:moveTo>
                  <a:lnTo>
                    <a:pt x="34" y="1244"/>
                  </a:lnTo>
                  <a:lnTo>
                    <a:pt x="303" y="3596"/>
                  </a:lnTo>
                  <a:lnTo>
                    <a:pt x="303" y="2353"/>
                  </a:ln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64" name="Google Shape;3759;p49"/>
            <p:cNvSpPr/>
            <p:nvPr/>
          </p:nvSpPr>
          <p:spPr>
            <a:xfrm>
              <a:off x="-18352800" y="8701625"/>
              <a:ext cx="107575" cy="155450"/>
            </a:xfrm>
            <a:custGeom>
              <a:avLst/>
              <a:gdLst/>
              <a:ahLst/>
              <a:cxnLst/>
              <a:rect l="l" t="t" r="r" b="b"/>
              <a:pathLst>
                <a:path w="4303" h="6218" extrusionOk="0">
                  <a:moveTo>
                    <a:pt x="2118" y="639"/>
                  </a:moveTo>
                  <a:cubicBezTo>
                    <a:pt x="2151" y="639"/>
                    <a:pt x="2151" y="639"/>
                    <a:pt x="2185" y="672"/>
                  </a:cubicBezTo>
                  <a:cubicBezTo>
                    <a:pt x="3327" y="1378"/>
                    <a:pt x="4302" y="3092"/>
                    <a:pt x="4302" y="4403"/>
                  </a:cubicBezTo>
                  <a:cubicBezTo>
                    <a:pt x="4269" y="5680"/>
                    <a:pt x="3260" y="6218"/>
                    <a:pt x="2151" y="5579"/>
                  </a:cubicBezTo>
                  <a:cubicBezTo>
                    <a:pt x="975" y="4907"/>
                    <a:pt x="0" y="3159"/>
                    <a:pt x="34" y="1849"/>
                  </a:cubicBezTo>
                  <a:cubicBezTo>
                    <a:pt x="67" y="571"/>
                    <a:pt x="1042" y="0"/>
                    <a:pt x="2118" y="639"/>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65" name="Google Shape;3760;p49"/>
            <p:cNvSpPr/>
            <p:nvPr/>
          </p:nvSpPr>
          <p:spPr>
            <a:xfrm>
              <a:off x="-18610750" y="8384000"/>
              <a:ext cx="623450" cy="791525"/>
            </a:xfrm>
            <a:custGeom>
              <a:avLst/>
              <a:gdLst/>
              <a:ahLst/>
              <a:cxnLst/>
              <a:rect l="l" t="t" r="r" b="b"/>
              <a:pathLst>
                <a:path w="24938" h="31661" extrusionOk="0">
                  <a:moveTo>
                    <a:pt x="24098" y="20065"/>
                  </a:moveTo>
                  <a:cubicBezTo>
                    <a:pt x="24400" y="20334"/>
                    <a:pt x="24669" y="20805"/>
                    <a:pt x="24938" y="21174"/>
                  </a:cubicBezTo>
                  <a:cubicBezTo>
                    <a:pt x="24938" y="22418"/>
                    <a:pt x="24938" y="23628"/>
                    <a:pt x="24938" y="24871"/>
                  </a:cubicBezTo>
                  <a:cubicBezTo>
                    <a:pt x="24703" y="24939"/>
                    <a:pt x="24467" y="25073"/>
                    <a:pt x="24232" y="25039"/>
                  </a:cubicBezTo>
                  <a:cubicBezTo>
                    <a:pt x="23829" y="25006"/>
                    <a:pt x="23426" y="24871"/>
                    <a:pt x="23022" y="24636"/>
                  </a:cubicBezTo>
                  <a:cubicBezTo>
                    <a:pt x="21846" y="23998"/>
                    <a:pt x="21073" y="24132"/>
                    <a:pt x="20838" y="25376"/>
                  </a:cubicBezTo>
                  <a:cubicBezTo>
                    <a:pt x="20804" y="25611"/>
                    <a:pt x="20804" y="25913"/>
                    <a:pt x="20905" y="26182"/>
                  </a:cubicBezTo>
                  <a:cubicBezTo>
                    <a:pt x="21342" y="27291"/>
                    <a:pt x="21812" y="28367"/>
                    <a:pt x="22317" y="29442"/>
                  </a:cubicBezTo>
                  <a:cubicBezTo>
                    <a:pt x="22552" y="29946"/>
                    <a:pt x="22518" y="30282"/>
                    <a:pt x="22216" y="30450"/>
                  </a:cubicBezTo>
                  <a:cubicBezTo>
                    <a:pt x="21544" y="30820"/>
                    <a:pt x="20905" y="31190"/>
                    <a:pt x="20266" y="31560"/>
                  </a:cubicBezTo>
                  <a:cubicBezTo>
                    <a:pt x="20065" y="31660"/>
                    <a:pt x="19897" y="31660"/>
                    <a:pt x="19729" y="31560"/>
                  </a:cubicBezTo>
                  <a:cubicBezTo>
                    <a:pt x="19561" y="31459"/>
                    <a:pt x="19393" y="31291"/>
                    <a:pt x="19225" y="31055"/>
                  </a:cubicBezTo>
                  <a:cubicBezTo>
                    <a:pt x="18855" y="30518"/>
                    <a:pt x="18452" y="30047"/>
                    <a:pt x="18082" y="29509"/>
                  </a:cubicBezTo>
                  <a:cubicBezTo>
                    <a:pt x="17645" y="28770"/>
                    <a:pt x="17174" y="28232"/>
                    <a:pt x="16670" y="27930"/>
                  </a:cubicBezTo>
                  <a:cubicBezTo>
                    <a:pt x="16334" y="27728"/>
                    <a:pt x="15998" y="27661"/>
                    <a:pt x="15595" y="27695"/>
                  </a:cubicBezTo>
                  <a:cubicBezTo>
                    <a:pt x="15225" y="27762"/>
                    <a:pt x="15023" y="27829"/>
                    <a:pt x="14956" y="28266"/>
                  </a:cubicBezTo>
                  <a:cubicBezTo>
                    <a:pt x="14822" y="29039"/>
                    <a:pt x="14654" y="29778"/>
                    <a:pt x="14519" y="30518"/>
                  </a:cubicBezTo>
                  <a:cubicBezTo>
                    <a:pt x="14452" y="30921"/>
                    <a:pt x="14284" y="31123"/>
                    <a:pt x="13948" y="31022"/>
                  </a:cubicBezTo>
                  <a:cubicBezTo>
                    <a:pt x="12906" y="30417"/>
                    <a:pt x="11864" y="29812"/>
                    <a:pt x="10822" y="29207"/>
                  </a:cubicBezTo>
                  <a:cubicBezTo>
                    <a:pt x="10453" y="28904"/>
                    <a:pt x="10318" y="28501"/>
                    <a:pt x="10251" y="28064"/>
                  </a:cubicBezTo>
                  <a:cubicBezTo>
                    <a:pt x="10184" y="27526"/>
                    <a:pt x="10016" y="26922"/>
                    <a:pt x="10016" y="26417"/>
                  </a:cubicBezTo>
                  <a:cubicBezTo>
                    <a:pt x="10016" y="25107"/>
                    <a:pt x="9444" y="23998"/>
                    <a:pt x="8335" y="23090"/>
                  </a:cubicBezTo>
                  <a:cubicBezTo>
                    <a:pt x="8268" y="23023"/>
                    <a:pt x="8167" y="22956"/>
                    <a:pt x="8100" y="22922"/>
                  </a:cubicBezTo>
                  <a:cubicBezTo>
                    <a:pt x="7932" y="22821"/>
                    <a:pt x="7798" y="22788"/>
                    <a:pt x="7697" y="22788"/>
                  </a:cubicBezTo>
                  <a:cubicBezTo>
                    <a:pt x="7025" y="22888"/>
                    <a:pt x="6352" y="22989"/>
                    <a:pt x="5747" y="23157"/>
                  </a:cubicBezTo>
                  <a:cubicBezTo>
                    <a:pt x="5546" y="23225"/>
                    <a:pt x="5344" y="23191"/>
                    <a:pt x="5176" y="23124"/>
                  </a:cubicBezTo>
                  <a:cubicBezTo>
                    <a:pt x="4941" y="22989"/>
                    <a:pt x="4739" y="22720"/>
                    <a:pt x="4538" y="22351"/>
                  </a:cubicBezTo>
                  <a:cubicBezTo>
                    <a:pt x="3966" y="21342"/>
                    <a:pt x="3395" y="20301"/>
                    <a:pt x="2790" y="19326"/>
                  </a:cubicBezTo>
                  <a:cubicBezTo>
                    <a:pt x="2353" y="18620"/>
                    <a:pt x="2353" y="18183"/>
                    <a:pt x="2689" y="17881"/>
                  </a:cubicBezTo>
                  <a:cubicBezTo>
                    <a:pt x="3160" y="17410"/>
                    <a:pt x="3597" y="16906"/>
                    <a:pt x="4033" y="16402"/>
                  </a:cubicBezTo>
                  <a:cubicBezTo>
                    <a:pt x="4235" y="16167"/>
                    <a:pt x="3664" y="13915"/>
                    <a:pt x="3328" y="13545"/>
                  </a:cubicBezTo>
                  <a:cubicBezTo>
                    <a:pt x="3260" y="13512"/>
                    <a:pt x="3160" y="13444"/>
                    <a:pt x="3092" y="13411"/>
                  </a:cubicBezTo>
                  <a:cubicBezTo>
                    <a:pt x="2353" y="12806"/>
                    <a:pt x="1580" y="12235"/>
                    <a:pt x="841" y="11562"/>
                  </a:cubicBezTo>
                  <a:cubicBezTo>
                    <a:pt x="538" y="11293"/>
                    <a:pt x="269" y="10857"/>
                    <a:pt x="0" y="10487"/>
                  </a:cubicBezTo>
                  <a:cubicBezTo>
                    <a:pt x="34" y="9243"/>
                    <a:pt x="34" y="8000"/>
                    <a:pt x="34" y="6790"/>
                  </a:cubicBezTo>
                  <a:cubicBezTo>
                    <a:pt x="269" y="6723"/>
                    <a:pt x="505" y="6588"/>
                    <a:pt x="807" y="6622"/>
                  </a:cubicBezTo>
                  <a:cubicBezTo>
                    <a:pt x="1177" y="6689"/>
                    <a:pt x="1580" y="6824"/>
                    <a:pt x="1983" y="7025"/>
                  </a:cubicBezTo>
                  <a:cubicBezTo>
                    <a:pt x="3059" y="7563"/>
                    <a:pt x="3798" y="7597"/>
                    <a:pt x="4067" y="6420"/>
                  </a:cubicBezTo>
                  <a:cubicBezTo>
                    <a:pt x="4134" y="6084"/>
                    <a:pt x="4168" y="5815"/>
                    <a:pt x="4000" y="5378"/>
                  </a:cubicBezTo>
                  <a:cubicBezTo>
                    <a:pt x="3529" y="4370"/>
                    <a:pt x="3126" y="3362"/>
                    <a:pt x="2655" y="2354"/>
                  </a:cubicBezTo>
                  <a:cubicBezTo>
                    <a:pt x="2387" y="1782"/>
                    <a:pt x="2387" y="1413"/>
                    <a:pt x="2723" y="1211"/>
                  </a:cubicBezTo>
                  <a:cubicBezTo>
                    <a:pt x="3395" y="841"/>
                    <a:pt x="4033" y="472"/>
                    <a:pt x="4672" y="102"/>
                  </a:cubicBezTo>
                  <a:cubicBezTo>
                    <a:pt x="4840" y="1"/>
                    <a:pt x="5008" y="1"/>
                    <a:pt x="5176" y="102"/>
                  </a:cubicBezTo>
                  <a:cubicBezTo>
                    <a:pt x="5311" y="169"/>
                    <a:pt x="5479" y="337"/>
                    <a:pt x="5613" y="539"/>
                  </a:cubicBezTo>
                  <a:cubicBezTo>
                    <a:pt x="6016" y="1110"/>
                    <a:pt x="6487" y="1614"/>
                    <a:pt x="6857" y="2186"/>
                  </a:cubicBezTo>
                  <a:cubicBezTo>
                    <a:pt x="7293" y="2925"/>
                    <a:pt x="7730" y="3463"/>
                    <a:pt x="8201" y="3732"/>
                  </a:cubicBezTo>
                  <a:cubicBezTo>
                    <a:pt x="8571" y="3933"/>
                    <a:pt x="8940" y="4000"/>
                    <a:pt x="9310" y="3933"/>
                  </a:cubicBezTo>
                  <a:cubicBezTo>
                    <a:pt x="9646" y="3900"/>
                    <a:pt x="9848" y="3799"/>
                    <a:pt x="9881" y="3429"/>
                  </a:cubicBezTo>
                  <a:cubicBezTo>
                    <a:pt x="10016" y="2723"/>
                    <a:pt x="10117" y="2018"/>
                    <a:pt x="10285" y="1413"/>
                  </a:cubicBezTo>
                  <a:cubicBezTo>
                    <a:pt x="10385" y="1043"/>
                    <a:pt x="10621" y="808"/>
                    <a:pt x="10789" y="505"/>
                  </a:cubicBezTo>
                  <a:cubicBezTo>
                    <a:pt x="11864" y="1144"/>
                    <a:pt x="12940" y="1749"/>
                    <a:pt x="14015" y="2387"/>
                  </a:cubicBezTo>
                  <a:cubicBezTo>
                    <a:pt x="14385" y="2690"/>
                    <a:pt x="14519" y="3093"/>
                    <a:pt x="14587" y="3530"/>
                  </a:cubicBezTo>
                  <a:cubicBezTo>
                    <a:pt x="14687" y="4168"/>
                    <a:pt x="14822" y="4841"/>
                    <a:pt x="14889" y="5446"/>
                  </a:cubicBezTo>
                  <a:cubicBezTo>
                    <a:pt x="14956" y="6420"/>
                    <a:pt x="15191" y="7328"/>
                    <a:pt x="16133" y="8067"/>
                  </a:cubicBezTo>
                  <a:cubicBezTo>
                    <a:pt x="16233" y="8134"/>
                    <a:pt x="16334" y="8269"/>
                    <a:pt x="16435" y="8370"/>
                  </a:cubicBezTo>
                  <a:cubicBezTo>
                    <a:pt x="16569" y="8605"/>
                    <a:pt x="16704" y="8706"/>
                    <a:pt x="16838" y="8806"/>
                  </a:cubicBezTo>
                  <a:cubicBezTo>
                    <a:pt x="17040" y="8907"/>
                    <a:pt x="17208" y="8907"/>
                    <a:pt x="17410" y="8840"/>
                  </a:cubicBezTo>
                  <a:cubicBezTo>
                    <a:pt x="18082" y="8672"/>
                    <a:pt x="18754" y="8571"/>
                    <a:pt x="19426" y="8437"/>
                  </a:cubicBezTo>
                  <a:cubicBezTo>
                    <a:pt x="19561" y="8403"/>
                    <a:pt x="19695" y="8437"/>
                    <a:pt x="19829" y="8504"/>
                  </a:cubicBezTo>
                  <a:cubicBezTo>
                    <a:pt x="19998" y="8605"/>
                    <a:pt x="20132" y="8773"/>
                    <a:pt x="20266" y="9008"/>
                  </a:cubicBezTo>
                  <a:cubicBezTo>
                    <a:pt x="20972" y="10218"/>
                    <a:pt x="21678" y="11428"/>
                    <a:pt x="22350" y="12638"/>
                  </a:cubicBezTo>
                  <a:cubicBezTo>
                    <a:pt x="22485" y="12907"/>
                    <a:pt x="22485" y="13344"/>
                    <a:pt x="22384" y="13512"/>
                  </a:cubicBezTo>
                  <a:cubicBezTo>
                    <a:pt x="22182" y="13915"/>
                    <a:pt x="21913" y="14318"/>
                    <a:pt x="21544" y="14520"/>
                  </a:cubicBezTo>
                  <a:cubicBezTo>
                    <a:pt x="20737" y="15024"/>
                    <a:pt x="20670" y="15965"/>
                    <a:pt x="21308" y="17377"/>
                  </a:cubicBezTo>
                  <a:cubicBezTo>
                    <a:pt x="21510" y="17713"/>
                    <a:pt x="21644" y="18049"/>
                    <a:pt x="21846" y="18217"/>
                  </a:cubicBezTo>
                  <a:cubicBezTo>
                    <a:pt x="22585" y="18855"/>
                    <a:pt x="23358" y="19427"/>
                    <a:pt x="24098" y="20065"/>
                  </a:cubicBezTo>
                  <a:close/>
                  <a:moveTo>
                    <a:pt x="17679" y="18923"/>
                  </a:moveTo>
                  <a:cubicBezTo>
                    <a:pt x="17746" y="15730"/>
                    <a:pt x="15427" y="11529"/>
                    <a:pt x="12570" y="9882"/>
                  </a:cubicBezTo>
                  <a:cubicBezTo>
                    <a:pt x="9512" y="8101"/>
                    <a:pt x="7327" y="9613"/>
                    <a:pt x="7260" y="12739"/>
                  </a:cubicBezTo>
                  <a:cubicBezTo>
                    <a:pt x="7226" y="15999"/>
                    <a:pt x="9512" y="20032"/>
                    <a:pt x="12368" y="21779"/>
                  </a:cubicBezTo>
                  <a:cubicBezTo>
                    <a:pt x="12402" y="21779"/>
                    <a:pt x="12436" y="21813"/>
                    <a:pt x="12469" y="21813"/>
                  </a:cubicBezTo>
                  <a:cubicBezTo>
                    <a:pt x="15259" y="23426"/>
                    <a:pt x="17611" y="22149"/>
                    <a:pt x="17679" y="18923"/>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66" name="Google Shape;3761;p49"/>
            <p:cNvSpPr/>
            <p:nvPr/>
          </p:nvSpPr>
          <p:spPr>
            <a:xfrm>
              <a:off x="-17836925" y="8321825"/>
              <a:ext cx="63900" cy="92450"/>
            </a:xfrm>
            <a:custGeom>
              <a:avLst/>
              <a:gdLst/>
              <a:ahLst/>
              <a:cxnLst/>
              <a:rect l="l" t="t" r="r" b="b"/>
              <a:pathLst>
                <a:path w="2556" h="3698" extrusionOk="0">
                  <a:moveTo>
                    <a:pt x="1278" y="371"/>
                  </a:moveTo>
                  <a:cubicBezTo>
                    <a:pt x="1278" y="371"/>
                    <a:pt x="1278" y="371"/>
                    <a:pt x="1312" y="371"/>
                  </a:cubicBezTo>
                  <a:cubicBezTo>
                    <a:pt x="1984" y="808"/>
                    <a:pt x="2555" y="1816"/>
                    <a:pt x="2555" y="2622"/>
                  </a:cubicBezTo>
                  <a:cubicBezTo>
                    <a:pt x="2555" y="3362"/>
                    <a:pt x="1950" y="3698"/>
                    <a:pt x="1278" y="3295"/>
                  </a:cubicBezTo>
                  <a:cubicBezTo>
                    <a:pt x="606" y="2925"/>
                    <a:pt x="1" y="1849"/>
                    <a:pt x="1" y="1076"/>
                  </a:cubicBezTo>
                  <a:cubicBezTo>
                    <a:pt x="35" y="337"/>
                    <a:pt x="639" y="1"/>
                    <a:pt x="1278" y="371"/>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67" name="Google Shape;3762;p49"/>
            <p:cNvSpPr/>
            <p:nvPr/>
          </p:nvSpPr>
          <p:spPr>
            <a:xfrm>
              <a:off x="-17990675" y="8131950"/>
              <a:ext cx="372250" cy="472225"/>
            </a:xfrm>
            <a:custGeom>
              <a:avLst/>
              <a:gdLst/>
              <a:ahLst/>
              <a:cxnLst/>
              <a:rect l="l" t="t" r="r" b="b"/>
              <a:pathLst>
                <a:path w="14890" h="18889" extrusionOk="0">
                  <a:moveTo>
                    <a:pt x="14385" y="11999"/>
                  </a:moveTo>
                  <a:cubicBezTo>
                    <a:pt x="14553" y="12133"/>
                    <a:pt x="14721" y="12402"/>
                    <a:pt x="14889" y="12637"/>
                  </a:cubicBezTo>
                  <a:cubicBezTo>
                    <a:pt x="14856" y="13377"/>
                    <a:pt x="14856" y="14116"/>
                    <a:pt x="14856" y="14855"/>
                  </a:cubicBezTo>
                  <a:cubicBezTo>
                    <a:pt x="14721" y="14889"/>
                    <a:pt x="14587" y="14956"/>
                    <a:pt x="14452" y="14956"/>
                  </a:cubicBezTo>
                  <a:cubicBezTo>
                    <a:pt x="14217" y="14923"/>
                    <a:pt x="13982" y="14855"/>
                    <a:pt x="13746" y="14721"/>
                  </a:cubicBezTo>
                  <a:cubicBezTo>
                    <a:pt x="13041" y="14318"/>
                    <a:pt x="12570" y="14385"/>
                    <a:pt x="12436" y="15158"/>
                  </a:cubicBezTo>
                  <a:cubicBezTo>
                    <a:pt x="12402" y="15292"/>
                    <a:pt x="12402" y="15460"/>
                    <a:pt x="12469" y="15628"/>
                  </a:cubicBezTo>
                  <a:cubicBezTo>
                    <a:pt x="12738" y="16267"/>
                    <a:pt x="13007" y="16906"/>
                    <a:pt x="13310" y="17578"/>
                  </a:cubicBezTo>
                  <a:cubicBezTo>
                    <a:pt x="13444" y="17880"/>
                    <a:pt x="13410" y="18082"/>
                    <a:pt x="13242" y="18183"/>
                  </a:cubicBezTo>
                  <a:cubicBezTo>
                    <a:pt x="12839" y="18384"/>
                    <a:pt x="12469" y="18620"/>
                    <a:pt x="12066" y="18855"/>
                  </a:cubicBezTo>
                  <a:cubicBezTo>
                    <a:pt x="11965" y="18888"/>
                    <a:pt x="11864" y="18888"/>
                    <a:pt x="11764" y="18855"/>
                  </a:cubicBezTo>
                  <a:cubicBezTo>
                    <a:pt x="11663" y="18788"/>
                    <a:pt x="11562" y="18687"/>
                    <a:pt x="11461" y="18519"/>
                  </a:cubicBezTo>
                  <a:cubicBezTo>
                    <a:pt x="11259" y="18216"/>
                    <a:pt x="10991" y="17947"/>
                    <a:pt x="10789" y="17611"/>
                  </a:cubicBezTo>
                  <a:cubicBezTo>
                    <a:pt x="10520" y="17174"/>
                    <a:pt x="10251" y="16838"/>
                    <a:pt x="9949" y="16670"/>
                  </a:cubicBezTo>
                  <a:cubicBezTo>
                    <a:pt x="9747" y="16569"/>
                    <a:pt x="9545" y="16502"/>
                    <a:pt x="9310" y="16536"/>
                  </a:cubicBezTo>
                  <a:cubicBezTo>
                    <a:pt x="9075" y="16569"/>
                    <a:pt x="8940" y="16603"/>
                    <a:pt x="8907" y="16872"/>
                  </a:cubicBezTo>
                  <a:cubicBezTo>
                    <a:pt x="8840" y="17342"/>
                    <a:pt x="8739" y="17779"/>
                    <a:pt x="8638" y="18216"/>
                  </a:cubicBezTo>
                  <a:cubicBezTo>
                    <a:pt x="8604" y="18452"/>
                    <a:pt x="8537" y="18586"/>
                    <a:pt x="8302" y="18519"/>
                  </a:cubicBezTo>
                  <a:lnTo>
                    <a:pt x="6453" y="17443"/>
                  </a:lnTo>
                  <a:cubicBezTo>
                    <a:pt x="6218" y="17242"/>
                    <a:pt x="6151" y="17006"/>
                    <a:pt x="6117" y="16737"/>
                  </a:cubicBezTo>
                  <a:cubicBezTo>
                    <a:pt x="6050" y="16435"/>
                    <a:pt x="5983" y="16065"/>
                    <a:pt x="5949" y="15763"/>
                  </a:cubicBezTo>
                  <a:cubicBezTo>
                    <a:pt x="5949" y="14990"/>
                    <a:pt x="5613" y="14318"/>
                    <a:pt x="4975" y="13780"/>
                  </a:cubicBezTo>
                  <a:cubicBezTo>
                    <a:pt x="4907" y="13746"/>
                    <a:pt x="4874" y="13713"/>
                    <a:pt x="4807" y="13679"/>
                  </a:cubicBezTo>
                  <a:cubicBezTo>
                    <a:pt x="4739" y="13612"/>
                    <a:pt x="4639" y="13612"/>
                    <a:pt x="4571" y="13612"/>
                  </a:cubicBezTo>
                  <a:cubicBezTo>
                    <a:pt x="4168" y="13645"/>
                    <a:pt x="3798" y="13713"/>
                    <a:pt x="3395" y="13847"/>
                  </a:cubicBezTo>
                  <a:cubicBezTo>
                    <a:pt x="3294" y="13881"/>
                    <a:pt x="3193" y="13847"/>
                    <a:pt x="3093" y="13780"/>
                  </a:cubicBezTo>
                  <a:cubicBezTo>
                    <a:pt x="2958" y="13713"/>
                    <a:pt x="2824" y="13545"/>
                    <a:pt x="2689" y="13343"/>
                  </a:cubicBezTo>
                  <a:cubicBezTo>
                    <a:pt x="2353" y="12738"/>
                    <a:pt x="2017" y="12133"/>
                    <a:pt x="1647" y="11528"/>
                  </a:cubicBezTo>
                  <a:cubicBezTo>
                    <a:pt x="1378" y="11125"/>
                    <a:pt x="1412" y="10856"/>
                    <a:pt x="1580" y="10654"/>
                  </a:cubicBezTo>
                  <a:cubicBezTo>
                    <a:pt x="1849" y="10385"/>
                    <a:pt x="2118" y="10083"/>
                    <a:pt x="2387" y="9781"/>
                  </a:cubicBezTo>
                  <a:cubicBezTo>
                    <a:pt x="2521" y="9646"/>
                    <a:pt x="2185" y="8302"/>
                    <a:pt x="1950" y="8100"/>
                  </a:cubicBezTo>
                  <a:cubicBezTo>
                    <a:pt x="1916" y="8066"/>
                    <a:pt x="1883" y="8033"/>
                    <a:pt x="1849" y="7999"/>
                  </a:cubicBezTo>
                  <a:cubicBezTo>
                    <a:pt x="1378" y="7630"/>
                    <a:pt x="908" y="7293"/>
                    <a:pt x="471" y="6890"/>
                  </a:cubicBezTo>
                  <a:cubicBezTo>
                    <a:pt x="303" y="6756"/>
                    <a:pt x="169" y="6487"/>
                    <a:pt x="1" y="6252"/>
                  </a:cubicBezTo>
                  <a:cubicBezTo>
                    <a:pt x="1" y="5512"/>
                    <a:pt x="1" y="4773"/>
                    <a:pt x="1" y="4067"/>
                  </a:cubicBezTo>
                  <a:cubicBezTo>
                    <a:pt x="169" y="4033"/>
                    <a:pt x="303" y="3933"/>
                    <a:pt x="471" y="3966"/>
                  </a:cubicBezTo>
                  <a:cubicBezTo>
                    <a:pt x="673" y="4000"/>
                    <a:pt x="942" y="4067"/>
                    <a:pt x="1177" y="4201"/>
                  </a:cubicBezTo>
                  <a:cubicBezTo>
                    <a:pt x="1815" y="4504"/>
                    <a:pt x="2252" y="4538"/>
                    <a:pt x="2420" y="3832"/>
                  </a:cubicBezTo>
                  <a:cubicBezTo>
                    <a:pt x="2454" y="3630"/>
                    <a:pt x="2488" y="3462"/>
                    <a:pt x="2353" y="3227"/>
                  </a:cubicBezTo>
                  <a:cubicBezTo>
                    <a:pt x="2084" y="2622"/>
                    <a:pt x="1849" y="2017"/>
                    <a:pt x="1580" y="1412"/>
                  </a:cubicBezTo>
                  <a:cubicBezTo>
                    <a:pt x="1412" y="1042"/>
                    <a:pt x="1412" y="841"/>
                    <a:pt x="1614" y="740"/>
                  </a:cubicBezTo>
                  <a:cubicBezTo>
                    <a:pt x="2017" y="505"/>
                    <a:pt x="2387" y="303"/>
                    <a:pt x="2790" y="68"/>
                  </a:cubicBezTo>
                  <a:cubicBezTo>
                    <a:pt x="2857" y="0"/>
                    <a:pt x="2958" y="0"/>
                    <a:pt x="3093" y="68"/>
                  </a:cubicBezTo>
                  <a:cubicBezTo>
                    <a:pt x="3160" y="101"/>
                    <a:pt x="3261" y="202"/>
                    <a:pt x="3328" y="303"/>
                  </a:cubicBezTo>
                  <a:cubicBezTo>
                    <a:pt x="3563" y="639"/>
                    <a:pt x="3866" y="975"/>
                    <a:pt x="4067" y="1311"/>
                  </a:cubicBezTo>
                  <a:cubicBezTo>
                    <a:pt x="4336" y="1748"/>
                    <a:pt x="4605" y="2051"/>
                    <a:pt x="4874" y="2219"/>
                  </a:cubicBezTo>
                  <a:cubicBezTo>
                    <a:pt x="5075" y="2353"/>
                    <a:pt x="5311" y="2387"/>
                    <a:pt x="5546" y="2353"/>
                  </a:cubicBezTo>
                  <a:cubicBezTo>
                    <a:pt x="5748" y="2319"/>
                    <a:pt x="5848" y="2252"/>
                    <a:pt x="5882" y="2051"/>
                  </a:cubicBezTo>
                  <a:cubicBezTo>
                    <a:pt x="5949" y="1647"/>
                    <a:pt x="6016" y="1210"/>
                    <a:pt x="6117" y="841"/>
                  </a:cubicBezTo>
                  <a:cubicBezTo>
                    <a:pt x="6185" y="605"/>
                    <a:pt x="6319" y="471"/>
                    <a:pt x="6420" y="303"/>
                  </a:cubicBezTo>
                  <a:cubicBezTo>
                    <a:pt x="7058" y="673"/>
                    <a:pt x="7697" y="1042"/>
                    <a:pt x="8335" y="1412"/>
                  </a:cubicBezTo>
                  <a:cubicBezTo>
                    <a:pt x="8571" y="1614"/>
                    <a:pt x="8672" y="1849"/>
                    <a:pt x="8705" y="2118"/>
                  </a:cubicBezTo>
                  <a:cubicBezTo>
                    <a:pt x="8739" y="2487"/>
                    <a:pt x="8840" y="2891"/>
                    <a:pt x="8873" y="3260"/>
                  </a:cubicBezTo>
                  <a:cubicBezTo>
                    <a:pt x="8907" y="3832"/>
                    <a:pt x="9041" y="4370"/>
                    <a:pt x="9613" y="4806"/>
                  </a:cubicBezTo>
                  <a:cubicBezTo>
                    <a:pt x="9680" y="4874"/>
                    <a:pt x="9747" y="4941"/>
                    <a:pt x="9781" y="5008"/>
                  </a:cubicBezTo>
                  <a:cubicBezTo>
                    <a:pt x="9881" y="5143"/>
                    <a:pt x="9949" y="5210"/>
                    <a:pt x="10016" y="5243"/>
                  </a:cubicBezTo>
                  <a:cubicBezTo>
                    <a:pt x="10150" y="5311"/>
                    <a:pt x="10251" y="5311"/>
                    <a:pt x="10386" y="5277"/>
                  </a:cubicBezTo>
                  <a:cubicBezTo>
                    <a:pt x="10755" y="5176"/>
                    <a:pt x="11192" y="5143"/>
                    <a:pt x="11562" y="5042"/>
                  </a:cubicBezTo>
                  <a:cubicBezTo>
                    <a:pt x="11663" y="5042"/>
                    <a:pt x="11730" y="5042"/>
                    <a:pt x="11831" y="5075"/>
                  </a:cubicBezTo>
                  <a:cubicBezTo>
                    <a:pt x="11898" y="5143"/>
                    <a:pt x="11999" y="5243"/>
                    <a:pt x="12100" y="5378"/>
                  </a:cubicBezTo>
                  <a:cubicBezTo>
                    <a:pt x="12503" y="6117"/>
                    <a:pt x="12940" y="6823"/>
                    <a:pt x="13310" y="7562"/>
                  </a:cubicBezTo>
                  <a:cubicBezTo>
                    <a:pt x="13410" y="7697"/>
                    <a:pt x="13410" y="7966"/>
                    <a:pt x="13343" y="8066"/>
                  </a:cubicBezTo>
                  <a:cubicBezTo>
                    <a:pt x="13209" y="8302"/>
                    <a:pt x="13041" y="8537"/>
                    <a:pt x="12839" y="8671"/>
                  </a:cubicBezTo>
                  <a:cubicBezTo>
                    <a:pt x="12369" y="8974"/>
                    <a:pt x="12335" y="9545"/>
                    <a:pt x="12705" y="10385"/>
                  </a:cubicBezTo>
                  <a:cubicBezTo>
                    <a:pt x="12805" y="10587"/>
                    <a:pt x="12906" y="10789"/>
                    <a:pt x="13007" y="10890"/>
                  </a:cubicBezTo>
                  <a:cubicBezTo>
                    <a:pt x="13478" y="11259"/>
                    <a:pt x="13948" y="11595"/>
                    <a:pt x="14385" y="11999"/>
                  </a:cubicBezTo>
                  <a:close/>
                  <a:moveTo>
                    <a:pt x="10554" y="11293"/>
                  </a:moveTo>
                  <a:cubicBezTo>
                    <a:pt x="10587" y="9377"/>
                    <a:pt x="9209" y="6890"/>
                    <a:pt x="7495" y="5882"/>
                  </a:cubicBezTo>
                  <a:cubicBezTo>
                    <a:pt x="5680" y="4840"/>
                    <a:pt x="4370" y="5747"/>
                    <a:pt x="4336" y="7596"/>
                  </a:cubicBezTo>
                  <a:cubicBezTo>
                    <a:pt x="4302" y="9545"/>
                    <a:pt x="5680" y="11965"/>
                    <a:pt x="7394" y="13007"/>
                  </a:cubicBezTo>
                  <a:cubicBezTo>
                    <a:pt x="7394" y="13007"/>
                    <a:pt x="7428" y="13007"/>
                    <a:pt x="7428" y="13041"/>
                  </a:cubicBezTo>
                  <a:cubicBezTo>
                    <a:pt x="9108" y="13982"/>
                    <a:pt x="10520" y="13209"/>
                    <a:pt x="10554" y="11293"/>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68" name="Google Shape;3763;p49"/>
            <p:cNvSpPr/>
            <p:nvPr/>
          </p:nvSpPr>
          <p:spPr>
            <a:xfrm>
              <a:off x="-22455575" y="7116125"/>
              <a:ext cx="524325" cy="895700"/>
            </a:xfrm>
            <a:custGeom>
              <a:avLst/>
              <a:gdLst/>
              <a:ahLst/>
              <a:cxnLst/>
              <a:rect l="l" t="t" r="r" b="b"/>
              <a:pathLst>
                <a:path w="20973" h="35828" extrusionOk="0">
                  <a:moveTo>
                    <a:pt x="0" y="9344"/>
                  </a:moveTo>
                  <a:cubicBezTo>
                    <a:pt x="0" y="15998"/>
                    <a:pt x="9915" y="34853"/>
                    <a:pt x="10419" y="35827"/>
                  </a:cubicBezTo>
                  <a:cubicBezTo>
                    <a:pt x="10957" y="35458"/>
                    <a:pt x="20939" y="28064"/>
                    <a:pt x="20939" y="21443"/>
                  </a:cubicBezTo>
                  <a:cubicBezTo>
                    <a:pt x="20972" y="14788"/>
                    <a:pt x="16301" y="6689"/>
                    <a:pt x="10520" y="3361"/>
                  </a:cubicBezTo>
                  <a:cubicBezTo>
                    <a:pt x="4739" y="1"/>
                    <a:pt x="34" y="2689"/>
                    <a:pt x="0" y="9344"/>
                  </a:cubicBezTo>
                  <a:close/>
                  <a:moveTo>
                    <a:pt x="5075" y="11091"/>
                  </a:moveTo>
                  <a:cubicBezTo>
                    <a:pt x="5075" y="7428"/>
                    <a:pt x="7663" y="5983"/>
                    <a:pt x="10856" y="7798"/>
                  </a:cubicBezTo>
                  <a:cubicBezTo>
                    <a:pt x="14015" y="9646"/>
                    <a:pt x="16603" y="14083"/>
                    <a:pt x="16603" y="17746"/>
                  </a:cubicBezTo>
                  <a:cubicBezTo>
                    <a:pt x="16569" y="21409"/>
                    <a:pt x="13982" y="22888"/>
                    <a:pt x="10822" y="21040"/>
                  </a:cubicBezTo>
                  <a:cubicBezTo>
                    <a:pt x="7630" y="19191"/>
                    <a:pt x="5075" y="14755"/>
                    <a:pt x="5075" y="11091"/>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69" name="Google Shape;3764;p49"/>
            <p:cNvSpPr/>
            <p:nvPr/>
          </p:nvSpPr>
          <p:spPr>
            <a:xfrm>
              <a:off x="-22296775" y="14912500"/>
              <a:ext cx="25" cy="25"/>
            </a:xfrm>
            <a:custGeom>
              <a:avLst/>
              <a:gdLst/>
              <a:ahLst/>
              <a:cxnLst/>
              <a:rect l="l" t="t" r="r" b="b"/>
              <a:pathLst>
                <a:path w="1" h="1" extrusionOk="0">
                  <a:moveTo>
                    <a:pt x="0" y="0"/>
                  </a:moveTo>
                  <a:close/>
                </a:path>
              </a:pathLst>
            </a:custGeom>
            <a:solidFill>
              <a:srgbClr val="9953E9"/>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70" name="Google Shape;3765;p49"/>
            <p:cNvSpPr/>
            <p:nvPr/>
          </p:nvSpPr>
          <p:spPr>
            <a:xfrm>
              <a:off x="-22768975" y="14912500"/>
              <a:ext cx="2587875" cy="1287225"/>
            </a:xfrm>
            <a:custGeom>
              <a:avLst/>
              <a:gdLst/>
              <a:ahLst/>
              <a:cxnLst/>
              <a:rect l="l" t="t" r="r" b="b"/>
              <a:pathLst>
                <a:path w="103515" h="51489" extrusionOk="0">
                  <a:moveTo>
                    <a:pt x="97566" y="39894"/>
                  </a:moveTo>
                  <a:lnTo>
                    <a:pt x="34348" y="3395"/>
                  </a:lnTo>
                  <a:cubicBezTo>
                    <a:pt x="33878" y="3126"/>
                    <a:pt x="33374" y="2891"/>
                    <a:pt x="32870" y="2622"/>
                  </a:cubicBezTo>
                  <a:cubicBezTo>
                    <a:pt x="32702" y="2555"/>
                    <a:pt x="32533" y="2487"/>
                    <a:pt x="32365" y="2420"/>
                  </a:cubicBezTo>
                  <a:cubicBezTo>
                    <a:pt x="32063" y="2286"/>
                    <a:pt x="31760" y="2151"/>
                    <a:pt x="31458" y="2017"/>
                  </a:cubicBezTo>
                  <a:lnTo>
                    <a:pt x="31324" y="1983"/>
                  </a:lnTo>
                  <a:cubicBezTo>
                    <a:pt x="30651" y="1714"/>
                    <a:pt x="29912" y="1479"/>
                    <a:pt x="29173" y="1244"/>
                  </a:cubicBezTo>
                  <a:cubicBezTo>
                    <a:pt x="29105" y="1244"/>
                    <a:pt x="29072" y="1210"/>
                    <a:pt x="29005" y="1177"/>
                  </a:cubicBezTo>
                  <a:cubicBezTo>
                    <a:pt x="28837" y="1143"/>
                    <a:pt x="28668" y="1109"/>
                    <a:pt x="28500" y="1076"/>
                  </a:cubicBezTo>
                  <a:cubicBezTo>
                    <a:pt x="28064" y="941"/>
                    <a:pt x="27660" y="841"/>
                    <a:pt x="27223" y="773"/>
                  </a:cubicBezTo>
                  <a:cubicBezTo>
                    <a:pt x="27122" y="740"/>
                    <a:pt x="27022" y="706"/>
                    <a:pt x="26921" y="672"/>
                  </a:cubicBezTo>
                  <a:cubicBezTo>
                    <a:pt x="26719" y="639"/>
                    <a:pt x="26551" y="639"/>
                    <a:pt x="26417" y="605"/>
                  </a:cubicBezTo>
                  <a:cubicBezTo>
                    <a:pt x="26047" y="538"/>
                    <a:pt x="25677" y="471"/>
                    <a:pt x="25341" y="404"/>
                  </a:cubicBezTo>
                  <a:cubicBezTo>
                    <a:pt x="25173" y="370"/>
                    <a:pt x="25039" y="336"/>
                    <a:pt x="24904" y="336"/>
                  </a:cubicBezTo>
                  <a:cubicBezTo>
                    <a:pt x="24736" y="303"/>
                    <a:pt x="24568" y="303"/>
                    <a:pt x="24434" y="269"/>
                  </a:cubicBezTo>
                  <a:cubicBezTo>
                    <a:pt x="24098" y="236"/>
                    <a:pt x="23762" y="202"/>
                    <a:pt x="23426" y="168"/>
                  </a:cubicBezTo>
                  <a:cubicBezTo>
                    <a:pt x="23257" y="135"/>
                    <a:pt x="23089" y="135"/>
                    <a:pt x="22955" y="101"/>
                  </a:cubicBezTo>
                  <a:cubicBezTo>
                    <a:pt x="22787" y="101"/>
                    <a:pt x="22653" y="101"/>
                    <a:pt x="22485" y="68"/>
                  </a:cubicBezTo>
                  <a:cubicBezTo>
                    <a:pt x="22148" y="68"/>
                    <a:pt x="21812" y="34"/>
                    <a:pt x="21443" y="34"/>
                  </a:cubicBezTo>
                  <a:cubicBezTo>
                    <a:pt x="21275" y="0"/>
                    <a:pt x="21107" y="0"/>
                    <a:pt x="20939" y="0"/>
                  </a:cubicBezTo>
                  <a:cubicBezTo>
                    <a:pt x="20804" y="0"/>
                    <a:pt x="20670" y="0"/>
                    <a:pt x="20535" y="0"/>
                  </a:cubicBezTo>
                  <a:cubicBezTo>
                    <a:pt x="20166" y="0"/>
                    <a:pt x="19796" y="0"/>
                    <a:pt x="19426" y="0"/>
                  </a:cubicBezTo>
                  <a:cubicBezTo>
                    <a:pt x="19258" y="0"/>
                    <a:pt x="19056" y="0"/>
                    <a:pt x="18888" y="0"/>
                  </a:cubicBezTo>
                  <a:cubicBezTo>
                    <a:pt x="18754" y="0"/>
                    <a:pt x="18653" y="34"/>
                    <a:pt x="18552" y="34"/>
                  </a:cubicBezTo>
                  <a:cubicBezTo>
                    <a:pt x="18082" y="34"/>
                    <a:pt x="17645" y="101"/>
                    <a:pt x="17174" y="135"/>
                  </a:cubicBezTo>
                  <a:cubicBezTo>
                    <a:pt x="17006" y="135"/>
                    <a:pt x="16805" y="135"/>
                    <a:pt x="16637" y="168"/>
                  </a:cubicBezTo>
                  <a:cubicBezTo>
                    <a:pt x="16569" y="168"/>
                    <a:pt x="16536" y="168"/>
                    <a:pt x="16469" y="168"/>
                  </a:cubicBezTo>
                  <a:cubicBezTo>
                    <a:pt x="15696" y="269"/>
                    <a:pt x="14923" y="370"/>
                    <a:pt x="14183" y="504"/>
                  </a:cubicBezTo>
                  <a:cubicBezTo>
                    <a:pt x="14150" y="504"/>
                    <a:pt x="14116" y="504"/>
                    <a:pt x="14049" y="504"/>
                  </a:cubicBezTo>
                  <a:cubicBezTo>
                    <a:pt x="13847" y="538"/>
                    <a:pt x="13645" y="605"/>
                    <a:pt x="13410" y="639"/>
                  </a:cubicBezTo>
                  <a:cubicBezTo>
                    <a:pt x="13040" y="740"/>
                    <a:pt x="12671" y="807"/>
                    <a:pt x="12301" y="908"/>
                  </a:cubicBezTo>
                  <a:cubicBezTo>
                    <a:pt x="12032" y="941"/>
                    <a:pt x="11763" y="1042"/>
                    <a:pt x="11494" y="1109"/>
                  </a:cubicBezTo>
                  <a:cubicBezTo>
                    <a:pt x="11158" y="1210"/>
                    <a:pt x="10822" y="1311"/>
                    <a:pt x="10486" y="1412"/>
                  </a:cubicBezTo>
                  <a:cubicBezTo>
                    <a:pt x="10385" y="1412"/>
                    <a:pt x="10318" y="1445"/>
                    <a:pt x="10251" y="1479"/>
                  </a:cubicBezTo>
                  <a:cubicBezTo>
                    <a:pt x="10117" y="1513"/>
                    <a:pt x="10016" y="1546"/>
                    <a:pt x="9881" y="1614"/>
                  </a:cubicBezTo>
                  <a:cubicBezTo>
                    <a:pt x="9344" y="1782"/>
                    <a:pt x="8839" y="1983"/>
                    <a:pt x="8302" y="2185"/>
                  </a:cubicBezTo>
                  <a:cubicBezTo>
                    <a:pt x="8134" y="2286"/>
                    <a:pt x="7932" y="2353"/>
                    <a:pt x="7730" y="2454"/>
                  </a:cubicBezTo>
                  <a:cubicBezTo>
                    <a:pt x="7092" y="2723"/>
                    <a:pt x="6453" y="3059"/>
                    <a:pt x="5848" y="3395"/>
                  </a:cubicBezTo>
                  <a:cubicBezTo>
                    <a:pt x="5747" y="3428"/>
                    <a:pt x="5680" y="3496"/>
                    <a:pt x="5613" y="3529"/>
                  </a:cubicBezTo>
                  <a:cubicBezTo>
                    <a:pt x="5411" y="3664"/>
                    <a:pt x="5243" y="3764"/>
                    <a:pt x="5075" y="3899"/>
                  </a:cubicBezTo>
                  <a:cubicBezTo>
                    <a:pt x="4840" y="4033"/>
                    <a:pt x="4605" y="4201"/>
                    <a:pt x="4369" y="4369"/>
                  </a:cubicBezTo>
                  <a:cubicBezTo>
                    <a:pt x="4168" y="4504"/>
                    <a:pt x="4000" y="4672"/>
                    <a:pt x="3798" y="4806"/>
                  </a:cubicBezTo>
                  <a:cubicBezTo>
                    <a:pt x="3596" y="4974"/>
                    <a:pt x="3361" y="5142"/>
                    <a:pt x="3193" y="5310"/>
                  </a:cubicBezTo>
                  <a:cubicBezTo>
                    <a:pt x="3126" y="5344"/>
                    <a:pt x="3092" y="5378"/>
                    <a:pt x="3059" y="5411"/>
                  </a:cubicBezTo>
                  <a:cubicBezTo>
                    <a:pt x="2790" y="5647"/>
                    <a:pt x="2555" y="5915"/>
                    <a:pt x="2319" y="6151"/>
                  </a:cubicBezTo>
                  <a:cubicBezTo>
                    <a:pt x="2286" y="6218"/>
                    <a:pt x="2252" y="6252"/>
                    <a:pt x="2185" y="6319"/>
                  </a:cubicBezTo>
                  <a:cubicBezTo>
                    <a:pt x="2050" y="6453"/>
                    <a:pt x="1916" y="6621"/>
                    <a:pt x="1815" y="6756"/>
                  </a:cubicBezTo>
                  <a:cubicBezTo>
                    <a:pt x="1714" y="6890"/>
                    <a:pt x="1614" y="7025"/>
                    <a:pt x="1546" y="7125"/>
                  </a:cubicBezTo>
                  <a:cubicBezTo>
                    <a:pt x="1513" y="7193"/>
                    <a:pt x="1479" y="7226"/>
                    <a:pt x="1446" y="7260"/>
                  </a:cubicBezTo>
                  <a:cubicBezTo>
                    <a:pt x="1277" y="7495"/>
                    <a:pt x="1143" y="7730"/>
                    <a:pt x="1009" y="7966"/>
                  </a:cubicBezTo>
                  <a:cubicBezTo>
                    <a:pt x="975" y="8033"/>
                    <a:pt x="941" y="8066"/>
                    <a:pt x="908" y="8134"/>
                  </a:cubicBezTo>
                  <a:cubicBezTo>
                    <a:pt x="807" y="8335"/>
                    <a:pt x="706" y="8537"/>
                    <a:pt x="639" y="8739"/>
                  </a:cubicBezTo>
                  <a:cubicBezTo>
                    <a:pt x="572" y="8873"/>
                    <a:pt x="504" y="9007"/>
                    <a:pt x="471" y="9108"/>
                  </a:cubicBezTo>
                  <a:cubicBezTo>
                    <a:pt x="437" y="9175"/>
                    <a:pt x="437" y="9209"/>
                    <a:pt x="437" y="9243"/>
                  </a:cubicBezTo>
                  <a:cubicBezTo>
                    <a:pt x="336" y="9444"/>
                    <a:pt x="303" y="9646"/>
                    <a:pt x="236" y="9848"/>
                  </a:cubicBezTo>
                  <a:cubicBezTo>
                    <a:pt x="202" y="9982"/>
                    <a:pt x="168" y="10116"/>
                    <a:pt x="135" y="10251"/>
                  </a:cubicBezTo>
                  <a:cubicBezTo>
                    <a:pt x="135" y="10285"/>
                    <a:pt x="135" y="10318"/>
                    <a:pt x="101" y="10352"/>
                  </a:cubicBezTo>
                  <a:cubicBezTo>
                    <a:pt x="68" y="10587"/>
                    <a:pt x="68" y="10789"/>
                    <a:pt x="34" y="10990"/>
                  </a:cubicBezTo>
                  <a:cubicBezTo>
                    <a:pt x="34" y="11125"/>
                    <a:pt x="0" y="11259"/>
                    <a:pt x="0" y="11427"/>
                  </a:cubicBezTo>
                  <a:cubicBezTo>
                    <a:pt x="0" y="11461"/>
                    <a:pt x="0" y="11528"/>
                    <a:pt x="0" y="11595"/>
                  </a:cubicBezTo>
                  <a:lnTo>
                    <a:pt x="0" y="14889"/>
                  </a:lnTo>
                  <a:cubicBezTo>
                    <a:pt x="0" y="14687"/>
                    <a:pt x="34" y="14486"/>
                    <a:pt x="34" y="14284"/>
                  </a:cubicBezTo>
                  <a:cubicBezTo>
                    <a:pt x="68" y="14082"/>
                    <a:pt x="68" y="13881"/>
                    <a:pt x="101" y="13645"/>
                  </a:cubicBezTo>
                  <a:cubicBezTo>
                    <a:pt x="135" y="13477"/>
                    <a:pt x="202" y="13309"/>
                    <a:pt x="236" y="13141"/>
                  </a:cubicBezTo>
                  <a:cubicBezTo>
                    <a:pt x="303" y="12940"/>
                    <a:pt x="336" y="12738"/>
                    <a:pt x="404" y="12536"/>
                  </a:cubicBezTo>
                  <a:cubicBezTo>
                    <a:pt x="471" y="12368"/>
                    <a:pt x="538" y="12200"/>
                    <a:pt x="605" y="12032"/>
                  </a:cubicBezTo>
                  <a:cubicBezTo>
                    <a:pt x="706" y="11831"/>
                    <a:pt x="807" y="11629"/>
                    <a:pt x="908" y="11427"/>
                  </a:cubicBezTo>
                  <a:cubicBezTo>
                    <a:pt x="1076" y="11125"/>
                    <a:pt x="1244" y="10856"/>
                    <a:pt x="1412" y="10553"/>
                  </a:cubicBezTo>
                  <a:cubicBezTo>
                    <a:pt x="1446" y="10520"/>
                    <a:pt x="1479" y="10486"/>
                    <a:pt x="1513" y="10419"/>
                  </a:cubicBezTo>
                  <a:cubicBezTo>
                    <a:pt x="1714" y="10150"/>
                    <a:pt x="1950" y="9881"/>
                    <a:pt x="2185" y="9612"/>
                  </a:cubicBezTo>
                  <a:cubicBezTo>
                    <a:pt x="2219" y="9545"/>
                    <a:pt x="2252" y="9478"/>
                    <a:pt x="2319" y="9444"/>
                  </a:cubicBezTo>
                  <a:cubicBezTo>
                    <a:pt x="2588" y="9142"/>
                    <a:pt x="2857" y="8873"/>
                    <a:pt x="3160" y="8604"/>
                  </a:cubicBezTo>
                  <a:cubicBezTo>
                    <a:pt x="3361" y="8436"/>
                    <a:pt x="3563" y="8268"/>
                    <a:pt x="3765" y="8100"/>
                  </a:cubicBezTo>
                  <a:cubicBezTo>
                    <a:pt x="3966" y="7932"/>
                    <a:pt x="4134" y="7798"/>
                    <a:pt x="4336" y="7663"/>
                  </a:cubicBezTo>
                  <a:cubicBezTo>
                    <a:pt x="4571" y="7495"/>
                    <a:pt x="4806" y="7327"/>
                    <a:pt x="5075" y="7159"/>
                  </a:cubicBezTo>
                  <a:cubicBezTo>
                    <a:pt x="5310" y="6991"/>
                    <a:pt x="5546" y="6823"/>
                    <a:pt x="5848" y="6688"/>
                  </a:cubicBezTo>
                  <a:cubicBezTo>
                    <a:pt x="6420" y="6319"/>
                    <a:pt x="7058" y="6016"/>
                    <a:pt x="7730" y="5714"/>
                  </a:cubicBezTo>
                  <a:cubicBezTo>
                    <a:pt x="7932" y="5647"/>
                    <a:pt x="8100" y="5546"/>
                    <a:pt x="8302" y="5479"/>
                  </a:cubicBezTo>
                  <a:cubicBezTo>
                    <a:pt x="8806" y="5243"/>
                    <a:pt x="9344" y="5075"/>
                    <a:pt x="9881" y="4874"/>
                  </a:cubicBezTo>
                  <a:cubicBezTo>
                    <a:pt x="10083" y="4806"/>
                    <a:pt x="10251" y="4739"/>
                    <a:pt x="10453" y="4672"/>
                  </a:cubicBezTo>
                  <a:cubicBezTo>
                    <a:pt x="10789" y="4571"/>
                    <a:pt x="11158" y="4470"/>
                    <a:pt x="11494" y="4369"/>
                  </a:cubicBezTo>
                  <a:cubicBezTo>
                    <a:pt x="11763" y="4302"/>
                    <a:pt x="12032" y="4235"/>
                    <a:pt x="12301" y="4168"/>
                  </a:cubicBezTo>
                  <a:cubicBezTo>
                    <a:pt x="12671" y="4067"/>
                    <a:pt x="13040" y="4000"/>
                    <a:pt x="13410" y="3933"/>
                  </a:cubicBezTo>
                  <a:cubicBezTo>
                    <a:pt x="13645" y="3865"/>
                    <a:pt x="13914" y="3832"/>
                    <a:pt x="14150" y="3764"/>
                  </a:cubicBezTo>
                  <a:cubicBezTo>
                    <a:pt x="14923" y="3630"/>
                    <a:pt x="15696" y="3529"/>
                    <a:pt x="16469" y="3462"/>
                  </a:cubicBezTo>
                  <a:cubicBezTo>
                    <a:pt x="16704" y="3428"/>
                    <a:pt x="16939" y="3428"/>
                    <a:pt x="17174" y="3395"/>
                  </a:cubicBezTo>
                  <a:cubicBezTo>
                    <a:pt x="17611" y="3361"/>
                    <a:pt x="18082" y="3328"/>
                    <a:pt x="18552" y="3294"/>
                  </a:cubicBezTo>
                  <a:cubicBezTo>
                    <a:pt x="18821" y="3294"/>
                    <a:pt x="19124" y="3294"/>
                    <a:pt x="19393" y="3294"/>
                  </a:cubicBezTo>
                  <a:cubicBezTo>
                    <a:pt x="19762" y="3260"/>
                    <a:pt x="20132" y="3260"/>
                    <a:pt x="20502" y="3260"/>
                  </a:cubicBezTo>
                  <a:cubicBezTo>
                    <a:pt x="20838" y="3294"/>
                    <a:pt x="21140" y="3294"/>
                    <a:pt x="21443" y="3294"/>
                  </a:cubicBezTo>
                  <a:cubicBezTo>
                    <a:pt x="21779" y="3328"/>
                    <a:pt x="22115" y="3328"/>
                    <a:pt x="22451" y="3361"/>
                  </a:cubicBezTo>
                  <a:cubicBezTo>
                    <a:pt x="22787" y="3361"/>
                    <a:pt x="23089" y="3395"/>
                    <a:pt x="23392" y="3428"/>
                  </a:cubicBezTo>
                  <a:cubicBezTo>
                    <a:pt x="23728" y="3462"/>
                    <a:pt x="24064" y="3496"/>
                    <a:pt x="24400" y="3529"/>
                  </a:cubicBezTo>
                  <a:cubicBezTo>
                    <a:pt x="24703" y="3596"/>
                    <a:pt x="25005" y="3630"/>
                    <a:pt x="25308" y="3664"/>
                  </a:cubicBezTo>
                  <a:cubicBezTo>
                    <a:pt x="25677" y="3731"/>
                    <a:pt x="26013" y="3798"/>
                    <a:pt x="26383" y="3865"/>
                  </a:cubicBezTo>
                  <a:cubicBezTo>
                    <a:pt x="26652" y="3899"/>
                    <a:pt x="26921" y="3966"/>
                    <a:pt x="27223" y="4033"/>
                  </a:cubicBezTo>
                  <a:cubicBezTo>
                    <a:pt x="27627" y="4101"/>
                    <a:pt x="28064" y="4235"/>
                    <a:pt x="28467" y="4336"/>
                  </a:cubicBezTo>
                  <a:cubicBezTo>
                    <a:pt x="28702" y="4403"/>
                    <a:pt x="28937" y="4437"/>
                    <a:pt x="29173" y="4504"/>
                  </a:cubicBezTo>
                  <a:cubicBezTo>
                    <a:pt x="29912" y="4739"/>
                    <a:pt x="30618" y="4974"/>
                    <a:pt x="31324" y="5243"/>
                  </a:cubicBezTo>
                  <a:cubicBezTo>
                    <a:pt x="31660" y="5378"/>
                    <a:pt x="31996" y="5512"/>
                    <a:pt x="32332" y="5680"/>
                  </a:cubicBezTo>
                  <a:cubicBezTo>
                    <a:pt x="32500" y="5747"/>
                    <a:pt x="32668" y="5815"/>
                    <a:pt x="32836" y="5915"/>
                  </a:cubicBezTo>
                  <a:cubicBezTo>
                    <a:pt x="33374" y="6151"/>
                    <a:pt x="33844" y="6386"/>
                    <a:pt x="34315" y="6688"/>
                  </a:cubicBezTo>
                  <a:lnTo>
                    <a:pt x="97533" y="43154"/>
                  </a:lnTo>
                  <a:cubicBezTo>
                    <a:pt x="101498" y="45473"/>
                    <a:pt x="103481" y="48464"/>
                    <a:pt x="103481" y="51489"/>
                  </a:cubicBezTo>
                  <a:lnTo>
                    <a:pt x="103481" y="48195"/>
                  </a:lnTo>
                  <a:cubicBezTo>
                    <a:pt x="103515" y="45204"/>
                    <a:pt x="101532" y="42179"/>
                    <a:pt x="97566" y="39894"/>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71" name="Google Shape;3766;p49"/>
            <p:cNvSpPr/>
            <p:nvPr/>
          </p:nvSpPr>
          <p:spPr>
            <a:xfrm>
              <a:off x="-22862250" y="15202375"/>
              <a:ext cx="2774425" cy="1341000"/>
            </a:xfrm>
            <a:custGeom>
              <a:avLst/>
              <a:gdLst/>
              <a:ahLst/>
              <a:cxnLst/>
              <a:rect l="l" t="t" r="r" b="b"/>
              <a:pathLst>
                <a:path w="110977" h="53640" extrusionOk="0">
                  <a:moveTo>
                    <a:pt x="110842" y="37844"/>
                  </a:moveTo>
                  <a:cubicBezTo>
                    <a:pt x="110842" y="37911"/>
                    <a:pt x="110808" y="37944"/>
                    <a:pt x="110808" y="38012"/>
                  </a:cubicBezTo>
                  <a:cubicBezTo>
                    <a:pt x="110741" y="38415"/>
                    <a:pt x="110640" y="38785"/>
                    <a:pt x="110540" y="39154"/>
                  </a:cubicBezTo>
                  <a:cubicBezTo>
                    <a:pt x="110506" y="39222"/>
                    <a:pt x="110472" y="39255"/>
                    <a:pt x="110472" y="39322"/>
                  </a:cubicBezTo>
                  <a:cubicBezTo>
                    <a:pt x="110338" y="39692"/>
                    <a:pt x="110170" y="40095"/>
                    <a:pt x="110002" y="40465"/>
                  </a:cubicBezTo>
                  <a:cubicBezTo>
                    <a:pt x="109968" y="40499"/>
                    <a:pt x="109935" y="40566"/>
                    <a:pt x="109901" y="40633"/>
                  </a:cubicBezTo>
                  <a:cubicBezTo>
                    <a:pt x="109699" y="41003"/>
                    <a:pt x="109498" y="41373"/>
                    <a:pt x="109229" y="41742"/>
                  </a:cubicBezTo>
                  <a:cubicBezTo>
                    <a:pt x="109195" y="41776"/>
                    <a:pt x="109162" y="41843"/>
                    <a:pt x="109128" y="41877"/>
                  </a:cubicBezTo>
                  <a:cubicBezTo>
                    <a:pt x="108893" y="42213"/>
                    <a:pt x="108624" y="42549"/>
                    <a:pt x="108355" y="42885"/>
                  </a:cubicBezTo>
                  <a:cubicBezTo>
                    <a:pt x="108288" y="42919"/>
                    <a:pt x="108254" y="42986"/>
                    <a:pt x="108187" y="43053"/>
                  </a:cubicBezTo>
                  <a:cubicBezTo>
                    <a:pt x="107884" y="43389"/>
                    <a:pt x="107515" y="43725"/>
                    <a:pt x="107179" y="44061"/>
                  </a:cubicBezTo>
                  <a:cubicBezTo>
                    <a:pt x="106943" y="44263"/>
                    <a:pt x="106708" y="44465"/>
                    <a:pt x="106439" y="44633"/>
                  </a:cubicBezTo>
                  <a:cubicBezTo>
                    <a:pt x="106238" y="44834"/>
                    <a:pt x="106002" y="45002"/>
                    <a:pt x="105767" y="45170"/>
                  </a:cubicBezTo>
                  <a:cubicBezTo>
                    <a:pt x="105498" y="45372"/>
                    <a:pt x="105229" y="45540"/>
                    <a:pt x="104927" y="45742"/>
                  </a:cubicBezTo>
                  <a:cubicBezTo>
                    <a:pt x="104624" y="45943"/>
                    <a:pt x="104356" y="46145"/>
                    <a:pt x="104019" y="46313"/>
                  </a:cubicBezTo>
                  <a:cubicBezTo>
                    <a:pt x="103515" y="46615"/>
                    <a:pt x="102944" y="46918"/>
                    <a:pt x="102406" y="47187"/>
                  </a:cubicBezTo>
                  <a:cubicBezTo>
                    <a:pt x="102272" y="47254"/>
                    <a:pt x="102104" y="47321"/>
                    <a:pt x="101969" y="47388"/>
                  </a:cubicBezTo>
                  <a:cubicBezTo>
                    <a:pt x="101465" y="47624"/>
                    <a:pt x="100961" y="47825"/>
                    <a:pt x="100423" y="48027"/>
                  </a:cubicBezTo>
                  <a:cubicBezTo>
                    <a:pt x="100356" y="48061"/>
                    <a:pt x="100323" y="48094"/>
                    <a:pt x="100255" y="48128"/>
                  </a:cubicBezTo>
                  <a:cubicBezTo>
                    <a:pt x="99684" y="48330"/>
                    <a:pt x="99113" y="48531"/>
                    <a:pt x="98541" y="48699"/>
                  </a:cubicBezTo>
                  <a:cubicBezTo>
                    <a:pt x="98138" y="48834"/>
                    <a:pt x="97701" y="48934"/>
                    <a:pt x="97298" y="49035"/>
                  </a:cubicBezTo>
                  <a:cubicBezTo>
                    <a:pt x="96995" y="49136"/>
                    <a:pt x="96693" y="49237"/>
                    <a:pt x="96357" y="49304"/>
                  </a:cubicBezTo>
                  <a:cubicBezTo>
                    <a:pt x="95920" y="49405"/>
                    <a:pt x="95483" y="49506"/>
                    <a:pt x="95046" y="49573"/>
                  </a:cubicBezTo>
                  <a:cubicBezTo>
                    <a:pt x="94710" y="49640"/>
                    <a:pt x="94407" y="49707"/>
                    <a:pt x="94071" y="49775"/>
                  </a:cubicBezTo>
                  <a:cubicBezTo>
                    <a:pt x="93937" y="49808"/>
                    <a:pt x="93802" y="49808"/>
                    <a:pt x="93668" y="49842"/>
                  </a:cubicBezTo>
                  <a:cubicBezTo>
                    <a:pt x="93130" y="49943"/>
                    <a:pt x="92559" y="50010"/>
                    <a:pt x="92021" y="50077"/>
                  </a:cubicBezTo>
                  <a:cubicBezTo>
                    <a:pt x="91853" y="50111"/>
                    <a:pt x="91685" y="50111"/>
                    <a:pt x="91551" y="50144"/>
                  </a:cubicBezTo>
                  <a:cubicBezTo>
                    <a:pt x="91215" y="50178"/>
                    <a:pt x="90912" y="50178"/>
                    <a:pt x="90576" y="50212"/>
                  </a:cubicBezTo>
                  <a:cubicBezTo>
                    <a:pt x="90038" y="50279"/>
                    <a:pt x="89501" y="50312"/>
                    <a:pt x="88963" y="50312"/>
                  </a:cubicBezTo>
                  <a:cubicBezTo>
                    <a:pt x="88627" y="50346"/>
                    <a:pt x="88291" y="50346"/>
                    <a:pt x="87921" y="50346"/>
                  </a:cubicBezTo>
                  <a:cubicBezTo>
                    <a:pt x="87484" y="50380"/>
                    <a:pt x="87047" y="50380"/>
                    <a:pt x="86610" y="50346"/>
                  </a:cubicBezTo>
                  <a:cubicBezTo>
                    <a:pt x="86240" y="50346"/>
                    <a:pt x="85904" y="50346"/>
                    <a:pt x="85535" y="50346"/>
                  </a:cubicBezTo>
                  <a:cubicBezTo>
                    <a:pt x="85131" y="50312"/>
                    <a:pt x="84728" y="50279"/>
                    <a:pt x="84325" y="50279"/>
                  </a:cubicBezTo>
                  <a:cubicBezTo>
                    <a:pt x="83955" y="50245"/>
                    <a:pt x="83585" y="50212"/>
                    <a:pt x="83216" y="50178"/>
                  </a:cubicBezTo>
                  <a:cubicBezTo>
                    <a:pt x="82812" y="50144"/>
                    <a:pt x="82409" y="50077"/>
                    <a:pt x="82006" y="50044"/>
                  </a:cubicBezTo>
                  <a:cubicBezTo>
                    <a:pt x="81670" y="50010"/>
                    <a:pt x="81300" y="49943"/>
                    <a:pt x="80964" y="49876"/>
                  </a:cubicBezTo>
                  <a:cubicBezTo>
                    <a:pt x="80527" y="49808"/>
                    <a:pt x="80124" y="49741"/>
                    <a:pt x="79687" y="49674"/>
                  </a:cubicBezTo>
                  <a:cubicBezTo>
                    <a:pt x="79351" y="49607"/>
                    <a:pt x="79015" y="49539"/>
                    <a:pt x="78712" y="49472"/>
                  </a:cubicBezTo>
                  <a:cubicBezTo>
                    <a:pt x="78208" y="49371"/>
                    <a:pt x="77704" y="49237"/>
                    <a:pt x="77200" y="49103"/>
                  </a:cubicBezTo>
                  <a:cubicBezTo>
                    <a:pt x="76897" y="49035"/>
                    <a:pt x="76595" y="48934"/>
                    <a:pt x="76259" y="48867"/>
                  </a:cubicBezTo>
                  <a:cubicBezTo>
                    <a:pt x="76091" y="48800"/>
                    <a:pt x="75923" y="48733"/>
                    <a:pt x="75788" y="48699"/>
                  </a:cubicBezTo>
                  <a:cubicBezTo>
                    <a:pt x="75284" y="48531"/>
                    <a:pt x="74814" y="48363"/>
                    <a:pt x="74343" y="48195"/>
                  </a:cubicBezTo>
                  <a:cubicBezTo>
                    <a:pt x="74175" y="48161"/>
                    <a:pt x="74041" y="48094"/>
                    <a:pt x="73906" y="48061"/>
                  </a:cubicBezTo>
                  <a:cubicBezTo>
                    <a:pt x="73469" y="47893"/>
                    <a:pt x="73066" y="47691"/>
                    <a:pt x="72629" y="47523"/>
                  </a:cubicBezTo>
                  <a:cubicBezTo>
                    <a:pt x="72427" y="47422"/>
                    <a:pt x="72226" y="47355"/>
                    <a:pt x="72024" y="47254"/>
                  </a:cubicBezTo>
                  <a:cubicBezTo>
                    <a:pt x="71419" y="46952"/>
                    <a:pt x="70848" y="46649"/>
                    <a:pt x="70276" y="46347"/>
                  </a:cubicBezTo>
                  <a:lnTo>
                    <a:pt x="7059" y="9848"/>
                  </a:lnTo>
                  <a:cubicBezTo>
                    <a:pt x="2353" y="7125"/>
                    <a:pt x="34" y="3563"/>
                    <a:pt x="34" y="0"/>
                  </a:cubicBezTo>
                  <a:lnTo>
                    <a:pt x="34" y="3294"/>
                  </a:lnTo>
                  <a:cubicBezTo>
                    <a:pt x="1" y="6856"/>
                    <a:pt x="2353" y="10419"/>
                    <a:pt x="7059" y="13141"/>
                  </a:cubicBezTo>
                  <a:lnTo>
                    <a:pt x="70276" y="49607"/>
                  </a:lnTo>
                  <a:cubicBezTo>
                    <a:pt x="70848" y="49943"/>
                    <a:pt x="71419" y="50245"/>
                    <a:pt x="72024" y="50548"/>
                  </a:cubicBezTo>
                  <a:cubicBezTo>
                    <a:pt x="72226" y="50615"/>
                    <a:pt x="72427" y="50716"/>
                    <a:pt x="72629" y="50783"/>
                  </a:cubicBezTo>
                  <a:cubicBezTo>
                    <a:pt x="72999" y="50951"/>
                    <a:pt x="73335" y="51119"/>
                    <a:pt x="73704" y="51253"/>
                  </a:cubicBezTo>
                  <a:cubicBezTo>
                    <a:pt x="73772" y="51287"/>
                    <a:pt x="73839" y="51321"/>
                    <a:pt x="73906" y="51321"/>
                  </a:cubicBezTo>
                  <a:cubicBezTo>
                    <a:pt x="74041" y="51388"/>
                    <a:pt x="74175" y="51422"/>
                    <a:pt x="74309" y="51489"/>
                  </a:cubicBezTo>
                  <a:cubicBezTo>
                    <a:pt x="74780" y="51657"/>
                    <a:pt x="75284" y="51825"/>
                    <a:pt x="75755" y="51993"/>
                  </a:cubicBezTo>
                  <a:cubicBezTo>
                    <a:pt x="75923" y="52026"/>
                    <a:pt x="76091" y="52094"/>
                    <a:pt x="76259" y="52127"/>
                  </a:cubicBezTo>
                  <a:cubicBezTo>
                    <a:pt x="76360" y="52161"/>
                    <a:pt x="76494" y="52195"/>
                    <a:pt x="76595" y="52228"/>
                  </a:cubicBezTo>
                  <a:cubicBezTo>
                    <a:pt x="76796" y="52295"/>
                    <a:pt x="76998" y="52329"/>
                    <a:pt x="77200" y="52396"/>
                  </a:cubicBezTo>
                  <a:cubicBezTo>
                    <a:pt x="77704" y="52531"/>
                    <a:pt x="78174" y="52631"/>
                    <a:pt x="78679" y="52766"/>
                  </a:cubicBezTo>
                  <a:cubicBezTo>
                    <a:pt x="78813" y="52799"/>
                    <a:pt x="78947" y="52833"/>
                    <a:pt x="79082" y="52867"/>
                  </a:cubicBezTo>
                  <a:cubicBezTo>
                    <a:pt x="79284" y="52900"/>
                    <a:pt x="79485" y="52934"/>
                    <a:pt x="79687" y="52968"/>
                  </a:cubicBezTo>
                  <a:cubicBezTo>
                    <a:pt x="80090" y="53035"/>
                    <a:pt x="80527" y="53102"/>
                    <a:pt x="80964" y="53169"/>
                  </a:cubicBezTo>
                  <a:cubicBezTo>
                    <a:pt x="81132" y="53203"/>
                    <a:pt x="81266" y="53236"/>
                    <a:pt x="81434" y="53270"/>
                  </a:cubicBezTo>
                  <a:cubicBezTo>
                    <a:pt x="81636" y="53304"/>
                    <a:pt x="81838" y="53304"/>
                    <a:pt x="82006" y="53337"/>
                  </a:cubicBezTo>
                  <a:cubicBezTo>
                    <a:pt x="82409" y="53371"/>
                    <a:pt x="82812" y="53438"/>
                    <a:pt x="83216" y="53472"/>
                  </a:cubicBezTo>
                  <a:cubicBezTo>
                    <a:pt x="83417" y="53472"/>
                    <a:pt x="83585" y="53505"/>
                    <a:pt x="83787" y="53539"/>
                  </a:cubicBezTo>
                  <a:cubicBezTo>
                    <a:pt x="83955" y="53539"/>
                    <a:pt x="84123" y="53539"/>
                    <a:pt x="84325" y="53539"/>
                  </a:cubicBezTo>
                  <a:cubicBezTo>
                    <a:pt x="84728" y="53572"/>
                    <a:pt x="85131" y="53606"/>
                    <a:pt x="85535" y="53606"/>
                  </a:cubicBezTo>
                  <a:cubicBezTo>
                    <a:pt x="85736" y="53640"/>
                    <a:pt x="85938" y="53640"/>
                    <a:pt x="86140" y="53640"/>
                  </a:cubicBezTo>
                  <a:cubicBezTo>
                    <a:pt x="86308" y="53640"/>
                    <a:pt x="86442" y="53640"/>
                    <a:pt x="86610" y="53640"/>
                  </a:cubicBezTo>
                  <a:cubicBezTo>
                    <a:pt x="87047" y="53640"/>
                    <a:pt x="87484" y="53640"/>
                    <a:pt x="87921" y="53640"/>
                  </a:cubicBezTo>
                  <a:cubicBezTo>
                    <a:pt x="88156" y="53640"/>
                    <a:pt x="88358" y="53640"/>
                    <a:pt x="88593" y="53640"/>
                  </a:cubicBezTo>
                  <a:cubicBezTo>
                    <a:pt x="88694" y="53640"/>
                    <a:pt x="88828" y="53606"/>
                    <a:pt x="88963" y="53606"/>
                  </a:cubicBezTo>
                  <a:cubicBezTo>
                    <a:pt x="89501" y="53572"/>
                    <a:pt x="90038" y="53539"/>
                    <a:pt x="90576" y="53505"/>
                  </a:cubicBezTo>
                  <a:cubicBezTo>
                    <a:pt x="90811" y="53472"/>
                    <a:pt x="91013" y="53472"/>
                    <a:pt x="91248" y="53472"/>
                  </a:cubicBezTo>
                  <a:cubicBezTo>
                    <a:pt x="91349" y="53438"/>
                    <a:pt x="91450" y="53438"/>
                    <a:pt x="91551" y="53438"/>
                  </a:cubicBezTo>
                  <a:cubicBezTo>
                    <a:pt x="91719" y="53404"/>
                    <a:pt x="91853" y="53371"/>
                    <a:pt x="92021" y="53371"/>
                  </a:cubicBezTo>
                  <a:cubicBezTo>
                    <a:pt x="92593" y="53304"/>
                    <a:pt x="93130" y="53236"/>
                    <a:pt x="93668" y="53136"/>
                  </a:cubicBezTo>
                  <a:cubicBezTo>
                    <a:pt x="93802" y="53102"/>
                    <a:pt x="93970" y="53102"/>
                    <a:pt x="94105" y="53068"/>
                  </a:cubicBezTo>
                  <a:cubicBezTo>
                    <a:pt x="94172" y="53068"/>
                    <a:pt x="94239" y="53035"/>
                    <a:pt x="94273" y="53035"/>
                  </a:cubicBezTo>
                  <a:cubicBezTo>
                    <a:pt x="94542" y="53001"/>
                    <a:pt x="94811" y="52934"/>
                    <a:pt x="95046" y="52867"/>
                  </a:cubicBezTo>
                  <a:cubicBezTo>
                    <a:pt x="95483" y="52766"/>
                    <a:pt x="95953" y="52699"/>
                    <a:pt x="96357" y="52598"/>
                  </a:cubicBezTo>
                  <a:cubicBezTo>
                    <a:pt x="96693" y="52497"/>
                    <a:pt x="96995" y="52430"/>
                    <a:pt x="97298" y="52329"/>
                  </a:cubicBezTo>
                  <a:cubicBezTo>
                    <a:pt x="97735" y="52228"/>
                    <a:pt x="98138" y="52127"/>
                    <a:pt x="98541" y="51993"/>
                  </a:cubicBezTo>
                  <a:cubicBezTo>
                    <a:pt x="98642" y="51959"/>
                    <a:pt x="98709" y="51926"/>
                    <a:pt x="98810" y="51926"/>
                  </a:cubicBezTo>
                  <a:cubicBezTo>
                    <a:pt x="99314" y="51758"/>
                    <a:pt x="99785" y="51590"/>
                    <a:pt x="100255" y="51388"/>
                  </a:cubicBezTo>
                  <a:cubicBezTo>
                    <a:pt x="100323" y="51388"/>
                    <a:pt x="100390" y="51354"/>
                    <a:pt x="100457" y="51321"/>
                  </a:cubicBezTo>
                  <a:cubicBezTo>
                    <a:pt x="100961" y="51119"/>
                    <a:pt x="101465" y="50884"/>
                    <a:pt x="101969" y="50682"/>
                  </a:cubicBezTo>
                  <a:cubicBezTo>
                    <a:pt x="102137" y="50615"/>
                    <a:pt x="102272" y="50548"/>
                    <a:pt x="102406" y="50447"/>
                  </a:cubicBezTo>
                  <a:cubicBezTo>
                    <a:pt x="102978" y="50212"/>
                    <a:pt x="103515" y="49909"/>
                    <a:pt x="104019" y="49607"/>
                  </a:cubicBezTo>
                  <a:cubicBezTo>
                    <a:pt x="104120" y="49573"/>
                    <a:pt x="104221" y="49506"/>
                    <a:pt x="104322" y="49439"/>
                  </a:cubicBezTo>
                  <a:cubicBezTo>
                    <a:pt x="104524" y="49304"/>
                    <a:pt x="104725" y="49170"/>
                    <a:pt x="104927" y="49035"/>
                  </a:cubicBezTo>
                  <a:cubicBezTo>
                    <a:pt x="105229" y="48834"/>
                    <a:pt x="105532" y="48666"/>
                    <a:pt x="105801" y="48464"/>
                  </a:cubicBezTo>
                  <a:cubicBezTo>
                    <a:pt x="106036" y="48296"/>
                    <a:pt x="106238" y="48094"/>
                    <a:pt x="106473" y="47926"/>
                  </a:cubicBezTo>
                  <a:cubicBezTo>
                    <a:pt x="106708" y="47725"/>
                    <a:pt x="106943" y="47523"/>
                    <a:pt x="107179" y="47321"/>
                  </a:cubicBezTo>
                  <a:cubicBezTo>
                    <a:pt x="107246" y="47288"/>
                    <a:pt x="107279" y="47254"/>
                    <a:pt x="107313" y="47220"/>
                  </a:cubicBezTo>
                  <a:cubicBezTo>
                    <a:pt x="107649" y="46918"/>
                    <a:pt x="107918" y="46649"/>
                    <a:pt x="108187" y="46347"/>
                  </a:cubicBezTo>
                  <a:cubicBezTo>
                    <a:pt x="108254" y="46279"/>
                    <a:pt x="108288" y="46212"/>
                    <a:pt x="108355" y="46145"/>
                  </a:cubicBezTo>
                  <a:cubicBezTo>
                    <a:pt x="108523" y="45977"/>
                    <a:pt x="108657" y="45809"/>
                    <a:pt x="108825" y="45607"/>
                  </a:cubicBezTo>
                  <a:cubicBezTo>
                    <a:pt x="108926" y="45473"/>
                    <a:pt x="109027" y="45338"/>
                    <a:pt x="109128" y="45170"/>
                  </a:cubicBezTo>
                  <a:cubicBezTo>
                    <a:pt x="109162" y="45137"/>
                    <a:pt x="109229" y="45069"/>
                    <a:pt x="109262" y="45036"/>
                  </a:cubicBezTo>
                  <a:cubicBezTo>
                    <a:pt x="109430" y="44733"/>
                    <a:pt x="109598" y="44465"/>
                    <a:pt x="109767" y="44196"/>
                  </a:cubicBezTo>
                  <a:cubicBezTo>
                    <a:pt x="109834" y="44095"/>
                    <a:pt x="109867" y="43994"/>
                    <a:pt x="109901" y="43927"/>
                  </a:cubicBezTo>
                  <a:cubicBezTo>
                    <a:pt x="109935" y="43860"/>
                    <a:pt x="109968" y="43792"/>
                    <a:pt x="110002" y="43725"/>
                  </a:cubicBezTo>
                  <a:cubicBezTo>
                    <a:pt x="110170" y="43423"/>
                    <a:pt x="110304" y="43154"/>
                    <a:pt x="110405" y="42851"/>
                  </a:cubicBezTo>
                  <a:cubicBezTo>
                    <a:pt x="110439" y="42750"/>
                    <a:pt x="110472" y="42683"/>
                    <a:pt x="110472" y="42616"/>
                  </a:cubicBezTo>
                  <a:cubicBezTo>
                    <a:pt x="110506" y="42549"/>
                    <a:pt x="110506" y="42482"/>
                    <a:pt x="110540" y="42448"/>
                  </a:cubicBezTo>
                  <a:cubicBezTo>
                    <a:pt x="110640" y="42112"/>
                    <a:pt x="110741" y="41809"/>
                    <a:pt x="110808" y="41473"/>
                  </a:cubicBezTo>
                  <a:cubicBezTo>
                    <a:pt x="110808" y="41440"/>
                    <a:pt x="110808" y="41373"/>
                    <a:pt x="110842" y="41305"/>
                  </a:cubicBezTo>
                  <a:cubicBezTo>
                    <a:pt x="110842" y="41238"/>
                    <a:pt x="110842" y="41171"/>
                    <a:pt x="110842" y="41137"/>
                  </a:cubicBezTo>
                  <a:cubicBezTo>
                    <a:pt x="110909" y="40801"/>
                    <a:pt x="110943" y="40465"/>
                    <a:pt x="110943" y="40129"/>
                  </a:cubicBezTo>
                  <a:cubicBezTo>
                    <a:pt x="110943" y="40062"/>
                    <a:pt x="110943" y="39995"/>
                    <a:pt x="110943" y="39894"/>
                  </a:cubicBezTo>
                  <a:lnTo>
                    <a:pt x="110976" y="36634"/>
                  </a:lnTo>
                  <a:cubicBezTo>
                    <a:pt x="110943" y="37037"/>
                    <a:pt x="110909" y="37440"/>
                    <a:pt x="110842" y="37844"/>
                  </a:cubicBezTo>
                  <a:close/>
                </a:path>
              </a:pathLst>
            </a:custGeom>
            <a:solidFill>
              <a:srgbClr val="D4B6F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72" name="Google Shape;3767;p49"/>
            <p:cNvSpPr/>
            <p:nvPr/>
          </p:nvSpPr>
          <p:spPr>
            <a:xfrm>
              <a:off x="-22920225" y="14825100"/>
              <a:ext cx="2890375" cy="1670375"/>
            </a:xfrm>
            <a:custGeom>
              <a:avLst/>
              <a:gdLst/>
              <a:ahLst/>
              <a:cxnLst/>
              <a:rect l="l" t="t" r="r" b="b"/>
              <a:pathLst>
                <a:path w="115615" h="66815" extrusionOk="0">
                  <a:moveTo>
                    <a:pt x="106238" y="41877"/>
                  </a:moveTo>
                  <a:cubicBezTo>
                    <a:pt x="115547" y="47255"/>
                    <a:pt x="115614" y="56027"/>
                    <a:pt x="106338" y="61438"/>
                  </a:cubicBezTo>
                  <a:cubicBezTo>
                    <a:pt x="97062" y="66815"/>
                    <a:pt x="81939" y="66815"/>
                    <a:pt x="72595" y="61438"/>
                  </a:cubicBezTo>
                  <a:lnTo>
                    <a:pt x="9378" y="24939"/>
                  </a:lnTo>
                  <a:cubicBezTo>
                    <a:pt x="34" y="19528"/>
                    <a:pt x="1" y="10756"/>
                    <a:pt x="9277" y="5378"/>
                  </a:cubicBezTo>
                  <a:cubicBezTo>
                    <a:pt x="18519" y="1"/>
                    <a:pt x="33677" y="1"/>
                    <a:pt x="43020" y="5378"/>
                  </a:cubicBezTo>
                  <a:close/>
                  <a:moveTo>
                    <a:pt x="75217" y="59892"/>
                  </a:moveTo>
                  <a:cubicBezTo>
                    <a:pt x="83081" y="64462"/>
                    <a:pt x="95853" y="64462"/>
                    <a:pt x="103683" y="59892"/>
                  </a:cubicBezTo>
                  <a:cubicBezTo>
                    <a:pt x="111514" y="55354"/>
                    <a:pt x="111481" y="47961"/>
                    <a:pt x="103616" y="43390"/>
                  </a:cubicBezTo>
                  <a:lnTo>
                    <a:pt x="40398" y="6891"/>
                  </a:lnTo>
                  <a:cubicBezTo>
                    <a:pt x="32500" y="2354"/>
                    <a:pt x="19729" y="2354"/>
                    <a:pt x="11898" y="6891"/>
                  </a:cubicBezTo>
                  <a:cubicBezTo>
                    <a:pt x="4067" y="11462"/>
                    <a:pt x="4101" y="18855"/>
                    <a:pt x="11999" y="23393"/>
                  </a:cubicBezTo>
                  <a:lnTo>
                    <a:pt x="75217" y="59892"/>
                  </a:ln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73" name="Google Shape;3768;p49"/>
            <p:cNvSpPr/>
            <p:nvPr/>
          </p:nvSpPr>
          <p:spPr>
            <a:xfrm>
              <a:off x="-22832000" y="12645600"/>
              <a:ext cx="2682825" cy="3806200"/>
            </a:xfrm>
            <a:custGeom>
              <a:avLst/>
              <a:gdLst/>
              <a:ahLst/>
              <a:cxnLst/>
              <a:rect l="l" t="t" r="r" b="b"/>
              <a:pathLst>
                <a:path w="107313" h="152248" extrusionOk="0">
                  <a:moveTo>
                    <a:pt x="105901" y="137123"/>
                  </a:moveTo>
                  <a:lnTo>
                    <a:pt x="106238" y="137292"/>
                  </a:lnTo>
                  <a:lnTo>
                    <a:pt x="106238" y="51825"/>
                  </a:lnTo>
                  <a:lnTo>
                    <a:pt x="14116" y="0"/>
                  </a:lnTo>
                  <a:lnTo>
                    <a:pt x="14116" y="91584"/>
                  </a:lnTo>
                  <a:lnTo>
                    <a:pt x="14251" y="91651"/>
                  </a:lnTo>
                  <a:cubicBezTo>
                    <a:pt x="11898" y="92189"/>
                    <a:pt x="9680" y="93029"/>
                    <a:pt x="7764" y="94138"/>
                  </a:cubicBezTo>
                  <a:cubicBezTo>
                    <a:pt x="1" y="98675"/>
                    <a:pt x="34" y="106002"/>
                    <a:pt x="7865" y="110505"/>
                  </a:cubicBezTo>
                  <a:lnTo>
                    <a:pt x="72360" y="147744"/>
                  </a:lnTo>
                  <a:cubicBezTo>
                    <a:pt x="80191" y="152247"/>
                    <a:pt x="92828" y="152247"/>
                    <a:pt x="100591" y="147744"/>
                  </a:cubicBezTo>
                  <a:cubicBezTo>
                    <a:pt x="105565" y="144853"/>
                    <a:pt x="107313" y="140820"/>
                    <a:pt x="105901" y="137123"/>
                  </a:cubicBezTo>
                  <a:close/>
                </a:path>
              </a:pathLst>
            </a:custGeom>
            <a:solidFill>
              <a:srgbClr val="EFE4F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74" name="Google Shape;3769;p49"/>
            <p:cNvSpPr/>
            <p:nvPr/>
          </p:nvSpPr>
          <p:spPr>
            <a:xfrm>
              <a:off x="-22411050" y="13237950"/>
              <a:ext cx="427700" cy="2278225"/>
            </a:xfrm>
            <a:custGeom>
              <a:avLst/>
              <a:gdLst/>
              <a:ahLst/>
              <a:cxnLst/>
              <a:rect l="l" t="t" r="r" b="b"/>
              <a:pathLst>
                <a:path w="17108" h="91129" extrusionOk="0">
                  <a:moveTo>
                    <a:pt x="17107" y="67"/>
                  </a:moveTo>
                  <a:lnTo>
                    <a:pt x="17107" y="293"/>
                  </a:lnTo>
                  <a:lnTo>
                    <a:pt x="17107" y="293"/>
                  </a:lnTo>
                  <a:cubicBezTo>
                    <a:pt x="17107" y="285"/>
                    <a:pt x="17107" y="277"/>
                    <a:pt x="17107" y="269"/>
                  </a:cubicBezTo>
                  <a:cubicBezTo>
                    <a:pt x="17107" y="202"/>
                    <a:pt x="17107" y="101"/>
                    <a:pt x="17107" y="67"/>
                  </a:cubicBezTo>
                  <a:close/>
                  <a:moveTo>
                    <a:pt x="269" y="0"/>
                  </a:moveTo>
                  <a:lnTo>
                    <a:pt x="34" y="86240"/>
                  </a:lnTo>
                  <a:cubicBezTo>
                    <a:pt x="1" y="87484"/>
                    <a:pt x="841" y="88727"/>
                    <a:pt x="2521" y="89702"/>
                  </a:cubicBezTo>
                  <a:cubicBezTo>
                    <a:pt x="2891" y="89903"/>
                    <a:pt x="3294" y="90105"/>
                    <a:pt x="3731" y="90273"/>
                  </a:cubicBezTo>
                  <a:cubicBezTo>
                    <a:pt x="3731" y="90307"/>
                    <a:pt x="3765" y="90307"/>
                    <a:pt x="3798" y="90307"/>
                  </a:cubicBezTo>
                  <a:cubicBezTo>
                    <a:pt x="3866" y="90340"/>
                    <a:pt x="3933" y="90340"/>
                    <a:pt x="4000" y="90374"/>
                  </a:cubicBezTo>
                  <a:cubicBezTo>
                    <a:pt x="4235" y="90475"/>
                    <a:pt x="4471" y="90542"/>
                    <a:pt x="4739" y="90643"/>
                  </a:cubicBezTo>
                  <a:cubicBezTo>
                    <a:pt x="4874" y="90676"/>
                    <a:pt x="5042" y="90710"/>
                    <a:pt x="5176" y="90744"/>
                  </a:cubicBezTo>
                  <a:cubicBezTo>
                    <a:pt x="5244" y="90744"/>
                    <a:pt x="5311" y="90777"/>
                    <a:pt x="5412" y="90777"/>
                  </a:cubicBezTo>
                  <a:cubicBezTo>
                    <a:pt x="5479" y="90811"/>
                    <a:pt x="5546" y="90811"/>
                    <a:pt x="5613" y="90844"/>
                  </a:cubicBezTo>
                  <a:cubicBezTo>
                    <a:pt x="5882" y="90912"/>
                    <a:pt x="6185" y="90945"/>
                    <a:pt x="6453" y="90979"/>
                  </a:cubicBezTo>
                  <a:cubicBezTo>
                    <a:pt x="6554" y="91012"/>
                    <a:pt x="6655" y="91012"/>
                    <a:pt x="6756" y="91012"/>
                  </a:cubicBezTo>
                  <a:cubicBezTo>
                    <a:pt x="6823" y="91046"/>
                    <a:pt x="6890" y="91046"/>
                    <a:pt x="6958" y="91046"/>
                  </a:cubicBezTo>
                  <a:cubicBezTo>
                    <a:pt x="7058" y="91046"/>
                    <a:pt x="7159" y="91080"/>
                    <a:pt x="7294" y="91080"/>
                  </a:cubicBezTo>
                  <a:cubicBezTo>
                    <a:pt x="7563" y="91113"/>
                    <a:pt x="7831" y="91113"/>
                    <a:pt x="8100" y="91113"/>
                  </a:cubicBezTo>
                  <a:cubicBezTo>
                    <a:pt x="8134" y="91125"/>
                    <a:pt x="8164" y="91128"/>
                    <a:pt x="8192" y="91128"/>
                  </a:cubicBezTo>
                  <a:cubicBezTo>
                    <a:pt x="8250" y="91128"/>
                    <a:pt x="8302" y="91113"/>
                    <a:pt x="8369" y="91113"/>
                  </a:cubicBezTo>
                  <a:lnTo>
                    <a:pt x="8604" y="91113"/>
                  </a:lnTo>
                  <a:cubicBezTo>
                    <a:pt x="8672" y="91113"/>
                    <a:pt x="8754" y="91128"/>
                    <a:pt x="8841" y="91128"/>
                  </a:cubicBezTo>
                  <a:cubicBezTo>
                    <a:pt x="8884" y="91128"/>
                    <a:pt x="8929" y="91125"/>
                    <a:pt x="8974" y="91113"/>
                  </a:cubicBezTo>
                  <a:cubicBezTo>
                    <a:pt x="9277" y="91113"/>
                    <a:pt x="9579" y="91113"/>
                    <a:pt x="9915" y="91080"/>
                  </a:cubicBezTo>
                  <a:cubicBezTo>
                    <a:pt x="9949" y="91046"/>
                    <a:pt x="9982" y="91046"/>
                    <a:pt x="10016" y="91046"/>
                  </a:cubicBezTo>
                  <a:cubicBezTo>
                    <a:pt x="10083" y="91046"/>
                    <a:pt x="10184" y="91012"/>
                    <a:pt x="10251" y="91012"/>
                  </a:cubicBezTo>
                  <a:cubicBezTo>
                    <a:pt x="10486" y="90979"/>
                    <a:pt x="10722" y="90945"/>
                    <a:pt x="10991" y="90912"/>
                  </a:cubicBezTo>
                  <a:cubicBezTo>
                    <a:pt x="11091" y="90912"/>
                    <a:pt x="11192" y="90878"/>
                    <a:pt x="11293" y="90844"/>
                  </a:cubicBezTo>
                  <a:cubicBezTo>
                    <a:pt x="11562" y="90777"/>
                    <a:pt x="11864" y="90710"/>
                    <a:pt x="12133" y="90643"/>
                  </a:cubicBezTo>
                  <a:cubicBezTo>
                    <a:pt x="12268" y="90576"/>
                    <a:pt x="12436" y="90576"/>
                    <a:pt x="12570" y="90508"/>
                  </a:cubicBezTo>
                  <a:cubicBezTo>
                    <a:pt x="12705" y="90475"/>
                    <a:pt x="12805" y="90441"/>
                    <a:pt x="12906" y="90408"/>
                  </a:cubicBezTo>
                  <a:cubicBezTo>
                    <a:pt x="13041" y="90340"/>
                    <a:pt x="13142" y="90307"/>
                    <a:pt x="13242" y="90273"/>
                  </a:cubicBezTo>
                  <a:cubicBezTo>
                    <a:pt x="13646" y="90105"/>
                    <a:pt x="14049" y="89937"/>
                    <a:pt x="14419" y="89702"/>
                  </a:cubicBezTo>
                  <a:cubicBezTo>
                    <a:pt x="14452" y="89702"/>
                    <a:pt x="14486" y="89668"/>
                    <a:pt x="14520" y="89635"/>
                  </a:cubicBezTo>
                  <a:cubicBezTo>
                    <a:pt x="14587" y="89601"/>
                    <a:pt x="14654" y="89567"/>
                    <a:pt x="14755" y="89500"/>
                  </a:cubicBezTo>
                  <a:cubicBezTo>
                    <a:pt x="14856" y="89433"/>
                    <a:pt x="14956" y="89366"/>
                    <a:pt x="15057" y="89298"/>
                  </a:cubicBezTo>
                  <a:cubicBezTo>
                    <a:pt x="15124" y="89231"/>
                    <a:pt x="15192" y="89164"/>
                    <a:pt x="15293" y="89130"/>
                  </a:cubicBezTo>
                  <a:cubicBezTo>
                    <a:pt x="15360" y="89063"/>
                    <a:pt x="15461" y="88996"/>
                    <a:pt x="15528" y="88895"/>
                  </a:cubicBezTo>
                  <a:cubicBezTo>
                    <a:pt x="15561" y="88895"/>
                    <a:pt x="15561" y="88862"/>
                    <a:pt x="15595" y="88862"/>
                  </a:cubicBezTo>
                  <a:cubicBezTo>
                    <a:pt x="15629" y="88828"/>
                    <a:pt x="15629" y="88794"/>
                    <a:pt x="15662" y="88761"/>
                  </a:cubicBezTo>
                  <a:cubicBezTo>
                    <a:pt x="15797" y="88660"/>
                    <a:pt x="15931" y="88525"/>
                    <a:pt x="16032" y="88391"/>
                  </a:cubicBezTo>
                  <a:cubicBezTo>
                    <a:pt x="16066" y="88357"/>
                    <a:pt x="16099" y="88324"/>
                    <a:pt x="16099" y="88290"/>
                  </a:cubicBezTo>
                  <a:cubicBezTo>
                    <a:pt x="16133" y="88290"/>
                    <a:pt x="16133" y="88257"/>
                    <a:pt x="16166" y="88223"/>
                  </a:cubicBezTo>
                  <a:cubicBezTo>
                    <a:pt x="16234" y="88122"/>
                    <a:pt x="16301" y="88021"/>
                    <a:pt x="16368" y="87920"/>
                  </a:cubicBezTo>
                  <a:cubicBezTo>
                    <a:pt x="16402" y="87887"/>
                    <a:pt x="16435" y="87853"/>
                    <a:pt x="16435" y="87786"/>
                  </a:cubicBezTo>
                  <a:cubicBezTo>
                    <a:pt x="16469" y="87786"/>
                    <a:pt x="16469" y="87752"/>
                    <a:pt x="16469" y="87752"/>
                  </a:cubicBezTo>
                  <a:cubicBezTo>
                    <a:pt x="16536" y="87652"/>
                    <a:pt x="16570" y="87551"/>
                    <a:pt x="16603" y="87484"/>
                  </a:cubicBezTo>
                  <a:cubicBezTo>
                    <a:pt x="16637" y="87416"/>
                    <a:pt x="16670" y="87383"/>
                    <a:pt x="16670" y="87316"/>
                  </a:cubicBezTo>
                  <a:cubicBezTo>
                    <a:pt x="16670" y="87316"/>
                    <a:pt x="16670" y="87282"/>
                    <a:pt x="16704" y="87282"/>
                  </a:cubicBezTo>
                  <a:cubicBezTo>
                    <a:pt x="16704" y="87181"/>
                    <a:pt x="16738" y="87114"/>
                    <a:pt x="16771" y="87013"/>
                  </a:cubicBezTo>
                  <a:cubicBezTo>
                    <a:pt x="16771" y="86946"/>
                    <a:pt x="16805" y="86912"/>
                    <a:pt x="16805" y="86845"/>
                  </a:cubicBezTo>
                  <a:cubicBezTo>
                    <a:pt x="16805" y="86845"/>
                    <a:pt x="16805" y="86811"/>
                    <a:pt x="16805" y="86811"/>
                  </a:cubicBezTo>
                  <a:cubicBezTo>
                    <a:pt x="16839" y="86711"/>
                    <a:pt x="16839" y="86610"/>
                    <a:pt x="16839" y="86543"/>
                  </a:cubicBezTo>
                  <a:cubicBezTo>
                    <a:pt x="16839" y="86475"/>
                    <a:pt x="16872" y="86408"/>
                    <a:pt x="16872" y="86374"/>
                  </a:cubicBezTo>
                  <a:lnTo>
                    <a:pt x="16872" y="86274"/>
                  </a:lnTo>
                  <a:lnTo>
                    <a:pt x="17107" y="293"/>
                  </a:lnTo>
                  <a:lnTo>
                    <a:pt x="17107" y="293"/>
                  </a:lnTo>
                  <a:cubicBezTo>
                    <a:pt x="17102" y="381"/>
                    <a:pt x="17074" y="445"/>
                    <a:pt x="17074" y="538"/>
                  </a:cubicBezTo>
                  <a:cubicBezTo>
                    <a:pt x="17074" y="605"/>
                    <a:pt x="17040" y="672"/>
                    <a:pt x="17007" y="773"/>
                  </a:cubicBezTo>
                  <a:cubicBezTo>
                    <a:pt x="17007" y="840"/>
                    <a:pt x="16973" y="941"/>
                    <a:pt x="16939" y="1008"/>
                  </a:cubicBezTo>
                  <a:cubicBezTo>
                    <a:pt x="16906" y="1076"/>
                    <a:pt x="16872" y="1143"/>
                    <a:pt x="16872" y="1210"/>
                  </a:cubicBezTo>
                  <a:cubicBezTo>
                    <a:pt x="16805" y="1311"/>
                    <a:pt x="16771" y="1378"/>
                    <a:pt x="16738" y="1479"/>
                  </a:cubicBezTo>
                  <a:cubicBezTo>
                    <a:pt x="16704" y="1546"/>
                    <a:pt x="16670" y="1613"/>
                    <a:pt x="16637" y="1681"/>
                  </a:cubicBezTo>
                  <a:cubicBezTo>
                    <a:pt x="16570" y="1781"/>
                    <a:pt x="16502" y="1882"/>
                    <a:pt x="16435" y="1950"/>
                  </a:cubicBezTo>
                  <a:cubicBezTo>
                    <a:pt x="16368" y="2017"/>
                    <a:pt x="16334" y="2084"/>
                    <a:pt x="16301" y="2151"/>
                  </a:cubicBezTo>
                  <a:cubicBezTo>
                    <a:pt x="16166" y="2252"/>
                    <a:pt x="16066" y="2386"/>
                    <a:pt x="15931" y="2521"/>
                  </a:cubicBezTo>
                  <a:cubicBezTo>
                    <a:pt x="15897" y="2554"/>
                    <a:pt x="15830" y="2622"/>
                    <a:pt x="15797" y="2655"/>
                  </a:cubicBezTo>
                  <a:cubicBezTo>
                    <a:pt x="15729" y="2723"/>
                    <a:pt x="15629" y="2790"/>
                    <a:pt x="15528" y="2857"/>
                  </a:cubicBezTo>
                  <a:cubicBezTo>
                    <a:pt x="15461" y="2924"/>
                    <a:pt x="15393" y="2991"/>
                    <a:pt x="15293" y="3059"/>
                  </a:cubicBezTo>
                  <a:cubicBezTo>
                    <a:pt x="15225" y="3126"/>
                    <a:pt x="15124" y="3193"/>
                    <a:pt x="14990" y="3260"/>
                  </a:cubicBezTo>
                  <a:cubicBezTo>
                    <a:pt x="14889" y="3327"/>
                    <a:pt x="14788" y="3395"/>
                    <a:pt x="14688" y="3462"/>
                  </a:cubicBezTo>
                  <a:cubicBezTo>
                    <a:pt x="14318" y="3697"/>
                    <a:pt x="13915" y="3865"/>
                    <a:pt x="13511" y="4033"/>
                  </a:cubicBezTo>
                  <a:lnTo>
                    <a:pt x="13175" y="4168"/>
                  </a:lnTo>
                  <a:cubicBezTo>
                    <a:pt x="12906" y="4235"/>
                    <a:pt x="12637" y="4336"/>
                    <a:pt x="12369" y="4403"/>
                  </a:cubicBezTo>
                  <a:cubicBezTo>
                    <a:pt x="12100" y="4470"/>
                    <a:pt x="11831" y="4537"/>
                    <a:pt x="11528" y="4605"/>
                  </a:cubicBezTo>
                  <a:cubicBezTo>
                    <a:pt x="11192" y="4672"/>
                    <a:pt x="10856" y="4739"/>
                    <a:pt x="10520" y="4773"/>
                  </a:cubicBezTo>
                  <a:cubicBezTo>
                    <a:pt x="10419" y="4806"/>
                    <a:pt x="10352" y="4806"/>
                    <a:pt x="10251" y="4806"/>
                  </a:cubicBezTo>
                  <a:cubicBezTo>
                    <a:pt x="9781" y="4873"/>
                    <a:pt x="9310" y="4907"/>
                    <a:pt x="8840" y="4907"/>
                  </a:cubicBezTo>
                  <a:lnTo>
                    <a:pt x="8604" y="4907"/>
                  </a:lnTo>
                  <a:cubicBezTo>
                    <a:pt x="8168" y="4907"/>
                    <a:pt x="7697" y="4873"/>
                    <a:pt x="7226" y="4806"/>
                  </a:cubicBezTo>
                  <a:lnTo>
                    <a:pt x="7025" y="4806"/>
                  </a:lnTo>
                  <a:cubicBezTo>
                    <a:pt x="6554" y="4739"/>
                    <a:pt x="6084" y="4672"/>
                    <a:pt x="5647" y="4571"/>
                  </a:cubicBezTo>
                  <a:cubicBezTo>
                    <a:pt x="5580" y="4537"/>
                    <a:pt x="5479" y="4537"/>
                    <a:pt x="5412" y="4504"/>
                  </a:cubicBezTo>
                  <a:cubicBezTo>
                    <a:pt x="5008" y="4403"/>
                    <a:pt x="4605" y="4302"/>
                    <a:pt x="4235" y="4134"/>
                  </a:cubicBezTo>
                  <a:cubicBezTo>
                    <a:pt x="4168" y="4134"/>
                    <a:pt x="4101" y="4100"/>
                    <a:pt x="4034" y="4067"/>
                  </a:cubicBezTo>
                  <a:cubicBezTo>
                    <a:pt x="3597" y="3899"/>
                    <a:pt x="3160" y="3697"/>
                    <a:pt x="2757" y="3462"/>
                  </a:cubicBezTo>
                  <a:cubicBezTo>
                    <a:pt x="1110" y="2521"/>
                    <a:pt x="269" y="1244"/>
                    <a:pt x="269" y="0"/>
                  </a:cubicBezTo>
                  <a:close/>
                </a:path>
              </a:pathLst>
            </a:custGeom>
            <a:solidFill>
              <a:srgbClr val="240D4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75" name="Google Shape;3770;p49"/>
            <p:cNvSpPr/>
            <p:nvPr/>
          </p:nvSpPr>
          <p:spPr>
            <a:xfrm>
              <a:off x="-22425325" y="13116225"/>
              <a:ext cx="462975" cy="244200"/>
            </a:xfrm>
            <a:custGeom>
              <a:avLst/>
              <a:gdLst/>
              <a:ahLst/>
              <a:cxnLst/>
              <a:rect l="l" t="t" r="r" b="b"/>
              <a:pathLst>
                <a:path w="18519" h="9768" extrusionOk="0">
                  <a:moveTo>
                    <a:pt x="9259" y="0"/>
                  </a:moveTo>
                  <a:cubicBezTo>
                    <a:pt x="7094" y="0"/>
                    <a:pt x="4931" y="479"/>
                    <a:pt x="3294" y="1441"/>
                  </a:cubicBezTo>
                  <a:cubicBezTo>
                    <a:pt x="0" y="3323"/>
                    <a:pt x="34" y="6415"/>
                    <a:pt x="3328" y="8331"/>
                  </a:cubicBezTo>
                  <a:cubicBezTo>
                    <a:pt x="4974" y="9289"/>
                    <a:pt x="7134" y="9768"/>
                    <a:pt x="9293" y="9768"/>
                  </a:cubicBezTo>
                  <a:cubicBezTo>
                    <a:pt x="11452" y="9768"/>
                    <a:pt x="13612" y="9289"/>
                    <a:pt x="15259" y="8331"/>
                  </a:cubicBezTo>
                  <a:cubicBezTo>
                    <a:pt x="18519" y="6415"/>
                    <a:pt x="18519" y="3323"/>
                    <a:pt x="15191" y="1408"/>
                  </a:cubicBezTo>
                  <a:cubicBezTo>
                    <a:pt x="13552" y="471"/>
                    <a:pt x="11404" y="0"/>
                    <a:pt x="9259" y="0"/>
                  </a:cubicBezTo>
                  <a:close/>
                </a:path>
              </a:pathLst>
            </a:custGeom>
            <a:solidFill>
              <a:srgbClr val="8C3EE6"/>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76" name="Google Shape;3771;p49"/>
            <p:cNvSpPr/>
            <p:nvPr/>
          </p:nvSpPr>
          <p:spPr>
            <a:xfrm>
              <a:off x="-21704425" y="14693200"/>
              <a:ext cx="424325" cy="1209925"/>
            </a:xfrm>
            <a:custGeom>
              <a:avLst/>
              <a:gdLst/>
              <a:ahLst/>
              <a:cxnLst/>
              <a:rect l="l" t="t" r="r" b="b"/>
              <a:pathLst>
                <a:path w="16973" h="48397" extrusionOk="0">
                  <a:moveTo>
                    <a:pt x="16939" y="303"/>
                  </a:moveTo>
                  <a:cubicBezTo>
                    <a:pt x="16939" y="404"/>
                    <a:pt x="16939" y="505"/>
                    <a:pt x="16906" y="572"/>
                  </a:cubicBezTo>
                  <a:cubicBezTo>
                    <a:pt x="16906" y="639"/>
                    <a:pt x="16872" y="706"/>
                    <a:pt x="16872" y="807"/>
                  </a:cubicBezTo>
                  <a:cubicBezTo>
                    <a:pt x="16838" y="874"/>
                    <a:pt x="16838" y="975"/>
                    <a:pt x="16805" y="1042"/>
                  </a:cubicBezTo>
                  <a:cubicBezTo>
                    <a:pt x="16771" y="1110"/>
                    <a:pt x="16738" y="1177"/>
                    <a:pt x="16704" y="1244"/>
                  </a:cubicBezTo>
                  <a:cubicBezTo>
                    <a:pt x="16670" y="1345"/>
                    <a:pt x="16637" y="1412"/>
                    <a:pt x="16570" y="1513"/>
                  </a:cubicBezTo>
                  <a:cubicBezTo>
                    <a:pt x="16536" y="1580"/>
                    <a:pt x="16502" y="1647"/>
                    <a:pt x="16469" y="1714"/>
                  </a:cubicBezTo>
                  <a:cubicBezTo>
                    <a:pt x="16401" y="1815"/>
                    <a:pt x="16334" y="1883"/>
                    <a:pt x="16267" y="1983"/>
                  </a:cubicBezTo>
                  <a:cubicBezTo>
                    <a:pt x="16233" y="2051"/>
                    <a:pt x="16200" y="2118"/>
                    <a:pt x="16133" y="2151"/>
                  </a:cubicBezTo>
                  <a:cubicBezTo>
                    <a:pt x="16032" y="2286"/>
                    <a:pt x="15897" y="2420"/>
                    <a:pt x="15797" y="2555"/>
                  </a:cubicBezTo>
                  <a:cubicBezTo>
                    <a:pt x="15729" y="2588"/>
                    <a:pt x="15696" y="2656"/>
                    <a:pt x="15628" y="2689"/>
                  </a:cubicBezTo>
                  <a:cubicBezTo>
                    <a:pt x="15561" y="2756"/>
                    <a:pt x="15460" y="2824"/>
                    <a:pt x="15393" y="2891"/>
                  </a:cubicBezTo>
                  <a:cubicBezTo>
                    <a:pt x="15292" y="2958"/>
                    <a:pt x="15225" y="3025"/>
                    <a:pt x="15158" y="3092"/>
                  </a:cubicBezTo>
                  <a:cubicBezTo>
                    <a:pt x="15057" y="3160"/>
                    <a:pt x="14956" y="3227"/>
                    <a:pt x="14855" y="3294"/>
                  </a:cubicBezTo>
                  <a:cubicBezTo>
                    <a:pt x="14755" y="3361"/>
                    <a:pt x="14654" y="3429"/>
                    <a:pt x="14519" y="3496"/>
                  </a:cubicBezTo>
                  <a:cubicBezTo>
                    <a:pt x="14150" y="3697"/>
                    <a:pt x="13746" y="3899"/>
                    <a:pt x="13343" y="4033"/>
                  </a:cubicBezTo>
                  <a:lnTo>
                    <a:pt x="13007" y="4168"/>
                  </a:lnTo>
                  <a:cubicBezTo>
                    <a:pt x="12772" y="4269"/>
                    <a:pt x="12503" y="4336"/>
                    <a:pt x="12234" y="4403"/>
                  </a:cubicBezTo>
                  <a:cubicBezTo>
                    <a:pt x="11965" y="4504"/>
                    <a:pt x="11663" y="4571"/>
                    <a:pt x="11394" y="4638"/>
                  </a:cubicBezTo>
                  <a:cubicBezTo>
                    <a:pt x="11058" y="4706"/>
                    <a:pt x="10722" y="4773"/>
                    <a:pt x="10352" y="4806"/>
                  </a:cubicBezTo>
                  <a:cubicBezTo>
                    <a:pt x="10285" y="4806"/>
                    <a:pt x="10184" y="4840"/>
                    <a:pt x="10117" y="4840"/>
                  </a:cubicBezTo>
                  <a:cubicBezTo>
                    <a:pt x="9646" y="4874"/>
                    <a:pt x="9176" y="4907"/>
                    <a:pt x="8705" y="4907"/>
                  </a:cubicBezTo>
                  <a:lnTo>
                    <a:pt x="8470" y="4907"/>
                  </a:lnTo>
                  <a:cubicBezTo>
                    <a:pt x="7999" y="4907"/>
                    <a:pt x="7529" y="4874"/>
                    <a:pt x="7092" y="4840"/>
                  </a:cubicBezTo>
                  <a:cubicBezTo>
                    <a:pt x="6991" y="4840"/>
                    <a:pt x="6924" y="4806"/>
                    <a:pt x="6857" y="4806"/>
                  </a:cubicBezTo>
                  <a:cubicBezTo>
                    <a:pt x="6420" y="4773"/>
                    <a:pt x="5949" y="4672"/>
                    <a:pt x="5512" y="4571"/>
                  </a:cubicBezTo>
                  <a:cubicBezTo>
                    <a:pt x="5445" y="4571"/>
                    <a:pt x="5344" y="4538"/>
                    <a:pt x="5277" y="4538"/>
                  </a:cubicBezTo>
                  <a:cubicBezTo>
                    <a:pt x="4874" y="4437"/>
                    <a:pt x="4470" y="4302"/>
                    <a:pt x="4101" y="4168"/>
                  </a:cubicBezTo>
                  <a:cubicBezTo>
                    <a:pt x="4033" y="4134"/>
                    <a:pt x="3966" y="4134"/>
                    <a:pt x="3899" y="4101"/>
                  </a:cubicBezTo>
                  <a:cubicBezTo>
                    <a:pt x="3429" y="3933"/>
                    <a:pt x="3025" y="3731"/>
                    <a:pt x="2622" y="3496"/>
                  </a:cubicBezTo>
                  <a:cubicBezTo>
                    <a:pt x="941" y="2521"/>
                    <a:pt x="135" y="1278"/>
                    <a:pt x="135" y="0"/>
                  </a:cubicBezTo>
                  <a:lnTo>
                    <a:pt x="0" y="43490"/>
                  </a:lnTo>
                  <a:cubicBezTo>
                    <a:pt x="0" y="44734"/>
                    <a:pt x="841" y="46011"/>
                    <a:pt x="2487" y="46952"/>
                  </a:cubicBezTo>
                  <a:cubicBezTo>
                    <a:pt x="2857" y="47187"/>
                    <a:pt x="3294" y="47389"/>
                    <a:pt x="3697" y="47557"/>
                  </a:cubicBezTo>
                  <a:cubicBezTo>
                    <a:pt x="3731" y="47557"/>
                    <a:pt x="3765" y="47557"/>
                    <a:pt x="3765" y="47557"/>
                  </a:cubicBezTo>
                  <a:cubicBezTo>
                    <a:pt x="3832" y="47590"/>
                    <a:pt x="3899" y="47624"/>
                    <a:pt x="3966" y="47624"/>
                  </a:cubicBezTo>
                  <a:cubicBezTo>
                    <a:pt x="4235" y="47725"/>
                    <a:pt x="4470" y="47826"/>
                    <a:pt x="4739" y="47893"/>
                  </a:cubicBezTo>
                  <a:cubicBezTo>
                    <a:pt x="4874" y="47926"/>
                    <a:pt x="5008" y="47960"/>
                    <a:pt x="5143" y="47994"/>
                  </a:cubicBezTo>
                  <a:cubicBezTo>
                    <a:pt x="5243" y="48027"/>
                    <a:pt x="5311" y="48027"/>
                    <a:pt x="5378" y="48061"/>
                  </a:cubicBezTo>
                  <a:cubicBezTo>
                    <a:pt x="5479" y="48061"/>
                    <a:pt x="5546" y="48094"/>
                    <a:pt x="5613" y="48094"/>
                  </a:cubicBezTo>
                  <a:cubicBezTo>
                    <a:pt x="5882" y="48162"/>
                    <a:pt x="6151" y="48195"/>
                    <a:pt x="6453" y="48262"/>
                  </a:cubicBezTo>
                  <a:cubicBezTo>
                    <a:pt x="6554" y="48262"/>
                    <a:pt x="6655" y="48262"/>
                    <a:pt x="6756" y="48296"/>
                  </a:cubicBezTo>
                  <a:cubicBezTo>
                    <a:pt x="6823" y="48296"/>
                    <a:pt x="6890" y="48296"/>
                    <a:pt x="6957" y="48296"/>
                  </a:cubicBezTo>
                  <a:cubicBezTo>
                    <a:pt x="7058" y="48330"/>
                    <a:pt x="7159" y="48330"/>
                    <a:pt x="7260" y="48330"/>
                  </a:cubicBezTo>
                  <a:cubicBezTo>
                    <a:pt x="7529" y="48363"/>
                    <a:pt x="7831" y="48397"/>
                    <a:pt x="8100" y="48397"/>
                  </a:cubicBezTo>
                  <a:lnTo>
                    <a:pt x="8369" y="48397"/>
                  </a:lnTo>
                  <a:lnTo>
                    <a:pt x="8571" y="48397"/>
                  </a:lnTo>
                  <a:cubicBezTo>
                    <a:pt x="8705" y="48397"/>
                    <a:pt x="8840" y="48397"/>
                    <a:pt x="8940" y="48397"/>
                  </a:cubicBezTo>
                  <a:cubicBezTo>
                    <a:pt x="9276" y="48363"/>
                    <a:pt x="9579" y="48363"/>
                    <a:pt x="9881" y="48330"/>
                  </a:cubicBezTo>
                  <a:cubicBezTo>
                    <a:pt x="9915" y="48330"/>
                    <a:pt x="9949" y="48330"/>
                    <a:pt x="9982" y="48296"/>
                  </a:cubicBezTo>
                  <a:cubicBezTo>
                    <a:pt x="10083" y="48296"/>
                    <a:pt x="10150" y="48296"/>
                    <a:pt x="10251" y="48262"/>
                  </a:cubicBezTo>
                  <a:cubicBezTo>
                    <a:pt x="10486" y="48262"/>
                    <a:pt x="10722" y="48229"/>
                    <a:pt x="10957" y="48162"/>
                  </a:cubicBezTo>
                  <a:cubicBezTo>
                    <a:pt x="11058" y="48162"/>
                    <a:pt x="11159" y="48128"/>
                    <a:pt x="11259" y="48094"/>
                  </a:cubicBezTo>
                  <a:cubicBezTo>
                    <a:pt x="11562" y="48027"/>
                    <a:pt x="11831" y="47960"/>
                    <a:pt x="12100" y="47893"/>
                  </a:cubicBezTo>
                  <a:cubicBezTo>
                    <a:pt x="12268" y="47859"/>
                    <a:pt x="12402" y="47826"/>
                    <a:pt x="12570" y="47792"/>
                  </a:cubicBezTo>
                  <a:cubicBezTo>
                    <a:pt x="12671" y="47758"/>
                    <a:pt x="12772" y="47691"/>
                    <a:pt x="12906" y="47658"/>
                  </a:cubicBezTo>
                  <a:cubicBezTo>
                    <a:pt x="13007" y="47624"/>
                    <a:pt x="13108" y="47557"/>
                    <a:pt x="13242" y="47523"/>
                  </a:cubicBezTo>
                  <a:cubicBezTo>
                    <a:pt x="13646" y="47355"/>
                    <a:pt x="14049" y="47187"/>
                    <a:pt x="14419" y="46952"/>
                  </a:cubicBezTo>
                  <a:cubicBezTo>
                    <a:pt x="14452" y="46952"/>
                    <a:pt x="14486" y="46918"/>
                    <a:pt x="14519" y="46918"/>
                  </a:cubicBezTo>
                  <a:cubicBezTo>
                    <a:pt x="14587" y="46851"/>
                    <a:pt x="14654" y="46817"/>
                    <a:pt x="14721" y="46750"/>
                  </a:cubicBezTo>
                  <a:cubicBezTo>
                    <a:pt x="14822" y="46683"/>
                    <a:pt x="14923" y="46616"/>
                    <a:pt x="15024" y="46548"/>
                  </a:cubicBezTo>
                  <a:cubicBezTo>
                    <a:pt x="15124" y="46515"/>
                    <a:pt x="15192" y="46448"/>
                    <a:pt x="15259" y="46380"/>
                  </a:cubicBezTo>
                  <a:cubicBezTo>
                    <a:pt x="15360" y="46313"/>
                    <a:pt x="15427" y="46246"/>
                    <a:pt x="15528" y="46145"/>
                  </a:cubicBezTo>
                  <a:cubicBezTo>
                    <a:pt x="15528" y="46145"/>
                    <a:pt x="15561" y="46145"/>
                    <a:pt x="15561" y="46112"/>
                  </a:cubicBezTo>
                  <a:cubicBezTo>
                    <a:pt x="15595" y="46078"/>
                    <a:pt x="15628" y="46044"/>
                    <a:pt x="15662" y="46011"/>
                  </a:cubicBezTo>
                  <a:cubicBezTo>
                    <a:pt x="15797" y="45910"/>
                    <a:pt x="15897" y="45775"/>
                    <a:pt x="16032" y="45641"/>
                  </a:cubicBezTo>
                  <a:cubicBezTo>
                    <a:pt x="16032" y="45607"/>
                    <a:pt x="16065" y="45574"/>
                    <a:pt x="16099" y="45540"/>
                  </a:cubicBezTo>
                  <a:cubicBezTo>
                    <a:pt x="16133" y="45540"/>
                    <a:pt x="16133" y="45507"/>
                    <a:pt x="16166" y="45473"/>
                  </a:cubicBezTo>
                  <a:cubicBezTo>
                    <a:pt x="16233" y="45372"/>
                    <a:pt x="16301" y="45271"/>
                    <a:pt x="16368" y="45170"/>
                  </a:cubicBezTo>
                  <a:cubicBezTo>
                    <a:pt x="16368" y="45137"/>
                    <a:pt x="16401" y="45103"/>
                    <a:pt x="16435" y="45070"/>
                  </a:cubicBezTo>
                  <a:cubicBezTo>
                    <a:pt x="16435" y="45036"/>
                    <a:pt x="16469" y="45002"/>
                    <a:pt x="16469" y="45002"/>
                  </a:cubicBezTo>
                  <a:cubicBezTo>
                    <a:pt x="16502" y="44902"/>
                    <a:pt x="16536" y="44801"/>
                    <a:pt x="16603" y="44734"/>
                  </a:cubicBezTo>
                  <a:cubicBezTo>
                    <a:pt x="16603" y="44666"/>
                    <a:pt x="16637" y="44633"/>
                    <a:pt x="16670" y="44566"/>
                  </a:cubicBezTo>
                  <a:cubicBezTo>
                    <a:pt x="16670" y="44566"/>
                    <a:pt x="16670" y="44532"/>
                    <a:pt x="16670" y="44532"/>
                  </a:cubicBezTo>
                  <a:cubicBezTo>
                    <a:pt x="16704" y="44431"/>
                    <a:pt x="16738" y="44364"/>
                    <a:pt x="16738" y="44263"/>
                  </a:cubicBezTo>
                  <a:cubicBezTo>
                    <a:pt x="16771" y="44229"/>
                    <a:pt x="16771" y="44162"/>
                    <a:pt x="16805" y="44095"/>
                  </a:cubicBezTo>
                  <a:cubicBezTo>
                    <a:pt x="16805" y="44095"/>
                    <a:pt x="16805" y="44061"/>
                    <a:pt x="16805" y="44061"/>
                  </a:cubicBezTo>
                  <a:cubicBezTo>
                    <a:pt x="16805" y="43961"/>
                    <a:pt x="16838" y="43893"/>
                    <a:pt x="16838" y="43793"/>
                  </a:cubicBezTo>
                  <a:cubicBezTo>
                    <a:pt x="16838" y="43725"/>
                    <a:pt x="16838" y="43692"/>
                    <a:pt x="16838" y="43624"/>
                  </a:cubicBezTo>
                  <a:lnTo>
                    <a:pt x="16838" y="43557"/>
                  </a:lnTo>
                  <a:lnTo>
                    <a:pt x="16973" y="68"/>
                  </a:lnTo>
                  <a:cubicBezTo>
                    <a:pt x="16973" y="135"/>
                    <a:pt x="16973" y="236"/>
                    <a:pt x="16939" y="303"/>
                  </a:cubicBezTo>
                  <a:close/>
                </a:path>
              </a:pathLst>
            </a:custGeom>
            <a:solidFill>
              <a:srgbClr val="BF4CA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77" name="Google Shape;3772;p49"/>
            <p:cNvSpPr/>
            <p:nvPr/>
          </p:nvSpPr>
          <p:spPr>
            <a:xfrm>
              <a:off x="-21722900" y="14560450"/>
              <a:ext cx="463800" cy="268050"/>
            </a:xfrm>
            <a:custGeom>
              <a:avLst/>
              <a:gdLst/>
              <a:ahLst/>
              <a:cxnLst/>
              <a:rect l="l" t="t" r="r" b="b"/>
              <a:pathLst>
                <a:path w="18552" h="10722" extrusionOk="0">
                  <a:moveTo>
                    <a:pt x="15225" y="1916"/>
                  </a:moveTo>
                  <a:cubicBezTo>
                    <a:pt x="18518" y="3798"/>
                    <a:pt x="18552" y="6890"/>
                    <a:pt x="15258" y="8806"/>
                  </a:cubicBezTo>
                  <a:cubicBezTo>
                    <a:pt x="11965" y="10721"/>
                    <a:pt x="6655" y="10721"/>
                    <a:pt x="3327" y="8806"/>
                  </a:cubicBezTo>
                  <a:cubicBezTo>
                    <a:pt x="34" y="6890"/>
                    <a:pt x="0" y="3798"/>
                    <a:pt x="3294" y="1916"/>
                  </a:cubicBezTo>
                  <a:cubicBezTo>
                    <a:pt x="6587" y="0"/>
                    <a:pt x="11931" y="0"/>
                    <a:pt x="15225" y="1916"/>
                  </a:cubicBezTo>
                  <a:close/>
                </a:path>
              </a:pathLst>
            </a:custGeom>
            <a:solidFill>
              <a:srgbClr val="CF79B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78" name="Google Shape;3773;p49"/>
            <p:cNvSpPr/>
            <p:nvPr/>
          </p:nvSpPr>
          <p:spPr>
            <a:xfrm>
              <a:off x="-21000325" y="14722600"/>
              <a:ext cx="425175" cy="1572075"/>
            </a:xfrm>
            <a:custGeom>
              <a:avLst/>
              <a:gdLst/>
              <a:ahLst/>
              <a:cxnLst/>
              <a:rect l="l" t="t" r="r" b="b"/>
              <a:pathLst>
                <a:path w="17007" h="62883" extrusionOk="0">
                  <a:moveTo>
                    <a:pt x="17006" y="68"/>
                  </a:moveTo>
                  <a:lnTo>
                    <a:pt x="17006" y="354"/>
                  </a:lnTo>
                  <a:lnTo>
                    <a:pt x="17006" y="354"/>
                  </a:lnTo>
                  <a:cubicBezTo>
                    <a:pt x="17006" y="348"/>
                    <a:pt x="17006" y="342"/>
                    <a:pt x="17006" y="337"/>
                  </a:cubicBezTo>
                  <a:cubicBezTo>
                    <a:pt x="17006" y="236"/>
                    <a:pt x="17006" y="169"/>
                    <a:pt x="17006" y="68"/>
                  </a:cubicBezTo>
                  <a:close/>
                  <a:moveTo>
                    <a:pt x="169" y="1"/>
                  </a:moveTo>
                  <a:lnTo>
                    <a:pt x="0" y="57976"/>
                  </a:lnTo>
                  <a:cubicBezTo>
                    <a:pt x="0" y="59253"/>
                    <a:pt x="841" y="60496"/>
                    <a:pt x="2488" y="61471"/>
                  </a:cubicBezTo>
                  <a:cubicBezTo>
                    <a:pt x="2891" y="61673"/>
                    <a:pt x="3294" y="61874"/>
                    <a:pt x="3697" y="62042"/>
                  </a:cubicBezTo>
                  <a:cubicBezTo>
                    <a:pt x="3731" y="62042"/>
                    <a:pt x="3765" y="62042"/>
                    <a:pt x="3765" y="62076"/>
                  </a:cubicBezTo>
                  <a:cubicBezTo>
                    <a:pt x="3832" y="62076"/>
                    <a:pt x="3933" y="62110"/>
                    <a:pt x="4000" y="62143"/>
                  </a:cubicBezTo>
                  <a:cubicBezTo>
                    <a:pt x="4235" y="62210"/>
                    <a:pt x="4470" y="62311"/>
                    <a:pt x="4739" y="62378"/>
                  </a:cubicBezTo>
                  <a:cubicBezTo>
                    <a:pt x="4874" y="62412"/>
                    <a:pt x="5008" y="62446"/>
                    <a:pt x="5143" y="62479"/>
                  </a:cubicBezTo>
                  <a:cubicBezTo>
                    <a:pt x="5243" y="62513"/>
                    <a:pt x="5311" y="62546"/>
                    <a:pt x="5411" y="62546"/>
                  </a:cubicBezTo>
                  <a:cubicBezTo>
                    <a:pt x="5479" y="62580"/>
                    <a:pt x="5546" y="62580"/>
                    <a:pt x="5613" y="62614"/>
                  </a:cubicBezTo>
                  <a:cubicBezTo>
                    <a:pt x="5882" y="62647"/>
                    <a:pt x="6184" y="62714"/>
                    <a:pt x="6453" y="62748"/>
                  </a:cubicBezTo>
                  <a:cubicBezTo>
                    <a:pt x="6554" y="62748"/>
                    <a:pt x="6655" y="62782"/>
                    <a:pt x="6756" y="62782"/>
                  </a:cubicBezTo>
                  <a:cubicBezTo>
                    <a:pt x="6823" y="62782"/>
                    <a:pt x="6890" y="62815"/>
                    <a:pt x="6957" y="62815"/>
                  </a:cubicBezTo>
                  <a:cubicBezTo>
                    <a:pt x="7058" y="62815"/>
                    <a:pt x="7159" y="62849"/>
                    <a:pt x="7260" y="62849"/>
                  </a:cubicBezTo>
                  <a:cubicBezTo>
                    <a:pt x="7562" y="62849"/>
                    <a:pt x="7831" y="62883"/>
                    <a:pt x="8100" y="62883"/>
                  </a:cubicBezTo>
                  <a:lnTo>
                    <a:pt x="8974" y="62883"/>
                  </a:lnTo>
                  <a:cubicBezTo>
                    <a:pt x="9276" y="62883"/>
                    <a:pt x="9579" y="62849"/>
                    <a:pt x="9881" y="62815"/>
                  </a:cubicBezTo>
                  <a:lnTo>
                    <a:pt x="9982" y="62815"/>
                  </a:lnTo>
                  <a:cubicBezTo>
                    <a:pt x="10083" y="62815"/>
                    <a:pt x="10150" y="62782"/>
                    <a:pt x="10251" y="62782"/>
                  </a:cubicBezTo>
                  <a:cubicBezTo>
                    <a:pt x="10486" y="62748"/>
                    <a:pt x="10722" y="62714"/>
                    <a:pt x="10957" y="62681"/>
                  </a:cubicBezTo>
                  <a:cubicBezTo>
                    <a:pt x="11058" y="62647"/>
                    <a:pt x="11159" y="62614"/>
                    <a:pt x="11259" y="62614"/>
                  </a:cubicBezTo>
                  <a:cubicBezTo>
                    <a:pt x="11562" y="62546"/>
                    <a:pt x="11831" y="62479"/>
                    <a:pt x="12100" y="62378"/>
                  </a:cubicBezTo>
                  <a:cubicBezTo>
                    <a:pt x="12268" y="62345"/>
                    <a:pt x="12402" y="62311"/>
                    <a:pt x="12570" y="62278"/>
                  </a:cubicBezTo>
                  <a:cubicBezTo>
                    <a:pt x="12671" y="62244"/>
                    <a:pt x="12772" y="62177"/>
                    <a:pt x="12906" y="62143"/>
                  </a:cubicBezTo>
                  <a:cubicBezTo>
                    <a:pt x="13007" y="62110"/>
                    <a:pt x="13108" y="62076"/>
                    <a:pt x="13242" y="62009"/>
                  </a:cubicBezTo>
                  <a:cubicBezTo>
                    <a:pt x="13646" y="61874"/>
                    <a:pt x="14049" y="61673"/>
                    <a:pt x="14419" y="61471"/>
                  </a:cubicBezTo>
                  <a:cubicBezTo>
                    <a:pt x="14452" y="61437"/>
                    <a:pt x="14486" y="61437"/>
                    <a:pt x="14519" y="61404"/>
                  </a:cubicBezTo>
                  <a:cubicBezTo>
                    <a:pt x="14587" y="61370"/>
                    <a:pt x="14654" y="61303"/>
                    <a:pt x="14721" y="61269"/>
                  </a:cubicBezTo>
                  <a:cubicBezTo>
                    <a:pt x="14822" y="61202"/>
                    <a:pt x="14923" y="61135"/>
                    <a:pt x="15024" y="61068"/>
                  </a:cubicBezTo>
                  <a:cubicBezTo>
                    <a:pt x="15124" y="61000"/>
                    <a:pt x="15192" y="60933"/>
                    <a:pt x="15259" y="60866"/>
                  </a:cubicBezTo>
                  <a:cubicBezTo>
                    <a:pt x="15360" y="60799"/>
                    <a:pt x="15460" y="60732"/>
                    <a:pt x="15528" y="60664"/>
                  </a:cubicBezTo>
                  <a:cubicBezTo>
                    <a:pt x="15528" y="60631"/>
                    <a:pt x="15561" y="60631"/>
                    <a:pt x="15561" y="60631"/>
                  </a:cubicBezTo>
                  <a:cubicBezTo>
                    <a:pt x="15595" y="60597"/>
                    <a:pt x="15628" y="60564"/>
                    <a:pt x="15662" y="60530"/>
                  </a:cubicBezTo>
                  <a:cubicBezTo>
                    <a:pt x="15797" y="60395"/>
                    <a:pt x="15897" y="60261"/>
                    <a:pt x="16032" y="60127"/>
                  </a:cubicBezTo>
                  <a:cubicBezTo>
                    <a:pt x="16032" y="60127"/>
                    <a:pt x="16065" y="60093"/>
                    <a:pt x="16099" y="60059"/>
                  </a:cubicBezTo>
                  <a:cubicBezTo>
                    <a:pt x="16133" y="60026"/>
                    <a:pt x="16133" y="59992"/>
                    <a:pt x="16166" y="59959"/>
                  </a:cubicBezTo>
                  <a:cubicBezTo>
                    <a:pt x="16233" y="59858"/>
                    <a:pt x="16301" y="59791"/>
                    <a:pt x="16368" y="59690"/>
                  </a:cubicBezTo>
                  <a:cubicBezTo>
                    <a:pt x="16368" y="59622"/>
                    <a:pt x="16401" y="59589"/>
                    <a:pt x="16435" y="59555"/>
                  </a:cubicBezTo>
                  <a:cubicBezTo>
                    <a:pt x="16469" y="59522"/>
                    <a:pt x="16469" y="59522"/>
                    <a:pt x="16469" y="59488"/>
                  </a:cubicBezTo>
                  <a:cubicBezTo>
                    <a:pt x="16502" y="59387"/>
                    <a:pt x="16570" y="59320"/>
                    <a:pt x="16603" y="59219"/>
                  </a:cubicBezTo>
                  <a:cubicBezTo>
                    <a:pt x="16603" y="59186"/>
                    <a:pt x="16637" y="59118"/>
                    <a:pt x="16670" y="59085"/>
                  </a:cubicBezTo>
                  <a:cubicBezTo>
                    <a:pt x="16670" y="59051"/>
                    <a:pt x="16670" y="59051"/>
                    <a:pt x="16670" y="59018"/>
                  </a:cubicBezTo>
                  <a:cubicBezTo>
                    <a:pt x="16704" y="58950"/>
                    <a:pt x="16738" y="58849"/>
                    <a:pt x="16738" y="58782"/>
                  </a:cubicBezTo>
                  <a:cubicBezTo>
                    <a:pt x="16771" y="58715"/>
                    <a:pt x="16805" y="58648"/>
                    <a:pt x="16805" y="58614"/>
                  </a:cubicBezTo>
                  <a:cubicBezTo>
                    <a:pt x="16805" y="58581"/>
                    <a:pt x="16805" y="58581"/>
                    <a:pt x="16805" y="58547"/>
                  </a:cubicBezTo>
                  <a:cubicBezTo>
                    <a:pt x="16838" y="58480"/>
                    <a:pt x="16838" y="58379"/>
                    <a:pt x="16838" y="58312"/>
                  </a:cubicBezTo>
                  <a:cubicBezTo>
                    <a:pt x="16838" y="58245"/>
                    <a:pt x="16838" y="58177"/>
                    <a:pt x="16872" y="58110"/>
                  </a:cubicBezTo>
                  <a:lnTo>
                    <a:pt x="16872" y="58043"/>
                  </a:lnTo>
                  <a:lnTo>
                    <a:pt x="17006" y="354"/>
                  </a:lnTo>
                  <a:lnTo>
                    <a:pt x="17006" y="354"/>
                  </a:lnTo>
                  <a:cubicBezTo>
                    <a:pt x="17001" y="421"/>
                    <a:pt x="16973" y="510"/>
                    <a:pt x="16973" y="572"/>
                  </a:cubicBezTo>
                  <a:cubicBezTo>
                    <a:pt x="16973" y="673"/>
                    <a:pt x="16939" y="740"/>
                    <a:pt x="16906" y="807"/>
                  </a:cubicBezTo>
                  <a:cubicBezTo>
                    <a:pt x="16906" y="875"/>
                    <a:pt x="16872" y="975"/>
                    <a:pt x="16838" y="1043"/>
                  </a:cubicBezTo>
                  <a:cubicBezTo>
                    <a:pt x="16805" y="1110"/>
                    <a:pt x="16771" y="1177"/>
                    <a:pt x="16771" y="1244"/>
                  </a:cubicBezTo>
                  <a:cubicBezTo>
                    <a:pt x="16704" y="1345"/>
                    <a:pt x="16670" y="1446"/>
                    <a:pt x="16637" y="1513"/>
                  </a:cubicBezTo>
                  <a:cubicBezTo>
                    <a:pt x="16603" y="1580"/>
                    <a:pt x="16570" y="1648"/>
                    <a:pt x="16536" y="1715"/>
                  </a:cubicBezTo>
                  <a:cubicBezTo>
                    <a:pt x="16469" y="1816"/>
                    <a:pt x="16401" y="1916"/>
                    <a:pt x="16334" y="2017"/>
                  </a:cubicBezTo>
                  <a:cubicBezTo>
                    <a:pt x="16267" y="2051"/>
                    <a:pt x="16233" y="2118"/>
                    <a:pt x="16200" y="2185"/>
                  </a:cubicBezTo>
                  <a:cubicBezTo>
                    <a:pt x="16065" y="2286"/>
                    <a:pt x="15965" y="2421"/>
                    <a:pt x="15830" y="2555"/>
                  </a:cubicBezTo>
                  <a:cubicBezTo>
                    <a:pt x="15797" y="2589"/>
                    <a:pt x="15729" y="2656"/>
                    <a:pt x="15696" y="2689"/>
                  </a:cubicBezTo>
                  <a:cubicBezTo>
                    <a:pt x="15628" y="2757"/>
                    <a:pt x="15528" y="2824"/>
                    <a:pt x="15427" y="2891"/>
                  </a:cubicBezTo>
                  <a:cubicBezTo>
                    <a:pt x="15360" y="2958"/>
                    <a:pt x="15292" y="3026"/>
                    <a:pt x="15192" y="3093"/>
                  </a:cubicBezTo>
                  <a:cubicBezTo>
                    <a:pt x="15091" y="3160"/>
                    <a:pt x="14990" y="3227"/>
                    <a:pt x="14889" y="3294"/>
                  </a:cubicBezTo>
                  <a:cubicBezTo>
                    <a:pt x="14788" y="3362"/>
                    <a:pt x="14687" y="3429"/>
                    <a:pt x="14587" y="3496"/>
                  </a:cubicBezTo>
                  <a:cubicBezTo>
                    <a:pt x="14217" y="3698"/>
                    <a:pt x="13814" y="3899"/>
                    <a:pt x="13410" y="4067"/>
                  </a:cubicBezTo>
                  <a:cubicBezTo>
                    <a:pt x="13276" y="4101"/>
                    <a:pt x="13175" y="4135"/>
                    <a:pt x="13074" y="4168"/>
                  </a:cubicBezTo>
                  <a:cubicBezTo>
                    <a:pt x="12805" y="4269"/>
                    <a:pt x="12536" y="4336"/>
                    <a:pt x="12268" y="4437"/>
                  </a:cubicBezTo>
                  <a:cubicBezTo>
                    <a:pt x="11999" y="4504"/>
                    <a:pt x="11730" y="4572"/>
                    <a:pt x="11427" y="4639"/>
                  </a:cubicBezTo>
                  <a:cubicBezTo>
                    <a:pt x="11091" y="4706"/>
                    <a:pt x="10755" y="4773"/>
                    <a:pt x="10419" y="4807"/>
                  </a:cubicBezTo>
                  <a:cubicBezTo>
                    <a:pt x="10318" y="4807"/>
                    <a:pt x="10251" y="4840"/>
                    <a:pt x="10150" y="4840"/>
                  </a:cubicBezTo>
                  <a:cubicBezTo>
                    <a:pt x="9680" y="4908"/>
                    <a:pt x="9209" y="4908"/>
                    <a:pt x="8739" y="4908"/>
                  </a:cubicBezTo>
                  <a:lnTo>
                    <a:pt x="8537" y="4908"/>
                  </a:lnTo>
                  <a:cubicBezTo>
                    <a:pt x="8067" y="4908"/>
                    <a:pt x="7596" y="4908"/>
                    <a:pt x="7126" y="4840"/>
                  </a:cubicBezTo>
                  <a:cubicBezTo>
                    <a:pt x="7058" y="4840"/>
                    <a:pt x="6991" y="4840"/>
                    <a:pt x="6924" y="4807"/>
                  </a:cubicBezTo>
                  <a:cubicBezTo>
                    <a:pt x="6453" y="4773"/>
                    <a:pt x="6016" y="4672"/>
                    <a:pt x="5546" y="4572"/>
                  </a:cubicBezTo>
                  <a:cubicBezTo>
                    <a:pt x="5479" y="4572"/>
                    <a:pt x="5411" y="4538"/>
                    <a:pt x="5311" y="4538"/>
                  </a:cubicBezTo>
                  <a:cubicBezTo>
                    <a:pt x="4907" y="4437"/>
                    <a:pt x="4538" y="4303"/>
                    <a:pt x="4134" y="4168"/>
                  </a:cubicBezTo>
                  <a:cubicBezTo>
                    <a:pt x="4067" y="4135"/>
                    <a:pt x="4000" y="4135"/>
                    <a:pt x="3933" y="4101"/>
                  </a:cubicBezTo>
                  <a:cubicBezTo>
                    <a:pt x="3496" y="3933"/>
                    <a:pt x="3059" y="3731"/>
                    <a:pt x="2656" y="3496"/>
                  </a:cubicBezTo>
                  <a:cubicBezTo>
                    <a:pt x="1009" y="2521"/>
                    <a:pt x="169" y="1278"/>
                    <a:pt x="169" y="1"/>
                  </a:cubicBezTo>
                  <a:close/>
                </a:path>
              </a:pathLst>
            </a:custGeom>
            <a:solidFill>
              <a:srgbClr val="A96EEC"/>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79" name="Google Shape;3774;p49"/>
            <p:cNvSpPr/>
            <p:nvPr/>
          </p:nvSpPr>
          <p:spPr>
            <a:xfrm>
              <a:off x="-21017125" y="14601825"/>
              <a:ext cx="462975" cy="244100"/>
            </a:xfrm>
            <a:custGeom>
              <a:avLst/>
              <a:gdLst/>
              <a:ahLst/>
              <a:cxnLst/>
              <a:rect l="l" t="t" r="r" b="b"/>
              <a:pathLst>
                <a:path w="18519" h="9764" extrusionOk="0">
                  <a:moveTo>
                    <a:pt x="9234" y="0"/>
                  </a:moveTo>
                  <a:cubicBezTo>
                    <a:pt x="7075" y="0"/>
                    <a:pt x="4924" y="479"/>
                    <a:pt x="3294" y="1437"/>
                  </a:cubicBezTo>
                  <a:cubicBezTo>
                    <a:pt x="0" y="3353"/>
                    <a:pt x="34" y="6445"/>
                    <a:pt x="3328" y="8327"/>
                  </a:cubicBezTo>
                  <a:cubicBezTo>
                    <a:pt x="4974" y="9285"/>
                    <a:pt x="7134" y="9764"/>
                    <a:pt x="9293" y="9764"/>
                  </a:cubicBezTo>
                  <a:cubicBezTo>
                    <a:pt x="11452" y="9764"/>
                    <a:pt x="13612" y="9285"/>
                    <a:pt x="15259" y="8327"/>
                  </a:cubicBezTo>
                  <a:cubicBezTo>
                    <a:pt x="18519" y="6411"/>
                    <a:pt x="18519" y="3319"/>
                    <a:pt x="15225" y="1437"/>
                  </a:cubicBezTo>
                  <a:cubicBezTo>
                    <a:pt x="13561" y="479"/>
                    <a:pt x="11394" y="0"/>
                    <a:pt x="9234" y="0"/>
                  </a:cubicBezTo>
                  <a:close/>
                </a:path>
              </a:pathLst>
            </a:custGeom>
            <a:solidFill>
              <a:srgbClr val="BC8FF1"/>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80" name="Google Shape;3775;p49"/>
            <p:cNvSpPr/>
            <p:nvPr/>
          </p:nvSpPr>
          <p:spPr>
            <a:xfrm>
              <a:off x="-18739300" y="16029975"/>
              <a:ext cx="184875" cy="126075"/>
            </a:xfrm>
            <a:custGeom>
              <a:avLst/>
              <a:gdLst/>
              <a:ahLst/>
              <a:cxnLst/>
              <a:rect l="l" t="t" r="r" b="b"/>
              <a:pathLst>
                <a:path w="7395" h="5043" extrusionOk="0">
                  <a:moveTo>
                    <a:pt x="0" y="1"/>
                  </a:moveTo>
                  <a:lnTo>
                    <a:pt x="5378" y="3899"/>
                  </a:lnTo>
                  <a:lnTo>
                    <a:pt x="7394" y="5042"/>
                  </a:lnTo>
                  <a:lnTo>
                    <a:pt x="2017" y="1177"/>
                  </a:lnTo>
                  <a:lnTo>
                    <a:pt x="0" y="1"/>
                  </a:lnTo>
                  <a:close/>
                </a:path>
              </a:pathLst>
            </a:custGeom>
            <a:solidFill>
              <a:srgbClr val="8C80A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81" name="Google Shape;3776;p49"/>
            <p:cNvSpPr/>
            <p:nvPr/>
          </p:nvSpPr>
          <p:spPr>
            <a:xfrm>
              <a:off x="-19071200" y="15581300"/>
              <a:ext cx="79025" cy="620950"/>
            </a:xfrm>
            <a:custGeom>
              <a:avLst/>
              <a:gdLst/>
              <a:ahLst/>
              <a:cxnLst/>
              <a:rect l="l" t="t" r="r" b="b"/>
              <a:pathLst>
                <a:path w="3161" h="24838" extrusionOk="0">
                  <a:moveTo>
                    <a:pt x="2051" y="22451"/>
                  </a:moveTo>
                  <a:lnTo>
                    <a:pt x="2017" y="1143"/>
                  </a:lnTo>
                  <a:lnTo>
                    <a:pt x="1" y="1"/>
                  </a:lnTo>
                  <a:lnTo>
                    <a:pt x="68" y="21309"/>
                  </a:lnTo>
                  <a:cubicBezTo>
                    <a:pt x="68" y="22485"/>
                    <a:pt x="505" y="23292"/>
                    <a:pt x="1144" y="23695"/>
                  </a:cubicBezTo>
                  <a:lnTo>
                    <a:pt x="3160" y="24838"/>
                  </a:lnTo>
                  <a:cubicBezTo>
                    <a:pt x="2488" y="24468"/>
                    <a:pt x="2051" y="23628"/>
                    <a:pt x="2051" y="22451"/>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82" name="Google Shape;3777;p49"/>
            <p:cNvSpPr/>
            <p:nvPr/>
          </p:nvSpPr>
          <p:spPr>
            <a:xfrm>
              <a:off x="-19071200" y="14988125"/>
              <a:ext cx="935200" cy="622625"/>
            </a:xfrm>
            <a:custGeom>
              <a:avLst/>
              <a:gdLst/>
              <a:ahLst/>
              <a:cxnLst/>
              <a:rect l="l" t="t" r="r" b="b"/>
              <a:pathLst>
                <a:path w="37408" h="24905" extrusionOk="0">
                  <a:moveTo>
                    <a:pt x="35424" y="269"/>
                  </a:moveTo>
                  <a:cubicBezTo>
                    <a:pt x="35424" y="269"/>
                    <a:pt x="35424" y="235"/>
                    <a:pt x="35424" y="235"/>
                  </a:cubicBezTo>
                  <a:cubicBezTo>
                    <a:pt x="35357" y="202"/>
                    <a:pt x="35290" y="168"/>
                    <a:pt x="35223" y="168"/>
                  </a:cubicBezTo>
                  <a:cubicBezTo>
                    <a:pt x="35155" y="135"/>
                    <a:pt x="35088" y="101"/>
                    <a:pt x="35021" y="67"/>
                  </a:cubicBezTo>
                  <a:cubicBezTo>
                    <a:pt x="34987" y="67"/>
                    <a:pt x="34920" y="67"/>
                    <a:pt x="34887" y="67"/>
                  </a:cubicBezTo>
                  <a:cubicBezTo>
                    <a:pt x="34887" y="34"/>
                    <a:pt x="34853" y="34"/>
                    <a:pt x="34853" y="34"/>
                  </a:cubicBezTo>
                  <a:cubicBezTo>
                    <a:pt x="34853" y="34"/>
                    <a:pt x="34819" y="34"/>
                    <a:pt x="34819" y="34"/>
                  </a:cubicBezTo>
                  <a:cubicBezTo>
                    <a:pt x="34752" y="34"/>
                    <a:pt x="34685" y="0"/>
                    <a:pt x="34584" y="0"/>
                  </a:cubicBezTo>
                  <a:cubicBezTo>
                    <a:pt x="34517" y="0"/>
                    <a:pt x="34416" y="0"/>
                    <a:pt x="34349" y="0"/>
                  </a:cubicBezTo>
                  <a:cubicBezTo>
                    <a:pt x="34315" y="0"/>
                    <a:pt x="34282" y="0"/>
                    <a:pt x="34248" y="0"/>
                  </a:cubicBezTo>
                  <a:cubicBezTo>
                    <a:pt x="34248" y="0"/>
                    <a:pt x="34214" y="0"/>
                    <a:pt x="34214" y="0"/>
                  </a:cubicBezTo>
                  <a:cubicBezTo>
                    <a:pt x="34147" y="34"/>
                    <a:pt x="34114" y="34"/>
                    <a:pt x="34080" y="34"/>
                  </a:cubicBezTo>
                  <a:cubicBezTo>
                    <a:pt x="33946" y="34"/>
                    <a:pt x="33845" y="67"/>
                    <a:pt x="33744" y="101"/>
                  </a:cubicBezTo>
                  <a:cubicBezTo>
                    <a:pt x="33677" y="101"/>
                    <a:pt x="33643" y="135"/>
                    <a:pt x="33609" y="135"/>
                  </a:cubicBezTo>
                  <a:cubicBezTo>
                    <a:pt x="33542" y="168"/>
                    <a:pt x="33509" y="168"/>
                    <a:pt x="33475" y="202"/>
                  </a:cubicBezTo>
                  <a:cubicBezTo>
                    <a:pt x="33408" y="202"/>
                    <a:pt x="33341" y="235"/>
                    <a:pt x="33307" y="269"/>
                  </a:cubicBezTo>
                  <a:cubicBezTo>
                    <a:pt x="33139" y="336"/>
                    <a:pt x="32937" y="403"/>
                    <a:pt x="32769" y="504"/>
                  </a:cubicBezTo>
                  <a:lnTo>
                    <a:pt x="3731" y="17309"/>
                  </a:lnTo>
                  <a:cubicBezTo>
                    <a:pt x="3463" y="17443"/>
                    <a:pt x="3227" y="17611"/>
                    <a:pt x="3026" y="17779"/>
                  </a:cubicBezTo>
                  <a:cubicBezTo>
                    <a:pt x="2925" y="17846"/>
                    <a:pt x="2858" y="17913"/>
                    <a:pt x="2790" y="17981"/>
                  </a:cubicBezTo>
                  <a:cubicBezTo>
                    <a:pt x="2690" y="18082"/>
                    <a:pt x="2589" y="18149"/>
                    <a:pt x="2488" y="18250"/>
                  </a:cubicBezTo>
                  <a:cubicBezTo>
                    <a:pt x="2421" y="18317"/>
                    <a:pt x="2387" y="18350"/>
                    <a:pt x="2320" y="18418"/>
                  </a:cubicBezTo>
                  <a:cubicBezTo>
                    <a:pt x="2286" y="18451"/>
                    <a:pt x="2253" y="18485"/>
                    <a:pt x="2219" y="18552"/>
                  </a:cubicBezTo>
                  <a:cubicBezTo>
                    <a:pt x="2152" y="18586"/>
                    <a:pt x="2118" y="18653"/>
                    <a:pt x="2051" y="18686"/>
                  </a:cubicBezTo>
                  <a:cubicBezTo>
                    <a:pt x="1950" y="18821"/>
                    <a:pt x="1849" y="18922"/>
                    <a:pt x="1749" y="19056"/>
                  </a:cubicBezTo>
                  <a:cubicBezTo>
                    <a:pt x="1715" y="19090"/>
                    <a:pt x="1681" y="19157"/>
                    <a:pt x="1648" y="19191"/>
                  </a:cubicBezTo>
                  <a:cubicBezTo>
                    <a:pt x="1648" y="19224"/>
                    <a:pt x="1614" y="19224"/>
                    <a:pt x="1614" y="19258"/>
                  </a:cubicBezTo>
                  <a:cubicBezTo>
                    <a:pt x="1580" y="19325"/>
                    <a:pt x="1547" y="19359"/>
                    <a:pt x="1513" y="19392"/>
                  </a:cubicBezTo>
                  <a:cubicBezTo>
                    <a:pt x="1446" y="19493"/>
                    <a:pt x="1379" y="19628"/>
                    <a:pt x="1312" y="19728"/>
                  </a:cubicBezTo>
                  <a:cubicBezTo>
                    <a:pt x="1244" y="19829"/>
                    <a:pt x="1177" y="19930"/>
                    <a:pt x="1110" y="20031"/>
                  </a:cubicBezTo>
                  <a:cubicBezTo>
                    <a:pt x="1110" y="20031"/>
                    <a:pt x="1110" y="20064"/>
                    <a:pt x="1076" y="20064"/>
                  </a:cubicBezTo>
                  <a:lnTo>
                    <a:pt x="1076" y="20098"/>
                  </a:lnTo>
                  <a:cubicBezTo>
                    <a:pt x="1043" y="20165"/>
                    <a:pt x="976" y="20266"/>
                    <a:pt x="942" y="20367"/>
                  </a:cubicBezTo>
                  <a:cubicBezTo>
                    <a:pt x="875" y="20468"/>
                    <a:pt x="807" y="20569"/>
                    <a:pt x="774" y="20669"/>
                  </a:cubicBezTo>
                  <a:cubicBezTo>
                    <a:pt x="740" y="20770"/>
                    <a:pt x="673" y="20871"/>
                    <a:pt x="639" y="20972"/>
                  </a:cubicBezTo>
                  <a:cubicBezTo>
                    <a:pt x="639" y="20972"/>
                    <a:pt x="639" y="20972"/>
                    <a:pt x="639" y="20972"/>
                  </a:cubicBezTo>
                  <a:cubicBezTo>
                    <a:pt x="639" y="20972"/>
                    <a:pt x="639" y="21005"/>
                    <a:pt x="606" y="21005"/>
                  </a:cubicBezTo>
                  <a:cubicBezTo>
                    <a:pt x="572" y="21106"/>
                    <a:pt x="539" y="21207"/>
                    <a:pt x="471" y="21342"/>
                  </a:cubicBezTo>
                  <a:cubicBezTo>
                    <a:pt x="438" y="21442"/>
                    <a:pt x="404" y="21577"/>
                    <a:pt x="371" y="21678"/>
                  </a:cubicBezTo>
                  <a:cubicBezTo>
                    <a:pt x="337" y="21745"/>
                    <a:pt x="337" y="21812"/>
                    <a:pt x="303" y="21846"/>
                  </a:cubicBezTo>
                  <a:lnTo>
                    <a:pt x="270" y="21947"/>
                  </a:lnTo>
                  <a:lnTo>
                    <a:pt x="236" y="22047"/>
                  </a:lnTo>
                  <a:cubicBezTo>
                    <a:pt x="203" y="22215"/>
                    <a:pt x="169" y="22350"/>
                    <a:pt x="135" y="22484"/>
                  </a:cubicBezTo>
                  <a:cubicBezTo>
                    <a:pt x="102" y="22585"/>
                    <a:pt x="102" y="22652"/>
                    <a:pt x="102" y="22753"/>
                  </a:cubicBezTo>
                  <a:cubicBezTo>
                    <a:pt x="68" y="22787"/>
                    <a:pt x="68" y="22820"/>
                    <a:pt x="68" y="22888"/>
                  </a:cubicBezTo>
                  <a:cubicBezTo>
                    <a:pt x="68" y="22921"/>
                    <a:pt x="34" y="22955"/>
                    <a:pt x="34" y="22988"/>
                  </a:cubicBezTo>
                  <a:cubicBezTo>
                    <a:pt x="1" y="23257"/>
                    <a:pt x="1" y="23493"/>
                    <a:pt x="1" y="23728"/>
                  </a:cubicBezTo>
                  <a:lnTo>
                    <a:pt x="1984" y="24904"/>
                  </a:lnTo>
                  <a:cubicBezTo>
                    <a:pt x="1984" y="24602"/>
                    <a:pt x="2017" y="24333"/>
                    <a:pt x="2051" y="24030"/>
                  </a:cubicBezTo>
                  <a:cubicBezTo>
                    <a:pt x="2051" y="23997"/>
                    <a:pt x="2085" y="23963"/>
                    <a:pt x="2085" y="23896"/>
                  </a:cubicBezTo>
                  <a:cubicBezTo>
                    <a:pt x="2118" y="23627"/>
                    <a:pt x="2185" y="23358"/>
                    <a:pt x="2253" y="23089"/>
                  </a:cubicBezTo>
                  <a:lnTo>
                    <a:pt x="2286" y="23022"/>
                  </a:lnTo>
                  <a:cubicBezTo>
                    <a:pt x="2387" y="22720"/>
                    <a:pt x="2488" y="22417"/>
                    <a:pt x="2622" y="22148"/>
                  </a:cubicBezTo>
                  <a:cubicBezTo>
                    <a:pt x="2622" y="22148"/>
                    <a:pt x="2622" y="22115"/>
                    <a:pt x="2622" y="22115"/>
                  </a:cubicBezTo>
                  <a:cubicBezTo>
                    <a:pt x="2757" y="21812"/>
                    <a:pt x="2891" y="21543"/>
                    <a:pt x="3059" y="21241"/>
                  </a:cubicBezTo>
                  <a:lnTo>
                    <a:pt x="3093" y="21241"/>
                  </a:lnTo>
                  <a:cubicBezTo>
                    <a:pt x="3227" y="20938"/>
                    <a:pt x="3395" y="20703"/>
                    <a:pt x="3597" y="20434"/>
                  </a:cubicBezTo>
                  <a:cubicBezTo>
                    <a:pt x="3631" y="20401"/>
                    <a:pt x="3631" y="20401"/>
                    <a:pt x="3664" y="20367"/>
                  </a:cubicBezTo>
                  <a:cubicBezTo>
                    <a:pt x="3832" y="20132"/>
                    <a:pt x="4000" y="19896"/>
                    <a:pt x="4202" y="19695"/>
                  </a:cubicBezTo>
                  <a:cubicBezTo>
                    <a:pt x="4236" y="19661"/>
                    <a:pt x="4269" y="19628"/>
                    <a:pt x="4303" y="19560"/>
                  </a:cubicBezTo>
                  <a:cubicBezTo>
                    <a:pt x="4471" y="19426"/>
                    <a:pt x="4639" y="19291"/>
                    <a:pt x="4773" y="19123"/>
                  </a:cubicBezTo>
                  <a:cubicBezTo>
                    <a:pt x="4874" y="19056"/>
                    <a:pt x="4941" y="19023"/>
                    <a:pt x="5009" y="18955"/>
                  </a:cubicBezTo>
                  <a:cubicBezTo>
                    <a:pt x="5244" y="18754"/>
                    <a:pt x="5479" y="18586"/>
                    <a:pt x="5714" y="18451"/>
                  </a:cubicBezTo>
                  <a:lnTo>
                    <a:pt x="34752" y="1681"/>
                  </a:lnTo>
                  <a:cubicBezTo>
                    <a:pt x="34987" y="1546"/>
                    <a:pt x="35223" y="1445"/>
                    <a:pt x="35458" y="1378"/>
                  </a:cubicBezTo>
                  <a:cubicBezTo>
                    <a:pt x="35492" y="1344"/>
                    <a:pt x="35525" y="1344"/>
                    <a:pt x="35592" y="1311"/>
                  </a:cubicBezTo>
                  <a:cubicBezTo>
                    <a:pt x="35794" y="1244"/>
                    <a:pt x="35996" y="1210"/>
                    <a:pt x="36197" y="1176"/>
                  </a:cubicBezTo>
                  <a:cubicBezTo>
                    <a:pt x="36197" y="1176"/>
                    <a:pt x="36231" y="1176"/>
                    <a:pt x="36265" y="1176"/>
                  </a:cubicBezTo>
                  <a:cubicBezTo>
                    <a:pt x="36466" y="1176"/>
                    <a:pt x="36668" y="1176"/>
                    <a:pt x="36836" y="1210"/>
                  </a:cubicBezTo>
                  <a:cubicBezTo>
                    <a:pt x="36870" y="1210"/>
                    <a:pt x="36870" y="1210"/>
                    <a:pt x="36870" y="1210"/>
                  </a:cubicBezTo>
                  <a:cubicBezTo>
                    <a:pt x="37071" y="1244"/>
                    <a:pt x="37239" y="1311"/>
                    <a:pt x="37407" y="1412"/>
                  </a:cubicBezTo>
                  <a:close/>
                </a:path>
              </a:pathLst>
            </a:custGeom>
            <a:solidFill>
              <a:srgbClr val="EADCFA"/>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83" name="Google Shape;3778;p49"/>
            <p:cNvSpPr/>
            <p:nvPr/>
          </p:nvSpPr>
          <p:spPr>
            <a:xfrm>
              <a:off x="-19021625" y="15017100"/>
              <a:ext cx="915025" cy="1191900"/>
            </a:xfrm>
            <a:custGeom>
              <a:avLst/>
              <a:gdLst/>
              <a:ahLst/>
              <a:cxnLst/>
              <a:rect l="l" t="t" r="r" b="b"/>
              <a:pathLst>
                <a:path w="36601" h="47676" extrusionOk="0">
                  <a:moveTo>
                    <a:pt x="34475" y="0"/>
                  </a:moveTo>
                  <a:cubicBezTo>
                    <a:pt x="33971" y="0"/>
                    <a:pt x="33403" y="167"/>
                    <a:pt x="32803" y="522"/>
                  </a:cubicBezTo>
                  <a:lnTo>
                    <a:pt x="3731" y="17292"/>
                  </a:lnTo>
                  <a:cubicBezTo>
                    <a:pt x="1681" y="18469"/>
                    <a:pt x="1" y="21359"/>
                    <a:pt x="34" y="23711"/>
                  </a:cubicBezTo>
                  <a:lnTo>
                    <a:pt x="68" y="45019"/>
                  </a:lnTo>
                  <a:cubicBezTo>
                    <a:pt x="92" y="46711"/>
                    <a:pt x="926" y="47676"/>
                    <a:pt x="2152" y="47676"/>
                  </a:cubicBezTo>
                  <a:cubicBezTo>
                    <a:pt x="2655" y="47676"/>
                    <a:pt x="3225" y="47513"/>
                    <a:pt x="3832" y="47170"/>
                  </a:cubicBezTo>
                  <a:lnTo>
                    <a:pt x="13310" y="41692"/>
                  </a:lnTo>
                  <a:lnTo>
                    <a:pt x="18687" y="45557"/>
                  </a:lnTo>
                  <a:lnTo>
                    <a:pt x="23527" y="35777"/>
                  </a:lnTo>
                  <a:lnTo>
                    <a:pt x="32870" y="30400"/>
                  </a:lnTo>
                  <a:cubicBezTo>
                    <a:pt x="34920" y="29190"/>
                    <a:pt x="36601" y="26299"/>
                    <a:pt x="36601" y="23947"/>
                  </a:cubicBezTo>
                  <a:lnTo>
                    <a:pt x="36533" y="2639"/>
                  </a:lnTo>
                  <a:cubicBezTo>
                    <a:pt x="36533" y="975"/>
                    <a:pt x="35693" y="0"/>
                    <a:pt x="34475" y="0"/>
                  </a:cubicBezTo>
                  <a:close/>
                </a:path>
              </a:pathLst>
            </a:custGeom>
            <a:solidFill>
              <a:srgbClr val="A96EEC"/>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84" name="Google Shape;3779;p49"/>
            <p:cNvSpPr/>
            <p:nvPr/>
          </p:nvSpPr>
          <p:spPr>
            <a:xfrm>
              <a:off x="-18875425" y="15301900"/>
              <a:ext cx="572225" cy="352975"/>
            </a:xfrm>
            <a:custGeom>
              <a:avLst/>
              <a:gdLst/>
              <a:ahLst/>
              <a:cxnLst/>
              <a:rect l="l" t="t" r="r" b="b"/>
              <a:pathLst>
                <a:path w="22889" h="14119" extrusionOk="0">
                  <a:moveTo>
                    <a:pt x="22552" y="0"/>
                  </a:moveTo>
                  <a:cubicBezTo>
                    <a:pt x="22471" y="0"/>
                    <a:pt x="22380" y="28"/>
                    <a:pt x="22283" y="86"/>
                  </a:cubicBezTo>
                  <a:lnTo>
                    <a:pt x="606" y="12588"/>
                  </a:lnTo>
                  <a:cubicBezTo>
                    <a:pt x="270" y="12790"/>
                    <a:pt x="1" y="13261"/>
                    <a:pt x="1" y="13664"/>
                  </a:cubicBezTo>
                  <a:cubicBezTo>
                    <a:pt x="1" y="13951"/>
                    <a:pt x="137" y="14119"/>
                    <a:pt x="337" y="14119"/>
                  </a:cubicBezTo>
                  <a:cubicBezTo>
                    <a:pt x="418" y="14119"/>
                    <a:pt x="509" y="14092"/>
                    <a:pt x="606" y="14034"/>
                  </a:cubicBezTo>
                  <a:lnTo>
                    <a:pt x="22283" y="1531"/>
                  </a:lnTo>
                  <a:cubicBezTo>
                    <a:pt x="22619" y="1329"/>
                    <a:pt x="22888" y="825"/>
                    <a:pt x="22888" y="456"/>
                  </a:cubicBezTo>
                  <a:cubicBezTo>
                    <a:pt x="22888" y="168"/>
                    <a:pt x="22752" y="0"/>
                    <a:pt x="22552"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85" name="Google Shape;3780;p49"/>
            <p:cNvSpPr/>
            <p:nvPr/>
          </p:nvSpPr>
          <p:spPr>
            <a:xfrm>
              <a:off x="-18850225" y="15427100"/>
              <a:ext cx="573050" cy="352975"/>
            </a:xfrm>
            <a:custGeom>
              <a:avLst/>
              <a:gdLst/>
              <a:ahLst/>
              <a:cxnLst/>
              <a:rect l="l" t="t" r="r" b="b"/>
              <a:pathLst>
                <a:path w="22922" h="14119" extrusionOk="0">
                  <a:moveTo>
                    <a:pt x="22559" y="0"/>
                  </a:moveTo>
                  <a:cubicBezTo>
                    <a:pt x="22474" y="0"/>
                    <a:pt x="22380" y="28"/>
                    <a:pt x="22283" y="86"/>
                  </a:cubicBezTo>
                  <a:lnTo>
                    <a:pt x="606" y="12588"/>
                  </a:lnTo>
                  <a:cubicBezTo>
                    <a:pt x="270" y="12790"/>
                    <a:pt x="1" y="13260"/>
                    <a:pt x="1" y="13664"/>
                  </a:cubicBezTo>
                  <a:cubicBezTo>
                    <a:pt x="1" y="13951"/>
                    <a:pt x="137" y="14119"/>
                    <a:pt x="349" y="14119"/>
                  </a:cubicBezTo>
                  <a:cubicBezTo>
                    <a:pt x="435" y="14119"/>
                    <a:pt x="533" y="14091"/>
                    <a:pt x="639" y="14033"/>
                  </a:cubicBezTo>
                  <a:lnTo>
                    <a:pt x="22283" y="1531"/>
                  </a:lnTo>
                  <a:cubicBezTo>
                    <a:pt x="22620" y="1329"/>
                    <a:pt x="22922" y="825"/>
                    <a:pt x="22922" y="455"/>
                  </a:cubicBezTo>
                  <a:cubicBezTo>
                    <a:pt x="22922" y="168"/>
                    <a:pt x="22769" y="0"/>
                    <a:pt x="22559"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286" name="Google Shape;3781;p49"/>
            <p:cNvSpPr/>
            <p:nvPr/>
          </p:nvSpPr>
          <p:spPr>
            <a:xfrm>
              <a:off x="-18825000" y="15571425"/>
              <a:ext cx="573050" cy="353175"/>
            </a:xfrm>
            <a:custGeom>
              <a:avLst/>
              <a:gdLst/>
              <a:ahLst/>
              <a:cxnLst/>
              <a:rect l="l" t="t" r="r" b="b"/>
              <a:pathLst>
                <a:path w="22922" h="14127" extrusionOk="0">
                  <a:moveTo>
                    <a:pt x="22577" y="1"/>
                  </a:moveTo>
                  <a:cubicBezTo>
                    <a:pt x="22488" y="1"/>
                    <a:pt x="22387" y="31"/>
                    <a:pt x="22283" y="93"/>
                  </a:cubicBezTo>
                  <a:lnTo>
                    <a:pt x="605" y="12596"/>
                  </a:lnTo>
                  <a:cubicBezTo>
                    <a:pt x="269" y="12764"/>
                    <a:pt x="0" y="13268"/>
                    <a:pt x="0" y="13671"/>
                  </a:cubicBezTo>
                  <a:cubicBezTo>
                    <a:pt x="0" y="13958"/>
                    <a:pt x="137" y="14126"/>
                    <a:pt x="349" y="14126"/>
                  </a:cubicBezTo>
                  <a:cubicBezTo>
                    <a:pt x="434" y="14126"/>
                    <a:pt x="532" y="14099"/>
                    <a:pt x="639" y="14041"/>
                  </a:cubicBezTo>
                  <a:lnTo>
                    <a:pt x="22283" y="1538"/>
                  </a:lnTo>
                  <a:cubicBezTo>
                    <a:pt x="22619" y="1337"/>
                    <a:pt x="22921" y="833"/>
                    <a:pt x="22921" y="429"/>
                  </a:cubicBezTo>
                  <a:cubicBezTo>
                    <a:pt x="22921" y="151"/>
                    <a:pt x="22777" y="1"/>
                    <a:pt x="22577"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grpSp>
    </p:spTree>
    <p:extLst>
      <p:ext uri="{BB962C8B-B14F-4D97-AF65-F5344CB8AC3E}">
        <p14:creationId xmlns:p14="http://schemas.microsoft.com/office/powerpoint/2010/main" val="21663953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168112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7" name="think-cell Slide" r:id="rId4" imgW="421" imgH="420" progId="TCLayout.ActiveDocument.1">
                  <p:embed/>
                </p:oleObj>
              </mc:Choice>
              <mc:Fallback>
                <p:oleObj name="think-cell Slide" r:id="rId4" imgW="421" imgH="420" progId="TCLayout.ActiveDocument.1">
                  <p:embed/>
                  <p:pic>
                    <p:nvPicPr>
                      <p:cNvPr id="15" name="Object 1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a:off x="10198761" y="648752"/>
            <a:ext cx="1077539" cy="646331"/>
          </a:xfrm>
          <a:prstGeom prst="rect">
            <a:avLst/>
          </a:prstGeom>
        </p:spPr>
        <p:txBody>
          <a:bodyPr wrap="none">
            <a:spAutoFit/>
          </a:bodyPr>
          <a:lstStyle/>
          <a:p>
            <a:pPr algn="r" rtl="1">
              <a:spcBef>
                <a:spcPts val="0"/>
              </a:spcBef>
              <a:spcAft>
                <a:spcPts val="0"/>
              </a:spcAft>
            </a:pPr>
            <a:r>
              <a:rPr lang="ar-SA" sz="3600" b="1" dirty="0" smtClean="0">
                <a:solidFill>
                  <a:schemeClr val="bg1"/>
                </a:solidFill>
                <a:latin typeface="Arial" panose="020B0604020202020204" pitchFamily="34" charset="0"/>
                <a:cs typeface="+mj-cs"/>
              </a:rPr>
              <a:t>التأثير</a:t>
            </a:r>
            <a:endParaRPr lang="ar-SA" sz="3600" b="1" dirty="0" smtClean="0">
              <a:solidFill>
                <a:schemeClr val="bg1"/>
              </a:solidFill>
              <a:effectLst/>
              <a:cs typeface="+mj-cs"/>
            </a:endParaRPr>
          </a:p>
        </p:txBody>
      </p:sp>
      <p:sp>
        <p:nvSpPr>
          <p:cNvPr id="4" name="Rectangle 3"/>
          <p:cNvSpPr/>
          <p:nvPr/>
        </p:nvSpPr>
        <p:spPr>
          <a:xfrm>
            <a:off x="461038" y="1887311"/>
            <a:ext cx="10561067" cy="1333698"/>
          </a:xfrm>
          <a:prstGeom prst="rect">
            <a:avLst/>
          </a:prstGeom>
        </p:spPr>
        <p:txBody>
          <a:bodyPr wrap="square">
            <a:spAutoFit/>
          </a:bodyPr>
          <a:lstStyle/>
          <a:p>
            <a:pPr algn="r" rtl="1">
              <a:spcBef>
                <a:spcPts val="0"/>
              </a:spcBef>
              <a:spcAft>
                <a:spcPts val="1600"/>
              </a:spcAft>
            </a:pPr>
            <a:r>
              <a:rPr lang="ar-SA" b="1" dirty="0">
                <a:solidFill>
                  <a:schemeClr val="bg1"/>
                </a:solidFill>
                <a:latin typeface="Arial" panose="020B0604020202020204" pitchFamily="34" charset="0"/>
              </a:rPr>
              <a:t>تجلت لنا أهمية هذه التقنيات منذ أكثر من 20 عامًا، حين قام رونالد أزوما في عام 1997 باستبيان تناول فيه تقنية الواقع </a:t>
            </a:r>
            <a:r>
              <a:rPr lang="ar-SA" b="1" dirty="0" smtClean="0">
                <a:solidFill>
                  <a:schemeClr val="bg1"/>
                </a:solidFill>
                <a:latin typeface="Arial" panose="020B0604020202020204" pitchFamily="34" charset="0"/>
              </a:rPr>
              <a:t>المعزز.</a:t>
            </a:r>
          </a:p>
          <a:p>
            <a:pPr algn="r" rtl="1">
              <a:spcBef>
                <a:spcPts val="0"/>
              </a:spcBef>
              <a:spcAft>
                <a:spcPts val="1600"/>
              </a:spcAft>
            </a:pPr>
            <a:endParaRPr lang="ar-SA" b="1" dirty="0">
              <a:solidFill>
                <a:schemeClr val="bg1"/>
              </a:solidFill>
              <a:latin typeface="Arial" panose="020B0604020202020204" pitchFamily="34" charset="0"/>
            </a:endParaRPr>
          </a:p>
          <a:p>
            <a:pPr algn="r" rtl="1">
              <a:spcBef>
                <a:spcPts val="0"/>
              </a:spcBef>
              <a:spcAft>
                <a:spcPts val="1600"/>
              </a:spcAft>
            </a:pPr>
            <a:r>
              <a:rPr lang="ar-SA" b="1" dirty="0" smtClean="0">
                <a:solidFill>
                  <a:schemeClr val="bg1"/>
                </a:solidFill>
                <a:latin typeface="Arial" panose="020B0604020202020204" pitchFamily="34" charset="0"/>
              </a:rPr>
              <a:t>أبرز </a:t>
            </a:r>
            <a:r>
              <a:rPr lang="ar-SA" b="1" dirty="0">
                <a:solidFill>
                  <a:schemeClr val="bg1"/>
                </a:solidFill>
                <a:latin typeface="Arial" panose="020B0604020202020204" pitchFamily="34" charset="0"/>
              </a:rPr>
              <a:t>ما ذُكر عن مستقبل التقنية</a:t>
            </a:r>
            <a:r>
              <a:rPr lang="ar-SA" b="1" dirty="0" smtClean="0">
                <a:solidFill>
                  <a:schemeClr val="bg1"/>
                </a:solidFill>
                <a:latin typeface="Arial" panose="020B0604020202020204" pitchFamily="34" charset="0"/>
              </a:rPr>
              <a:t>:</a:t>
            </a:r>
            <a:endParaRPr lang="ar-SA" b="1" dirty="0" smtClean="0">
              <a:solidFill>
                <a:schemeClr val="bg1"/>
              </a:solidFill>
              <a:effectLst/>
            </a:endParaRPr>
          </a:p>
        </p:txBody>
      </p:sp>
      <p:grpSp>
        <p:nvGrpSpPr>
          <p:cNvPr id="21" name="Group 20"/>
          <p:cNvGrpSpPr/>
          <p:nvPr/>
        </p:nvGrpSpPr>
        <p:grpSpPr>
          <a:xfrm flipV="1">
            <a:off x="6989997" y="3321124"/>
            <a:ext cx="3168851" cy="2909797"/>
            <a:chOff x="7680973" y="3239335"/>
            <a:chExt cx="3168851" cy="2909797"/>
          </a:xfrm>
        </p:grpSpPr>
        <p:sp>
          <p:nvSpPr>
            <p:cNvPr id="1156" name="Google Shape;731;p33"/>
            <p:cNvSpPr/>
            <p:nvPr/>
          </p:nvSpPr>
          <p:spPr>
            <a:xfrm flipH="1">
              <a:off x="7682520" y="5989498"/>
              <a:ext cx="153707" cy="159634"/>
            </a:xfrm>
            <a:custGeom>
              <a:avLst/>
              <a:gdLst/>
              <a:ahLst/>
              <a:cxnLst/>
              <a:rect l="l" t="t" r="r" b="b"/>
              <a:pathLst>
                <a:path w="9440" h="9804" extrusionOk="0">
                  <a:moveTo>
                    <a:pt x="0" y="0"/>
                  </a:moveTo>
                  <a:lnTo>
                    <a:pt x="0" y="9803"/>
                  </a:lnTo>
                  <a:lnTo>
                    <a:pt x="9440" y="4910"/>
                  </a:lnTo>
                  <a:lnTo>
                    <a:pt x="0" y="0"/>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0" name="Google Shape;776;p33"/>
            <p:cNvSpPr/>
            <p:nvPr/>
          </p:nvSpPr>
          <p:spPr>
            <a:xfrm flipH="1">
              <a:off x="8599827" y="3335972"/>
              <a:ext cx="2249997" cy="16"/>
            </a:xfrm>
            <a:custGeom>
              <a:avLst/>
              <a:gdLst/>
              <a:ahLst/>
              <a:cxnLst/>
              <a:rect l="l" t="t" r="r" b="b"/>
              <a:pathLst>
                <a:path w="138185" h="1" extrusionOk="0">
                  <a:moveTo>
                    <a:pt x="138184" y="1"/>
                  </a:moveTo>
                  <a:lnTo>
                    <a:pt x="0" y="1"/>
                  </a:lnTo>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2" name="Google Shape;778;p33"/>
            <p:cNvSpPr/>
            <p:nvPr/>
          </p:nvSpPr>
          <p:spPr>
            <a:xfrm flipH="1">
              <a:off x="8728345" y="3332634"/>
              <a:ext cx="1992978" cy="6448"/>
            </a:xfrm>
            <a:custGeom>
              <a:avLst/>
              <a:gdLst/>
              <a:ahLst/>
              <a:cxnLst/>
              <a:rect l="l" t="t" r="r" b="b"/>
              <a:pathLst>
                <a:path w="122400" h="396" extrusionOk="0">
                  <a:moveTo>
                    <a:pt x="1" y="1"/>
                  </a:moveTo>
                  <a:lnTo>
                    <a:pt x="1" y="395"/>
                  </a:lnTo>
                  <a:lnTo>
                    <a:pt x="4010" y="395"/>
                  </a:lnTo>
                  <a:lnTo>
                    <a:pt x="3947" y="1"/>
                  </a:lnTo>
                  <a:close/>
                  <a:moveTo>
                    <a:pt x="9866" y="1"/>
                  </a:moveTo>
                  <a:lnTo>
                    <a:pt x="9866" y="395"/>
                  </a:lnTo>
                  <a:lnTo>
                    <a:pt x="13876" y="395"/>
                  </a:lnTo>
                  <a:lnTo>
                    <a:pt x="13813" y="1"/>
                  </a:lnTo>
                  <a:close/>
                  <a:moveTo>
                    <a:pt x="19795" y="1"/>
                  </a:moveTo>
                  <a:lnTo>
                    <a:pt x="19795" y="395"/>
                  </a:lnTo>
                  <a:lnTo>
                    <a:pt x="23742" y="395"/>
                  </a:lnTo>
                  <a:lnTo>
                    <a:pt x="23742" y="1"/>
                  </a:lnTo>
                  <a:close/>
                  <a:moveTo>
                    <a:pt x="29661" y="1"/>
                  </a:moveTo>
                  <a:lnTo>
                    <a:pt x="29661" y="395"/>
                  </a:lnTo>
                  <a:lnTo>
                    <a:pt x="33607" y="395"/>
                  </a:lnTo>
                  <a:lnTo>
                    <a:pt x="33607" y="1"/>
                  </a:lnTo>
                  <a:close/>
                  <a:moveTo>
                    <a:pt x="39527" y="1"/>
                  </a:moveTo>
                  <a:lnTo>
                    <a:pt x="39527" y="395"/>
                  </a:lnTo>
                  <a:lnTo>
                    <a:pt x="43473" y="395"/>
                  </a:lnTo>
                  <a:lnTo>
                    <a:pt x="43473" y="1"/>
                  </a:lnTo>
                  <a:close/>
                  <a:moveTo>
                    <a:pt x="49393" y="1"/>
                  </a:moveTo>
                  <a:lnTo>
                    <a:pt x="49393" y="395"/>
                  </a:lnTo>
                  <a:lnTo>
                    <a:pt x="53339" y="395"/>
                  </a:lnTo>
                  <a:lnTo>
                    <a:pt x="53339" y="1"/>
                  </a:lnTo>
                  <a:close/>
                  <a:moveTo>
                    <a:pt x="59258" y="1"/>
                  </a:moveTo>
                  <a:lnTo>
                    <a:pt x="59258" y="395"/>
                  </a:lnTo>
                  <a:lnTo>
                    <a:pt x="63205" y="395"/>
                  </a:lnTo>
                  <a:lnTo>
                    <a:pt x="63205" y="1"/>
                  </a:lnTo>
                  <a:close/>
                  <a:moveTo>
                    <a:pt x="69124" y="1"/>
                  </a:moveTo>
                  <a:lnTo>
                    <a:pt x="69124" y="395"/>
                  </a:lnTo>
                  <a:lnTo>
                    <a:pt x="73071" y="395"/>
                  </a:lnTo>
                  <a:lnTo>
                    <a:pt x="73071" y="1"/>
                  </a:lnTo>
                  <a:close/>
                  <a:moveTo>
                    <a:pt x="78990" y="1"/>
                  </a:moveTo>
                  <a:lnTo>
                    <a:pt x="78990" y="395"/>
                  </a:lnTo>
                  <a:lnTo>
                    <a:pt x="82936" y="395"/>
                  </a:lnTo>
                  <a:lnTo>
                    <a:pt x="82936" y="1"/>
                  </a:lnTo>
                  <a:close/>
                  <a:moveTo>
                    <a:pt x="88856" y="1"/>
                  </a:moveTo>
                  <a:lnTo>
                    <a:pt x="88856" y="395"/>
                  </a:lnTo>
                  <a:lnTo>
                    <a:pt x="92802" y="395"/>
                  </a:lnTo>
                  <a:lnTo>
                    <a:pt x="92802" y="1"/>
                  </a:lnTo>
                  <a:close/>
                  <a:moveTo>
                    <a:pt x="98722" y="1"/>
                  </a:moveTo>
                  <a:lnTo>
                    <a:pt x="98722" y="395"/>
                  </a:lnTo>
                  <a:lnTo>
                    <a:pt x="102668" y="395"/>
                  </a:lnTo>
                  <a:lnTo>
                    <a:pt x="102668" y="1"/>
                  </a:lnTo>
                  <a:close/>
                  <a:moveTo>
                    <a:pt x="108587" y="1"/>
                  </a:moveTo>
                  <a:lnTo>
                    <a:pt x="108587" y="395"/>
                  </a:lnTo>
                  <a:lnTo>
                    <a:pt x="112534" y="395"/>
                  </a:lnTo>
                  <a:lnTo>
                    <a:pt x="112534" y="1"/>
                  </a:lnTo>
                  <a:close/>
                  <a:moveTo>
                    <a:pt x="118453" y="1"/>
                  </a:moveTo>
                  <a:lnTo>
                    <a:pt x="118453" y="395"/>
                  </a:lnTo>
                  <a:lnTo>
                    <a:pt x="122399" y="395"/>
                  </a:lnTo>
                  <a:lnTo>
                    <a:pt x="122399" y="1"/>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3" name="Google Shape;779;p33"/>
            <p:cNvSpPr/>
            <p:nvPr/>
          </p:nvSpPr>
          <p:spPr>
            <a:xfrm flipH="1">
              <a:off x="10817682" y="3332634"/>
              <a:ext cx="32142" cy="6448"/>
            </a:xfrm>
            <a:custGeom>
              <a:avLst/>
              <a:gdLst/>
              <a:ahLst/>
              <a:cxnLst/>
              <a:rect l="l" t="t" r="r" b="b"/>
              <a:pathLst>
                <a:path w="1974" h="396" extrusionOk="0">
                  <a:moveTo>
                    <a:pt x="0" y="1"/>
                  </a:moveTo>
                  <a:lnTo>
                    <a:pt x="0" y="395"/>
                  </a:lnTo>
                  <a:lnTo>
                    <a:pt x="1973" y="395"/>
                  </a:lnTo>
                  <a:lnTo>
                    <a:pt x="1973" y="1"/>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4" name="Google Shape;780;p33"/>
            <p:cNvSpPr/>
            <p:nvPr/>
          </p:nvSpPr>
          <p:spPr>
            <a:xfrm flipH="1">
              <a:off x="7737001" y="3392521"/>
              <a:ext cx="1300043" cy="1292082"/>
            </a:xfrm>
            <a:custGeom>
              <a:avLst/>
              <a:gdLst/>
              <a:ahLst/>
              <a:cxnLst/>
              <a:rect l="l" t="t" r="r" b="b"/>
              <a:pathLst>
                <a:path w="79843" h="79354" extrusionOk="0">
                  <a:moveTo>
                    <a:pt x="48" y="1"/>
                  </a:moveTo>
                  <a:cubicBezTo>
                    <a:pt x="16" y="916"/>
                    <a:pt x="0" y="1832"/>
                    <a:pt x="0" y="2716"/>
                  </a:cubicBezTo>
                  <a:cubicBezTo>
                    <a:pt x="0" y="12992"/>
                    <a:pt x="2226" y="23158"/>
                    <a:pt x="6535" y="32503"/>
                  </a:cubicBezTo>
                  <a:cubicBezTo>
                    <a:pt x="10687" y="41579"/>
                    <a:pt x="16606" y="49756"/>
                    <a:pt x="24104" y="56844"/>
                  </a:cubicBezTo>
                  <a:cubicBezTo>
                    <a:pt x="31508" y="63836"/>
                    <a:pt x="40142" y="69409"/>
                    <a:pt x="49566" y="73276"/>
                  </a:cubicBezTo>
                  <a:cubicBezTo>
                    <a:pt x="59163" y="77254"/>
                    <a:pt x="69455" y="79322"/>
                    <a:pt x="79842" y="79353"/>
                  </a:cubicBezTo>
                  <a:lnTo>
                    <a:pt x="79842" y="78959"/>
                  </a:lnTo>
                  <a:cubicBezTo>
                    <a:pt x="36780" y="78833"/>
                    <a:pt x="395" y="43915"/>
                    <a:pt x="395" y="2716"/>
                  </a:cubicBezTo>
                  <a:cubicBezTo>
                    <a:pt x="395" y="1832"/>
                    <a:pt x="411" y="932"/>
                    <a:pt x="442" y="16"/>
                  </a:cubicBezTo>
                  <a:lnTo>
                    <a:pt x="48" y="1"/>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5" name="Google Shape;781;p33"/>
            <p:cNvSpPr/>
            <p:nvPr/>
          </p:nvSpPr>
          <p:spPr>
            <a:xfrm flipH="1">
              <a:off x="7720295" y="3392521"/>
              <a:ext cx="1988354" cy="1988110"/>
            </a:xfrm>
            <a:custGeom>
              <a:avLst/>
              <a:gdLst/>
              <a:ahLst/>
              <a:cxnLst/>
              <a:rect l="l" t="t" r="r" b="b"/>
              <a:pathLst>
                <a:path w="122116" h="122101" extrusionOk="0">
                  <a:moveTo>
                    <a:pt x="48" y="1"/>
                  </a:moveTo>
                  <a:cubicBezTo>
                    <a:pt x="32" y="964"/>
                    <a:pt x="16" y="1848"/>
                    <a:pt x="16" y="2716"/>
                  </a:cubicBezTo>
                  <a:cubicBezTo>
                    <a:pt x="0" y="18722"/>
                    <a:pt x="3347" y="34555"/>
                    <a:pt x="9835" y="49188"/>
                  </a:cubicBezTo>
                  <a:cubicBezTo>
                    <a:pt x="16086" y="63363"/>
                    <a:pt x="25004" y="76133"/>
                    <a:pt x="36370" y="87136"/>
                  </a:cubicBezTo>
                  <a:cubicBezTo>
                    <a:pt x="47593" y="98043"/>
                    <a:pt x="60789" y="106725"/>
                    <a:pt x="75233" y="112724"/>
                  </a:cubicBezTo>
                  <a:cubicBezTo>
                    <a:pt x="90050" y="118912"/>
                    <a:pt x="105951" y="122100"/>
                    <a:pt x="121996" y="122100"/>
                  </a:cubicBezTo>
                  <a:cubicBezTo>
                    <a:pt x="122036" y="122100"/>
                    <a:pt x="122076" y="122100"/>
                    <a:pt x="122115" y="122100"/>
                  </a:cubicBezTo>
                  <a:lnTo>
                    <a:pt x="122115" y="121690"/>
                  </a:lnTo>
                  <a:cubicBezTo>
                    <a:pt x="56149" y="121690"/>
                    <a:pt x="411" y="67199"/>
                    <a:pt x="411" y="2700"/>
                  </a:cubicBezTo>
                  <a:cubicBezTo>
                    <a:pt x="411" y="1848"/>
                    <a:pt x="427" y="964"/>
                    <a:pt x="442" y="1"/>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6" name="Google Shape;782;p33"/>
            <p:cNvSpPr/>
            <p:nvPr/>
          </p:nvSpPr>
          <p:spPr>
            <a:xfrm flipH="1">
              <a:off x="7741121" y="3392521"/>
              <a:ext cx="2629102" cy="2672300"/>
            </a:xfrm>
            <a:custGeom>
              <a:avLst/>
              <a:gdLst/>
              <a:ahLst/>
              <a:cxnLst/>
              <a:rect l="l" t="t" r="r" b="b"/>
              <a:pathLst>
                <a:path w="161468" h="164121" extrusionOk="0">
                  <a:moveTo>
                    <a:pt x="79" y="1"/>
                  </a:moveTo>
                  <a:cubicBezTo>
                    <a:pt x="63" y="1043"/>
                    <a:pt x="63" y="1911"/>
                    <a:pt x="63" y="2716"/>
                  </a:cubicBezTo>
                  <a:cubicBezTo>
                    <a:pt x="0" y="67609"/>
                    <a:pt x="38848" y="126204"/>
                    <a:pt x="98626" y="151429"/>
                  </a:cubicBezTo>
                  <a:cubicBezTo>
                    <a:pt x="118392" y="159797"/>
                    <a:pt x="139642" y="164121"/>
                    <a:pt x="161101" y="164121"/>
                  </a:cubicBezTo>
                  <a:cubicBezTo>
                    <a:pt x="161218" y="164121"/>
                    <a:pt x="161335" y="164121"/>
                    <a:pt x="161452" y="164121"/>
                  </a:cubicBezTo>
                  <a:lnTo>
                    <a:pt x="161468" y="163726"/>
                  </a:lnTo>
                  <a:cubicBezTo>
                    <a:pt x="72676" y="163726"/>
                    <a:pt x="458" y="91492"/>
                    <a:pt x="458" y="2716"/>
                  </a:cubicBezTo>
                  <a:cubicBezTo>
                    <a:pt x="458" y="1895"/>
                    <a:pt x="458" y="1043"/>
                    <a:pt x="474" y="1"/>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7" name="Google Shape;783;p33"/>
            <p:cNvSpPr/>
            <p:nvPr/>
          </p:nvSpPr>
          <p:spPr>
            <a:xfrm flipH="1">
              <a:off x="10284886" y="3239335"/>
              <a:ext cx="164502" cy="164518"/>
            </a:xfrm>
            <a:custGeom>
              <a:avLst/>
              <a:gdLst/>
              <a:ahLst/>
              <a:cxnLst/>
              <a:rect l="l" t="t" r="r" b="b"/>
              <a:pathLst>
                <a:path w="10103" h="10104" extrusionOk="0">
                  <a:moveTo>
                    <a:pt x="0" y="1"/>
                  </a:moveTo>
                  <a:lnTo>
                    <a:pt x="0" y="10103"/>
                  </a:lnTo>
                  <a:lnTo>
                    <a:pt x="10103" y="10103"/>
                  </a:lnTo>
                  <a:lnTo>
                    <a:pt x="10103" y="1"/>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8" name="Google Shape;784;p33"/>
            <p:cNvSpPr/>
            <p:nvPr/>
          </p:nvSpPr>
          <p:spPr>
            <a:xfrm flipH="1">
              <a:off x="9622270" y="3239335"/>
              <a:ext cx="164518" cy="164518"/>
            </a:xfrm>
            <a:custGeom>
              <a:avLst/>
              <a:gdLst/>
              <a:ahLst/>
              <a:cxnLst/>
              <a:rect l="l" t="t" r="r" b="b"/>
              <a:pathLst>
                <a:path w="10104" h="10104" extrusionOk="0">
                  <a:moveTo>
                    <a:pt x="1" y="1"/>
                  </a:moveTo>
                  <a:lnTo>
                    <a:pt x="1" y="10103"/>
                  </a:lnTo>
                  <a:lnTo>
                    <a:pt x="10103" y="10103"/>
                  </a:lnTo>
                  <a:lnTo>
                    <a:pt x="10103" y="1"/>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9" name="Google Shape;785;p33"/>
            <p:cNvSpPr/>
            <p:nvPr/>
          </p:nvSpPr>
          <p:spPr>
            <a:xfrm flipH="1">
              <a:off x="8950161" y="3239335"/>
              <a:ext cx="164502" cy="164518"/>
            </a:xfrm>
            <a:custGeom>
              <a:avLst/>
              <a:gdLst/>
              <a:ahLst/>
              <a:cxnLst/>
              <a:rect l="l" t="t" r="r" b="b"/>
              <a:pathLst>
                <a:path w="10103" h="10104" extrusionOk="0">
                  <a:moveTo>
                    <a:pt x="0" y="1"/>
                  </a:moveTo>
                  <a:lnTo>
                    <a:pt x="0" y="10103"/>
                  </a:lnTo>
                  <a:lnTo>
                    <a:pt x="10103" y="10103"/>
                  </a:lnTo>
                  <a:lnTo>
                    <a:pt x="10103" y="1"/>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0" name="Google Shape;786;p33"/>
            <p:cNvSpPr/>
            <p:nvPr/>
          </p:nvSpPr>
          <p:spPr>
            <a:xfrm flipH="1">
              <a:off x="7682520" y="5295538"/>
              <a:ext cx="153707" cy="159617"/>
            </a:xfrm>
            <a:custGeom>
              <a:avLst/>
              <a:gdLst/>
              <a:ahLst/>
              <a:cxnLst/>
              <a:rect l="l" t="t" r="r" b="b"/>
              <a:pathLst>
                <a:path w="9440" h="9803" extrusionOk="0">
                  <a:moveTo>
                    <a:pt x="0" y="0"/>
                  </a:moveTo>
                  <a:lnTo>
                    <a:pt x="0" y="9803"/>
                  </a:lnTo>
                  <a:lnTo>
                    <a:pt x="9440" y="4909"/>
                  </a:lnTo>
                  <a:lnTo>
                    <a:pt x="0" y="0"/>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1" name="Google Shape;787;p33"/>
            <p:cNvSpPr/>
            <p:nvPr/>
          </p:nvSpPr>
          <p:spPr>
            <a:xfrm flipH="1">
              <a:off x="7680973" y="4602588"/>
              <a:ext cx="153723" cy="159894"/>
            </a:xfrm>
            <a:custGeom>
              <a:avLst/>
              <a:gdLst/>
              <a:ahLst/>
              <a:cxnLst/>
              <a:rect l="l" t="t" r="r" b="b"/>
              <a:pathLst>
                <a:path w="9441" h="9820" extrusionOk="0">
                  <a:moveTo>
                    <a:pt x="1" y="1"/>
                  </a:moveTo>
                  <a:lnTo>
                    <a:pt x="1" y="9819"/>
                  </a:lnTo>
                  <a:lnTo>
                    <a:pt x="9440" y="4910"/>
                  </a:lnTo>
                  <a:lnTo>
                    <a:pt x="1" y="1"/>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Rectangle 13"/>
          <p:cNvSpPr/>
          <p:nvPr/>
        </p:nvSpPr>
        <p:spPr>
          <a:xfrm>
            <a:off x="1202406" y="3169581"/>
            <a:ext cx="6096000" cy="369332"/>
          </a:xfrm>
          <a:prstGeom prst="rect">
            <a:avLst/>
          </a:prstGeom>
        </p:spPr>
        <p:txBody>
          <a:bodyPr>
            <a:spAutoFit/>
          </a:bodyPr>
          <a:lstStyle/>
          <a:p>
            <a:pPr lvl="1" algn="r" rtl="1" fontAlgn="base"/>
            <a:r>
              <a:rPr lang="ar-SA" dirty="0" smtClean="0">
                <a:solidFill>
                  <a:schemeClr val="bg1"/>
                </a:solidFill>
                <a:latin typeface="Arial" panose="020B0604020202020204" pitchFamily="34" charset="0"/>
              </a:rPr>
              <a:t>تحسن تجربة الفرد في التفاعل على أرض الواقع.</a:t>
            </a:r>
          </a:p>
        </p:txBody>
      </p:sp>
      <p:sp>
        <p:nvSpPr>
          <p:cNvPr id="16" name="Rectangle 15"/>
          <p:cNvSpPr/>
          <p:nvPr/>
        </p:nvSpPr>
        <p:spPr>
          <a:xfrm>
            <a:off x="1237153" y="3755983"/>
            <a:ext cx="6096000" cy="1405513"/>
          </a:xfrm>
          <a:prstGeom prst="rect">
            <a:avLst/>
          </a:prstGeom>
        </p:spPr>
        <p:txBody>
          <a:bodyPr>
            <a:spAutoFit/>
          </a:bodyPr>
          <a:lstStyle/>
          <a:p>
            <a:pPr lvl="1" algn="r" rtl="1" fontAlgn="base">
              <a:spcAft>
                <a:spcPts val="1600"/>
              </a:spcAft>
            </a:pPr>
            <a:r>
              <a:rPr lang="ar-SA" dirty="0" smtClean="0">
                <a:solidFill>
                  <a:schemeClr val="bg1"/>
                </a:solidFill>
                <a:latin typeface="Arial" panose="020B0604020202020204" pitchFamily="34" charset="0"/>
              </a:rPr>
              <a:t>المعلومات المستفادة عبر تقنية الواقع المعزز تساهم في إنجاز المهام على أرض الواقع.</a:t>
            </a:r>
          </a:p>
          <a:p>
            <a:pPr lvl="1" algn="r" rtl="1" fontAlgn="base">
              <a:spcAft>
                <a:spcPts val="1600"/>
              </a:spcAft>
            </a:pPr>
            <a:r>
              <a:rPr lang="ar-SA" dirty="0" smtClean="0">
                <a:solidFill>
                  <a:schemeClr val="bg1"/>
                </a:solidFill>
                <a:latin typeface="Arial" panose="020B0604020202020204" pitchFamily="34" charset="0"/>
              </a:rPr>
              <a:t>تعدد المجالات الممكن تسخير تقنية الواقع المعزز لخدمتها، كالمجال الطبي، الإصلاحات والصيانة، الترفيه، والطيران العسكري.</a:t>
            </a:r>
            <a:endParaRPr lang="ar-SA" dirty="0">
              <a:solidFill>
                <a:schemeClr val="bg1"/>
              </a:solidFill>
              <a:latin typeface="Arial" panose="020B0604020202020204" pitchFamily="34" charset="0"/>
            </a:endParaRPr>
          </a:p>
        </p:txBody>
      </p:sp>
      <p:grpSp>
        <p:nvGrpSpPr>
          <p:cNvPr id="2564" name="Google Shape;3755;p60"/>
          <p:cNvGrpSpPr/>
          <p:nvPr/>
        </p:nvGrpSpPr>
        <p:grpSpPr>
          <a:xfrm>
            <a:off x="7475621" y="4299284"/>
            <a:ext cx="4716379" cy="2607633"/>
            <a:chOff x="727564" y="1244980"/>
            <a:chExt cx="2723128" cy="1399944"/>
          </a:xfrm>
        </p:grpSpPr>
        <p:sp>
          <p:nvSpPr>
            <p:cNvPr id="2565" name="Google Shape;3756;p60"/>
            <p:cNvSpPr/>
            <p:nvPr/>
          </p:nvSpPr>
          <p:spPr>
            <a:xfrm>
              <a:off x="727564" y="1638587"/>
              <a:ext cx="389888" cy="983230"/>
            </a:xfrm>
            <a:custGeom>
              <a:avLst/>
              <a:gdLst/>
              <a:ahLst/>
              <a:cxnLst/>
              <a:rect l="l" t="t" r="r" b="b"/>
              <a:pathLst>
                <a:path w="12165" h="30678" extrusionOk="0">
                  <a:moveTo>
                    <a:pt x="11897" y="1"/>
                  </a:moveTo>
                  <a:lnTo>
                    <a:pt x="1" y="418"/>
                  </a:lnTo>
                  <a:lnTo>
                    <a:pt x="1" y="30678"/>
                  </a:lnTo>
                  <a:lnTo>
                    <a:pt x="12165" y="30678"/>
                  </a:lnTo>
                  <a:lnTo>
                    <a:pt x="11897" y="1"/>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66" name="Google Shape;3757;p60"/>
            <p:cNvSpPr/>
            <p:nvPr/>
          </p:nvSpPr>
          <p:spPr>
            <a:xfrm>
              <a:off x="727564" y="1646086"/>
              <a:ext cx="174608" cy="975730"/>
            </a:xfrm>
            <a:custGeom>
              <a:avLst/>
              <a:gdLst/>
              <a:ahLst/>
              <a:cxnLst/>
              <a:rect l="l" t="t" r="r" b="b"/>
              <a:pathLst>
                <a:path w="5448" h="30444" extrusionOk="0">
                  <a:moveTo>
                    <a:pt x="5348" y="1"/>
                  </a:moveTo>
                  <a:lnTo>
                    <a:pt x="1" y="184"/>
                  </a:lnTo>
                  <a:lnTo>
                    <a:pt x="1" y="30444"/>
                  </a:lnTo>
                  <a:lnTo>
                    <a:pt x="5448" y="30444"/>
                  </a:lnTo>
                  <a:lnTo>
                    <a:pt x="5348" y="1"/>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67" name="Google Shape;3758;p60"/>
            <p:cNvSpPr/>
            <p:nvPr/>
          </p:nvSpPr>
          <p:spPr>
            <a:xfrm>
              <a:off x="911788" y="1650926"/>
              <a:ext cx="184800" cy="137655"/>
            </a:xfrm>
            <a:custGeom>
              <a:avLst/>
              <a:gdLst/>
              <a:ahLst/>
              <a:cxnLst/>
              <a:rect l="l" t="t" r="r" b="b"/>
              <a:pathLst>
                <a:path w="5766" h="4295" extrusionOk="0">
                  <a:moveTo>
                    <a:pt x="5765" y="0"/>
                  </a:moveTo>
                  <a:lnTo>
                    <a:pt x="1" y="201"/>
                  </a:lnTo>
                  <a:lnTo>
                    <a:pt x="1" y="4294"/>
                  </a:lnTo>
                  <a:lnTo>
                    <a:pt x="5765" y="4294"/>
                  </a:lnTo>
                  <a:lnTo>
                    <a:pt x="5765" y="0"/>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68" name="Google Shape;3759;p60"/>
            <p:cNvSpPr/>
            <p:nvPr/>
          </p:nvSpPr>
          <p:spPr>
            <a:xfrm>
              <a:off x="976048" y="1686790"/>
              <a:ext cx="56793" cy="22531"/>
            </a:xfrm>
            <a:custGeom>
              <a:avLst/>
              <a:gdLst/>
              <a:ahLst/>
              <a:cxnLst/>
              <a:rect l="l" t="t" r="r" b="b"/>
              <a:pathLst>
                <a:path w="1772" h="703" extrusionOk="0">
                  <a:moveTo>
                    <a:pt x="1" y="1"/>
                  </a:moveTo>
                  <a:lnTo>
                    <a:pt x="1" y="702"/>
                  </a:lnTo>
                  <a:lnTo>
                    <a:pt x="1772" y="702"/>
                  </a:lnTo>
                  <a:lnTo>
                    <a:pt x="1772" y="67"/>
                  </a:lnTo>
                  <a:lnTo>
                    <a:pt x="1" y="1"/>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69" name="Google Shape;3760;p60"/>
            <p:cNvSpPr/>
            <p:nvPr/>
          </p:nvSpPr>
          <p:spPr>
            <a:xfrm>
              <a:off x="974445" y="1726404"/>
              <a:ext cx="58395" cy="8077"/>
            </a:xfrm>
            <a:custGeom>
              <a:avLst/>
              <a:gdLst/>
              <a:ahLst/>
              <a:cxnLst/>
              <a:rect l="l" t="t" r="r" b="b"/>
              <a:pathLst>
                <a:path w="1822" h="252" extrusionOk="0">
                  <a:moveTo>
                    <a:pt x="1" y="1"/>
                  </a:moveTo>
                  <a:lnTo>
                    <a:pt x="1" y="252"/>
                  </a:lnTo>
                  <a:lnTo>
                    <a:pt x="1822" y="252"/>
                  </a:lnTo>
                  <a:lnTo>
                    <a:pt x="1822" y="1"/>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70" name="Google Shape;3761;p60"/>
            <p:cNvSpPr/>
            <p:nvPr/>
          </p:nvSpPr>
          <p:spPr>
            <a:xfrm>
              <a:off x="911788" y="2133951"/>
              <a:ext cx="184800" cy="137655"/>
            </a:xfrm>
            <a:custGeom>
              <a:avLst/>
              <a:gdLst/>
              <a:ahLst/>
              <a:cxnLst/>
              <a:rect l="l" t="t" r="r" b="b"/>
              <a:pathLst>
                <a:path w="5766" h="4295" extrusionOk="0">
                  <a:moveTo>
                    <a:pt x="5765" y="0"/>
                  </a:moveTo>
                  <a:lnTo>
                    <a:pt x="1" y="201"/>
                  </a:lnTo>
                  <a:lnTo>
                    <a:pt x="1" y="4294"/>
                  </a:lnTo>
                  <a:lnTo>
                    <a:pt x="5765" y="4294"/>
                  </a:lnTo>
                  <a:lnTo>
                    <a:pt x="5765" y="0"/>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71" name="Google Shape;3762;p60"/>
            <p:cNvSpPr/>
            <p:nvPr/>
          </p:nvSpPr>
          <p:spPr>
            <a:xfrm>
              <a:off x="976048" y="2169815"/>
              <a:ext cx="56793" cy="22531"/>
            </a:xfrm>
            <a:custGeom>
              <a:avLst/>
              <a:gdLst/>
              <a:ahLst/>
              <a:cxnLst/>
              <a:rect l="l" t="t" r="r" b="b"/>
              <a:pathLst>
                <a:path w="1772" h="703" extrusionOk="0">
                  <a:moveTo>
                    <a:pt x="1" y="1"/>
                  </a:moveTo>
                  <a:lnTo>
                    <a:pt x="1" y="702"/>
                  </a:lnTo>
                  <a:lnTo>
                    <a:pt x="1772" y="702"/>
                  </a:lnTo>
                  <a:lnTo>
                    <a:pt x="1772" y="67"/>
                  </a:lnTo>
                  <a:lnTo>
                    <a:pt x="1" y="1"/>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72" name="Google Shape;3763;p60"/>
            <p:cNvSpPr/>
            <p:nvPr/>
          </p:nvSpPr>
          <p:spPr>
            <a:xfrm>
              <a:off x="974445" y="2209461"/>
              <a:ext cx="58395" cy="8045"/>
            </a:xfrm>
            <a:custGeom>
              <a:avLst/>
              <a:gdLst/>
              <a:ahLst/>
              <a:cxnLst/>
              <a:rect l="l" t="t" r="r" b="b"/>
              <a:pathLst>
                <a:path w="1822" h="251" extrusionOk="0">
                  <a:moveTo>
                    <a:pt x="1" y="0"/>
                  </a:moveTo>
                  <a:lnTo>
                    <a:pt x="1" y="251"/>
                  </a:lnTo>
                  <a:lnTo>
                    <a:pt x="1822" y="251"/>
                  </a:lnTo>
                  <a:lnTo>
                    <a:pt x="1822" y="0"/>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73" name="Google Shape;3764;p60"/>
            <p:cNvSpPr/>
            <p:nvPr/>
          </p:nvSpPr>
          <p:spPr>
            <a:xfrm>
              <a:off x="911788" y="1806208"/>
              <a:ext cx="184800" cy="137655"/>
            </a:xfrm>
            <a:custGeom>
              <a:avLst/>
              <a:gdLst/>
              <a:ahLst/>
              <a:cxnLst/>
              <a:rect l="l" t="t" r="r" b="b"/>
              <a:pathLst>
                <a:path w="5766" h="4295" extrusionOk="0">
                  <a:moveTo>
                    <a:pt x="5765" y="1"/>
                  </a:moveTo>
                  <a:lnTo>
                    <a:pt x="1" y="201"/>
                  </a:lnTo>
                  <a:lnTo>
                    <a:pt x="1" y="4295"/>
                  </a:lnTo>
                  <a:lnTo>
                    <a:pt x="5765" y="4295"/>
                  </a:lnTo>
                  <a:lnTo>
                    <a:pt x="5765" y="1"/>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74" name="Google Shape;3765;p60"/>
            <p:cNvSpPr/>
            <p:nvPr/>
          </p:nvSpPr>
          <p:spPr>
            <a:xfrm>
              <a:off x="976048" y="1842104"/>
              <a:ext cx="56793" cy="22499"/>
            </a:xfrm>
            <a:custGeom>
              <a:avLst/>
              <a:gdLst/>
              <a:ahLst/>
              <a:cxnLst/>
              <a:rect l="l" t="t" r="r" b="b"/>
              <a:pathLst>
                <a:path w="1772" h="702" extrusionOk="0">
                  <a:moveTo>
                    <a:pt x="1" y="0"/>
                  </a:moveTo>
                  <a:lnTo>
                    <a:pt x="1" y="702"/>
                  </a:lnTo>
                  <a:lnTo>
                    <a:pt x="1772" y="702"/>
                  </a:lnTo>
                  <a:lnTo>
                    <a:pt x="1772" y="67"/>
                  </a:lnTo>
                  <a:lnTo>
                    <a:pt x="1" y="0"/>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75" name="Google Shape;3766;p60"/>
            <p:cNvSpPr/>
            <p:nvPr/>
          </p:nvSpPr>
          <p:spPr>
            <a:xfrm>
              <a:off x="974445" y="1881718"/>
              <a:ext cx="58395" cy="8077"/>
            </a:xfrm>
            <a:custGeom>
              <a:avLst/>
              <a:gdLst/>
              <a:ahLst/>
              <a:cxnLst/>
              <a:rect l="l" t="t" r="r" b="b"/>
              <a:pathLst>
                <a:path w="1822" h="252" extrusionOk="0">
                  <a:moveTo>
                    <a:pt x="1" y="0"/>
                  </a:moveTo>
                  <a:lnTo>
                    <a:pt x="1" y="251"/>
                  </a:lnTo>
                  <a:lnTo>
                    <a:pt x="1822" y="251"/>
                  </a:lnTo>
                  <a:lnTo>
                    <a:pt x="1822" y="0"/>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76" name="Google Shape;3767;p60"/>
            <p:cNvSpPr/>
            <p:nvPr/>
          </p:nvSpPr>
          <p:spPr>
            <a:xfrm>
              <a:off x="911788" y="2289234"/>
              <a:ext cx="184800" cy="137655"/>
            </a:xfrm>
            <a:custGeom>
              <a:avLst/>
              <a:gdLst/>
              <a:ahLst/>
              <a:cxnLst/>
              <a:rect l="l" t="t" r="r" b="b"/>
              <a:pathLst>
                <a:path w="5766" h="4295" extrusionOk="0">
                  <a:moveTo>
                    <a:pt x="5765" y="1"/>
                  </a:moveTo>
                  <a:lnTo>
                    <a:pt x="1" y="201"/>
                  </a:lnTo>
                  <a:lnTo>
                    <a:pt x="1" y="4295"/>
                  </a:lnTo>
                  <a:lnTo>
                    <a:pt x="5765" y="4295"/>
                  </a:lnTo>
                  <a:lnTo>
                    <a:pt x="5765" y="1"/>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77" name="Google Shape;3768;p60"/>
            <p:cNvSpPr/>
            <p:nvPr/>
          </p:nvSpPr>
          <p:spPr>
            <a:xfrm>
              <a:off x="976048" y="2325130"/>
              <a:ext cx="56793" cy="22499"/>
            </a:xfrm>
            <a:custGeom>
              <a:avLst/>
              <a:gdLst/>
              <a:ahLst/>
              <a:cxnLst/>
              <a:rect l="l" t="t" r="r" b="b"/>
              <a:pathLst>
                <a:path w="1772" h="702" extrusionOk="0">
                  <a:moveTo>
                    <a:pt x="1" y="0"/>
                  </a:moveTo>
                  <a:lnTo>
                    <a:pt x="1" y="702"/>
                  </a:lnTo>
                  <a:lnTo>
                    <a:pt x="1772" y="702"/>
                  </a:lnTo>
                  <a:lnTo>
                    <a:pt x="1772" y="67"/>
                  </a:lnTo>
                  <a:lnTo>
                    <a:pt x="1" y="0"/>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78" name="Google Shape;3769;p60"/>
            <p:cNvSpPr/>
            <p:nvPr/>
          </p:nvSpPr>
          <p:spPr>
            <a:xfrm>
              <a:off x="974445" y="2364743"/>
              <a:ext cx="58395" cy="8077"/>
            </a:xfrm>
            <a:custGeom>
              <a:avLst/>
              <a:gdLst/>
              <a:ahLst/>
              <a:cxnLst/>
              <a:rect l="l" t="t" r="r" b="b"/>
              <a:pathLst>
                <a:path w="1822" h="252" extrusionOk="0">
                  <a:moveTo>
                    <a:pt x="1" y="1"/>
                  </a:moveTo>
                  <a:lnTo>
                    <a:pt x="1" y="251"/>
                  </a:lnTo>
                  <a:lnTo>
                    <a:pt x="1822" y="251"/>
                  </a:lnTo>
                  <a:lnTo>
                    <a:pt x="1822" y="1"/>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79" name="Google Shape;3770;p60"/>
            <p:cNvSpPr/>
            <p:nvPr/>
          </p:nvSpPr>
          <p:spPr>
            <a:xfrm>
              <a:off x="913935" y="2444548"/>
              <a:ext cx="184255" cy="137655"/>
            </a:xfrm>
            <a:custGeom>
              <a:avLst/>
              <a:gdLst/>
              <a:ahLst/>
              <a:cxnLst/>
              <a:rect l="l" t="t" r="r" b="b"/>
              <a:pathLst>
                <a:path w="5749" h="4295" extrusionOk="0">
                  <a:moveTo>
                    <a:pt x="5748" y="0"/>
                  </a:moveTo>
                  <a:lnTo>
                    <a:pt x="1" y="201"/>
                  </a:lnTo>
                  <a:lnTo>
                    <a:pt x="1" y="4294"/>
                  </a:lnTo>
                  <a:lnTo>
                    <a:pt x="5748" y="4294"/>
                  </a:lnTo>
                  <a:lnTo>
                    <a:pt x="5748" y="0"/>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80" name="Google Shape;3771;p60"/>
            <p:cNvSpPr/>
            <p:nvPr/>
          </p:nvSpPr>
          <p:spPr>
            <a:xfrm>
              <a:off x="978195" y="2480412"/>
              <a:ext cx="56793" cy="22531"/>
            </a:xfrm>
            <a:custGeom>
              <a:avLst/>
              <a:gdLst/>
              <a:ahLst/>
              <a:cxnLst/>
              <a:rect l="l" t="t" r="r" b="b"/>
              <a:pathLst>
                <a:path w="1772" h="703" extrusionOk="0">
                  <a:moveTo>
                    <a:pt x="1" y="1"/>
                  </a:moveTo>
                  <a:lnTo>
                    <a:pt x="1" y="702"/>
                  </a:lnTo>
                  <a:lnTo>
                    <a:pt x="1772" y="702"/>
                  </a:lnTo>
                  <a:lnTo>
                    <a:pt x="1772" y="67"/>
                  </a:lnTo>
                  <a:lnTo>
                    <a:pt x="1" y="1"/>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81" name="Google Shape;3772;p60"/>
            <p:cNvSpPr/>
            <p:nvPr/>
          </p:nvSpPr>
          <p:spPr>
            <a:xfrm>
              <a:off x="976593" y="2520058"/>
              <a:ext cx="58395" cy="8045"/>
            </a:xfrm>
            <a:custGeom>
              <a:avLst/>
              <a:gdLst/>
              <a:ahLst/>
              <a:cxnLst/>
              <a:rect l="l" t="t" r="r" b="b"/>
              <a:pathLst>
                <a:path w="1822" h="251" extrusionOk="0">
                  <a:moveTo>
                    <a:pt x="0" y="0"/>
                  </a:moveTo>
                  <a:lnTo>
                    <a:pt x="0" y="251"/>
                  </a:lnTo>
                  <a:lnTo>
                    <a:pt x="1822" y="251"/>
                  </a:lnTo>
                  <a:lnTo>
                    <a:pt x="1822" y="0"/>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82" name="Google Shape;3773;p60"/>
            <p:cNvSpPr/>
            <p:nvPr/>
          </p:nvSpPr>
          <p:spPr>
            <a:xfrm>
              <a:off x="914480" y="1971137"/>
              <a:ext cx="184223" cy="138200"/>
            </a:xfrm>
            <a:custGeom>
              <a:avLst/>
              <a:gdLst/>
              <a:ahLst/>
              <a:cxnLst/>
              <a:rect l="l" t="t" r="r" b="b"/>
              <a:pathLst>
                <a:path w="5748" h="4312" extrusionOk="0">
                  <a:moveTo>
                    <a:pt x="0" y="1"/>
                  </a:moveTo>
                  <a:lnTo>
                    <a:pt x="0" y="4312"/>
                  </a:lnTo>
                  <a:lnTo>
                    <a:pt x="5748" y="4312"/>
                  </a:lnTo>
                  <a:lnTo>
                    <a:pt x="5748" y="1"/>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83" name="Google Shape;3774;p60"/>
            <p:cNvSpPr/>
            <p:nvPr/>
          </p:nvSpPr>
          <p:spPr>
            <a:xfrm>
              <a:off x="980887" y="2031648"/>
              <a:ext cx="53043" cy="20929"/>
            </a:xfrm>
            <a:custGeom>
              <a:avLst/>
              <a:gdLst/>
              <a:ahLst/>
              <a:cxnLst/>
              <a:rect l="l" t="t" r="r" b="b"/>
              <a:pathLst>
                <a:path w="1655" h="653" extrusionOk="0">
                  <a:moveTo>
                    <a:pt x="0" y="1"/>
                  </a:moveTo>
                  <a:lnTo>
                    <a:pt x="0" y="652"/>
                  </a:lnTo>
                  <a:lnTo>
                    <a:pt x="1654" y="652"/>
                  </a:lnTo>
                  <a:lnTo>
                    <a:pt x="1654" y="51"/>
                  </a:lnTo>
                  <a:lnTo>
                    <a:pt x="0" y="1"/>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84" name="Google Shape;3775;p60"/>
            <p:cNvSpPr/>
            <p:nvPr/>
          </p:nvSpPr>
          <p:spPr>
            <a:xfrm>
              <a:off x="979253" y="2068601"/>
              <a:ext cx="54677" cy="8077"/>
            </a:xfrm>
            <a:custGeom>
              <a:avLst/>
              <a:gdLst/>
              <a:ahLst/>
              <a:cxnLst/>
              <a:rect l="l" t="t" r="r" b="b"/>
              <a:pathLst>
                <a:path w="1706" h="252" extrusionOk="0">
                  <a:moveTo>
                    <a:pt x="1" y="1"/>
                  </a:moveTo>
                  <a:lnTo>
                    <a:pt x="1" y="251"/>
                  </a:lnTo>
                  <a:lnTo>
                    <a:pt x="1705" y="251"/>
                  </a:lnTo>
                  <a:lnTo>
                    <a:pt x="1705" y="1"/>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85" name="Google Shape;3776;p60"/>
            <p:cNvSpPr/>
            <p:nvPr/>
          </p:nvSpPr>
          <p:spPr>
            <a:xfrm>
              <a:off x="2245741" y="2501821"/>
              <a:ext cx="369537" cy="120540"/>
            </a:xfrm>
            <a:custGeom>
              <a:avLst/>
              <a:gdLst/>
              <a:ahLst/>
              <a:cxnLst/>
              <a:rect l="l" t="t" r="r" b="b"/>
              <a:pathLst>
                <a:path w="11530" h="3761" extrusionOk="0">
                  <a:moveTo>
                    <a:pt x="1" y="1"/>
                  </a:moveTo>
                  <a:lnTo>
                    <a:pt x="1" y="3760"/>
                  </a:lnTo>
                  <a:lnTo>
                    <a:pt x="11530" y="3760"/>
                  </a:lnTo>
                  <a:lnTo>
                    <a:pt x="11530" y="1"/>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86" name="Google Shape;3777;p60"/>
            <p:cNvSpPr/>
            <p:nvPr/>
          </p:nvSpPr>
          <p:spPr>
            <a:xfrm>
              <a:off x="2230228" y="2468617"/>
              <a:ext cx="397901" cy="33236"/>
            </a:xfrm>
            <a:custGeom>
              <a:avLst/>
              <a:gdLst/>
              <a:ahLst/>
              <a:cxnLst/>
              <a:rect l="l" t="t" r="r" b="b"/>
              <a:pathLst>
                <a:path w="12415" h="1037" extrusionOk="0">
                  <a:moveTo>
                    <a:pt x="0" y="1"/>
                  </a:moveTo>
                  <a:lnTo>
                    <a:pt x="0" y="1037"/>
                  </a:lnTo>
                  <a:lnTo>
                    <a:pt x="12415" y="1037"/>
                  </a:lnTo>
                  <a:lnTo>
                    <a:pt x="12415" y="1"/>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87" name="Google Shape;3778;p60"/>
            <p:cNvSpPr/>
            <p:nvPr/>
          </p:nvSpPr>
          <p:spPr>
            <a:xfrm>
              <a:off x="2421407" y="2468617"/>
              <a:ext cx="206722" cy="153744"/>
            </a:xfrm>
            <a:custGeom>
              <a:avLst/>
              <a:gdLst/>
              <a:ahLst/>
              <a:cxnLst/>
              <a:rect l="l" t="t" r="r" b="b"/>
              <a:pathLst>
                <a:path w="6450" h="4797" extrusionOk="0">
                  <a:moveTo>
                    <a:pt x="0" y="1"/>
                  </a:moveTo>
                  <a:lnTo>
                    <a:pt x="0" y="953"/>
                  </a:lnTo>
                  <a:lnTo>
                    <a:pt x="251" y="4796"/>
                  </a:lnTo>
                  <a:lnTo>
                    <a:pt x="6049" y="4796"/>
                  </a:lnTo>
                  <a:lnTo>
                    <a:pt x="6049" y="1037"/>
                  </a:lnTo>
                  <a:lnTo>
                    <a:pt x="6450" y="1037"/>
                  </a:lnTo>
                  <a:lnTo>
                    <a:pt x="6450" y="1"/>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88" name="Google Shape;3779;p60"/>
            <p:cNvSpPr/>
            <p:nvPr/>
          </p:nvSpPr>
          <p:spPr>
            <a:xfrm>
              <a:off x="2297694" y="2521660"/>
              <a:ext cx="74452" cy="17692"/>
            </a:xfrm>
            <a:custGeom>
              <a:avLst/>
              <a:gdLst/>
              <a:ahLst/>
              <a:cxnLst/>
              <a:rect l="l" t="t" r="r" b="b"/>
              <a:pathLst>
                <a:path w="2323" h="552" extrusionOk="0">
                  <a:moveTo>
                    <a:pt x="0" y="0"/>
                  </a:moveTo>
                  <a:lnTo>
                    <a:pt x="0" y="552"/>
                  </a:lnTo>
                  <a:lnTo>
                    <a:pt x="2323" y="552"/>
                  </a:lnTo>
                  <a:lnTo>
                    <a:pt x="2323" y="0"/>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89" name="Google Shape;3780;p60"/>
            <p:cNvSpPr/>
            <p:nvPr/>
          </p:nvSpPr>
          <p:spPr>
            <a:xfrm>
              <a:off x="2288047" y="2562332"/>
              <a:ext cx="95894" cy="38075"/>
            </a:xfrm>
            <a:custGeom>
              <a:avLst/>
              <a:gdLst/>
              <a:ahLst/>
              <a:cxnLst/>
              <a:rect l="l" t="t" r="r" b="b"/>
              <a:pathLst>
                <a:path w="2992" h="1188" extrusionOk="0">
                  <a:moveTo>
                    <a:pt x="1" y="1"/>
                  </a:moveTo>
                  <a:lnTo>
                    <a:pt x="1" y="1187"/>
                  </a:lnTo>
                  <a:lnTo>
                    <a:pt x="2992" y="1187"/>
                  </a:lnTo>
                  <a:lnTo>
                    <a:pt x="2992" y="1"/>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90" name="Google Shape;3781;p60"/>
            <p:cNvSpPr/>
            <p:nvPr/>
          </p:nvSpPr>
          <p:spPr>
            <a:xfrm>
              <a:off x="2722901" y="2348141"/>
              <a:ext cx="369504" cy="120508"/>
            </a:xfrm>
            <a:custGeom>
              <a:avLst/>
              <a:gdLst/>
              <a:ahLst/>
              <a:cxnLst/>
              <a:rect l="l" t="t" r="r" b="b"/>
              <a:pathLst>
                <a:path w="11529" h="3760" extrusionOk="0">
                  <a:moveTo>
                    <a:pt x="0" y="1"/>
                  </a:moveTo>
                  <a:lnTo>
                    <a:pt x="0" y="3760"/>
                  </a:lnTo>
                  <a:lnTo>
                    <a:pt x="11529" y="3760"/>
                  </a:lnTo>
                  <a:lnTo>
                    <a:pt x="11529" y="1"/>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91" name="Google Shape;3782;p60"/>
            <p:cNvSpPr/>
            <p:nvPr/>
          </p:nvSpPr>
          <p:spPr>
            <a:xfrm>
              <a:off x="2707902" y="2314938"/>
              <a:ext cx="397901" cy="33236"/>
            </a:xfrm>
            <a:custGeom>
              <a:avLst/>
              <a:gdLst/>
              <a:ahLst/>
              <a:cxnLst/>
              <a:rect l="l" t="t" r="r" b="b"/>
              <a:pathLst>
                <a:path w="12415" h="1037" extrusionOk="0">
                  <a:moveTo>
                    <a:pt x="0" y="1"/>
                  </a:moveTo>
                  <a:lnTo>
                    <a:pt x="0" y="1037"/>
                  </a:lnTo>
                  <a:lnTo>
                    <a:pt x="12415" y="1037"/>
                  </a:lnTo>
                  <a:lnTo>
                    <a:pt x="12415" y="1"/>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92" name="Google Shape;3783;p60"/>
            <p:cNvSpPr/>
            <p:nvPr/>
          </p:nvSpPr>
          <p:spPr>
            <a:xfrm>
              <a:off x="2899080" y="2314938"/>
              <a:ext cx="206722" cy="153712"/>
            </a:xfrm>
            <a:custGeom>
              <a:avLst/>
              <a:gdLst/>
              <a:ahLst/>
              <a:cxnLst/>
              <a:rect l="l" t="t" r="r" b="b"/>
              <a:pathLst>
                <a:path w="6450" h="4796" extrusionOk="0">
                  <a:moveTo>
                    <a:pt x="0" y="1"/>
                  </a:moveTo>
                  <a:lnTo>
                    <a:pt x="0" y="953"/>
                  </a:lnTo>
                  <a:lnTo>
                    <a:pt x="234" y="4796"/>
                  </a:lnTo>
                  <a:lnTo>
                    <a:pt x="6032" y="4796"/>
                  </a:lnTo>
                  <a:lnTo>
                    <a:pt x="6032" y="1037"/>
                  </a:lnTo>
                  <a:lnTo>
                    <a:pt x="6450" y="1037"/>
                  </a:lnTo>
                  <a:lnTo>
                    <a:pt x="6450" y="1"/>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93" name="Google Shape;3784;p60"/>
            <p:cNvSpPr/>
            <p:nvPr/>
          </p:nvSpPr>
          <p:spPr>
            <a:xfrm>
              <a:off x="2774822" y="2367436"/>
              <a:ext cx="75029" cy="18236"/>
            </a:xfrm>
            <a:custGeom>
              <a:avLst/>
              <a:gdLst/>
              <a:ahLst/>
              <a:cxnLst/>
              <a:rect l="l" t="t" r="r" b="b"/>
              <a:pathLst>
                <a:path w="2341" h="569" extrusionOk="0">
                  <a:moveTo>
                    <a:pt x="1" y="0"/>
                  </a:moveTo>
                  <a:lnTo>
                    <a:pt x="1" y="568"/>
                  </a:lnTo>
                  <a:lnTo>
                    <a:pt x="2340" y="568"/>
                  </a:lnTo>
                  <a:lnTo>
                    <a:pt x="2340" y="0"/>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94" name="Google Shape;3785;p60"/>
            <p:cNvSpPr/>
            <p:nvPr/>
          </p:nvSpPr>
          <p:spPr>
            <a:xfrm>
              <a:off x="2765207" y="2408107"/>
              <a:ext cx="96406" cy="38588"/>
            </a:xfrm>
            <a:custGeom>
              <a:avLst/>
              <a:gdLst/>
              <a:ahLst/>
              <a:cxnLst/>
              <a:rect l="l" t="t" r="r" b="b"/>
              <a:pathLst>
                <a:path w="3008" h="1204" extrusionOk="0">
                  <a:moveTo>
                    <a:pt x="0" y="1"/>
                  </a:moveTo>
                  <a:lnTo>
                    <a:pt x="0" y="1204"/>
                  </a:lnTo>
                  <a:lnTo>
                    <a:pt x="3008" y="1204"/>
                  </a:lnTo>
                  <a:lnTo>
                    <a:pt x="3008" y="1"/>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95" name="Google Shape;3786;p60"/>
            <p:cNvSpPr/>
            <p:nvPr/>
          </p:nvSpPr>
          <p:spPr>
            <a:xfrm>
              <a:off x="2705209" y="2501821"/>
              <a:ext cx="369537" cy="120540"/>
            </a:xfrm>
            <a:custGeom>
              <a:avLst/>
              <a:gdLst/>
              <a:ahLst/>
              <a:cxnLst/>
              <a:rect l="l" t="t" r="r" b="b"/>
              <a:pathLst>
                <a:path w="11530" h="3761" extrusionOk="0">
                  <a:moveTo>
                    <a:pt x="1" y="1"/>
                  </a:moveTo>
                  <a:lnTo>
                    <a:pt x="1" y="3760"/>
                  </a:lnTo>
                  <a:lnTo>
                    <a:pt x="11530" y="3760"/>
                  </a:lnTo>
                  <a:lnTo>
                    <a:pt x="11530" y="1"/>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96" name="Google Shape;3787;p60"/>
            <p:cNvSpPr/>
            <p:nvPr/>
          </p:nvSpPr>
          <p:spPr>
            <a:xfrm>
              <a:off x="2689697" y="2468617"/>
              <a:ext cx="398446" cy="33236"/>
            </a:xfrm>
            <a:custGeom>
              <a:avLst/>
              <a:gdLst/>
              <a:ahLst/>
              <a:cxnLst/>
              <a:rect l="l" t="t" r="r" b="b"/>
              <a:pathLst>
                <a:path w="12432" h="1037" extrusionOk="0">
                  <a:moveTo>
                    <a:pt x="0" y="1"/>
                  </a:moveTo>
                  <a:lnTo>
                    <a:pt x="0" y="1037"/>
                  </a:lnTo>
                  <a:lnTo>
                    <a:pt x="12431" y="1037"/>
                  </a:lnTo>
                  <a:lnTo>
                    <a:pt x="12431" y="1"/>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97" name="Google Shape;3788;p60"/>
            <p:cNvSpPr/>
            <p:nvPr/>
          </p:nvSpPr>
          <p:spPr>
            <a:xfrm>
              <a:off x="2881388" y="2468617"/>
              <a:ext cx="206210" cy="153744"/>
            </a:xfrm>
            <a:custGeom>
              <a:avLst/>
              <a:gdLst/>
              <a:ahLst/>
              <a:cxnLst/>
              <a:rect l="l" t="t" r="r" b="b"/>
              <a:pathLst>
                <a:path w="6434" h="4797" extrusionOk="0">
                  <a:moveTo>
                    <a:pt x="1" y="1"/>
                  </a:moveTo>
                  <a:lnTo>
                    <a:pt x="1" y="953"/>
                  </a:lnTo>
                  <a:lnTo>
                    <a:pt x="235" y="4796"/>
                  </a:lnTo>
                  <a:lnTo>
                    <a:pt x="6033" y="4796"/>
                  </a:lnTo>
                  <a:lnTo>
                    <a:pt x="6033" y="1037"/>
                  </a:lnTo>
                  <a:lnTo>
                    <a:pt x="6434" y="1037"/>
                  </a:lnTo>
                  <a:lnTo>
                    <a:pt x="6434" y="1"/>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98" name="Google Shape;3789;p60"/>
            <p:cNvSpPr/>
            <p:nvPr/>
          </p:nvSpPr>
          <p:spPr>
            <a:xfrm>
              <a:off x="2757162" y="2521660"/>
              <a:ext cx="74997" cy="17692"/>
            </a:xfrm>
            <a:custGeom>
              <a:avLst/>
              <a:gdLst/>
              <a:ahLst/>
              <a:cxnLst/>
              <a:rect l="l" t="t" r="r" b="b"/>
              <a:pathLst>
                <a:path w="2340" h="552" extrusionOk="0">
                  <a:moveTo>
                    <a:pt x="0" y="0"/>
                  </a:moveTo>
                  <a:lnTo>
                    <a:pt x="0" y="552"/>
                  </a:lnTo>
                  <a:lnTo>
                    <a:pt x="2340" y="552"/>
                  </a:lnTo>
                  <a:lnTo>
                    <a:pt x="2340" y="0"/>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599" name="Google Shape;3790;p60"/>
            <p:cNvSpPr/>
            <p:nvPr/>
          </p:nvSpPr>
          <p:spPr>
            <a:xfrm>
              <a:off x="2747515" y="2562332"/>
              <a:ext cx="96438" cy="38075"/>
            </a:xfrm>
            <a:custGeom>
              <a:avLst/>
              <a:gdLst/>
              <a:ahLst/>
              <a:cxnLst/>
              <a:rect l="l" t="t" r="r" b="b"/>
              <a:pathLst>
                <a:path w="3009" h="1188" extrusionOk="0">
                  <a:moveTo>
                    <a:pt x="1" y="1"/>
                  </a:moveTo>
                  <a:lnTo>
                    <a:pt x="1" y="1187"/>
                  </a:lnTo>
                  <a:lnTo>
                    <a:pt x="3008" y="1187"/>
                  </a:lnTo>
                  <a:lnTo>
                    <a:pt x="3008" y="1"/>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00" name="Google Shape;3791;p60"/>
            <p:cNvSpPr/>
            <p:nvPr/>
          </p:nvSpPr>
          <p:spPr>
            <a:xfrm>
              <a:off x="3060804" y="1638074"/>
              <a:ext cx="389888" cy="983198"/>
            </a:xfrm>
            <a:custGeom>
              <a:avLst/>
              <a:gdLst/>
              <a:ahLst/>
              <a:cxnLst/>
              <a:rect l="l" t="t" r="r" b="b"/>
              <a:pathLst>
                <a:path w="12165" h="30677" extrusionOk="0">
                  <a:moveTo>
                    <a:pt x="284" y="0"/>
                  </a:moveTo>
                  <a:lnTo>
                    <a:pt x="0" y="30677"/>
                  </a:lnTo>
                  <a:lnTo>
                    <a:pt x="12164" y="30677"/>
                  </a:lnTo>
                  <a:lnTo>
                    <a:pt x="12164" y="418"/>
                  </a:lnTo>
                  <a:lnTo>
                    <a:pt x="284" y="0"/>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01" name="Google Shape;3792;p60"/>
            <p:cNvSpPr/>
            <p:nvPr/>
          </p:nvSpPr>
          <p:spPr>
            <a:xfrm>
              <a:off x="3276084" y="1645541"/>
              <a:ext cx="174608" cy="975730"/>
            </a:xfrm>
            <a:custGeom>
              <a:avLst/>
              <a:gdLst/>
              <a:ahLst/>
              <a:cxnLst/>
              <a:rect l="l" t="t" r="r" b="b"/>
              <a:pathLst>
                <a:path w="5448" h="30444" extrusionOk="0">
                  <a:moveTo>
                    <a:pt x="100" y="1"/>
                  </a:moveTo>
                  <a:lnTo>
                    <a:pt x="0" y="30444"/>
                  </a:lnTo>
                  <a:lnTo>
                    <a:pt x="5447" y="30444"/>
                  </a:lnTo>
                  <a:lnTo>
                    <a:pt x="5447" y="185"/>
                  </a:lnTo>
                  <a:lnTo>
                    <a:pt x="100" y="1"/>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02" name="Google Shape;3793;p60"/>
            <p:cNvSpPr/>
            <p:nvPr/>
          </p:nvSpPr>
          <p:spPr>
            <a:xfrm>
              <a:off x="3082214" y="1650381"/>
              <a:ext cx="184255" cy="137655"/>
            </a:xfrm>
            <a:custGeom>
              <a:avLst/>
              <a:gdLst/>
              <a:ahLst/>
              <a:cxnLst/>
              <a:rect l="l" t="t" r="r" b="b"/>
              <a:pathLst>
                <a:path w="5749" h="4295" extrusionOk="0">
                  <a:moveTo>
                    <a:pt x="1" y="0"/>
                  </a:moveTo>
                  <a:lnTo>
                    <a:pt x="1" y="4294"/>
                  </a:lnTo>
                  <a:lnTo>
                    <a:pt x="5748" y="4294"/>
                  </a:lnTo>
                  <a:lnTo>
                    <a:pt x="5748" y="201"/>
                  </a:lnTo>
                  <a:lnTo>
                    <a:pt x="1" y="0"/>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03" name="Google Shape;3794;p60"/>
            <p:cNvSpPr/>
            <p:nvPr/>
          </p:nvSpPr>
          <p:spPr>
            <a:xfrm>
              <a:off x="3145416" y="1686245"/>
              <a:ext cx="56793" cy="22531"/>
            </a:xfrm>
            <a:custGeom>
              <a:avLst/>
              <a:gdLst/>
              <a:ahLst/>
              <a:cxnLst/>
              <a:rect l="l" t="t" r="r" b="b"/>
              <a:pathLst>
                <a:path w="1772" h="703" extrusionOk="0">
                  <a:moveTo>
                    <a:pt x="1771" y="1"/>
                  </a:moveTo>
                  <a:lnTo>
                    <a:pt x="0" y="68"/>
                  </a:lnTo>
                  <a:lnTo>
                    <a:pt x="0" y="703"/>
                  </a:lnTo>
                  <a:lnTo>
                    <a:pt x="1771" y="703"/>
                  </a:lnTo>
                  <a:lnTo>
                    <a:pt x="1771" y="1"/>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04" name="Google Shape;3795;p60"/>
            <p:cNvSpPr/>
            <p:nvPr/>
          </p:nvSpPr>
          <p:spPr>
            <a:xfrm>
              <a:off x="3145416" y="1725891"/>
              <a:ext cx="58395" cy="8045"/>
            </a:xfrm>
            <a:custGeom>
              <a:avLst/>
              <a:gdLst/>
              <a:ahLst/>
              <a:cxnLst/>
              <a:rect l="l" t="t" r="r" b="b"/>
              <a:pathLst>
                <a:path w="1822" h="251" extrusionOk="0">
                  <a:moveTo>
                    <a:pt x="0" y="0"/>
                  </a:moveTo>
                  <a:lnTo>
                    <a:pt x="0" y="251"/>
                  </a:lnTo>
                  <a:lnTo>
                    <a:pt x="1821" y="251"/>
                  </a:lnTo>
                  <a:lnTo>
                    <a:pt x="1821" y="0"/>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05" name="Google Shape;3796;p60"/>
            <p:cNvSpPr/>
            <p:nvPr/>
          </p:nvSpPr>
          <p:spPr>
            <a:xfrm>
              <a:off x="3082214" y="2133406"/>
              <a:ext cx="184255" cy="137655"/>
            </a:xfrm>
            <a:custGeom>
              <a:avLst/>
              <a:gdLst/>
              <a:ahLst/>
              <a:cxnLst/>
              <a:rect l="l" t="t" r="r" b="b"/>
              <a:pathLst>
                <a:path w="5749" h="4295" extrusionOk="0">
                  <a:moveTo>
                    <a:pt x="1" y="0"/>
                  </a:moveTo>
                  <a:lnTo>
                    <a:pt x="1" y="4295"/>
                  </a:lnTo>
                  <a:lnTo>
                    <a:pt x="5748" y="4295"/>
                  </a:lnTo>
                  <a:lnTo>
                    <a:pt x="5748" y="201"/>
                  </a:lnTo>
                  <a:lnTo>
                    <a:pt x="1" y="0"/>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06" name="Google Shape;3797;p60"/>
            <p:cNvSpPr/>
            <p:nvPr/>
          </p:nvSpPr>
          <p:spPr>
            <a:xfrm>
              <a:off x="3145416" y="2169270"/>
              <a:ext cx="56793" cy="22531"/>
            </a:xfrm>
            <a:custGeom>
              <a:avLst/>
              <a:gdLst/>
              <a:ahLst/>
              <a:cxnLst/>
              <a:rect l="l" t="t" r="r" b="b"/>
              <a:pathLst>
                <a:path w="1772" h="703" extrusionOk="0">
                  <a:moveTo>
                    <a:pt x="1771" y="1"/>
                  </a:moveTo>
                  <a:lnTo>
                    <a:pt x="0" y="68"/>
                  </a:lnTo>
                  <a:lnTo>
                    <a:pt x="0" y="703"/>
                  </a:lnTo>
                  <a:lnTo>
                    <a:pt x="1771" y="703"/>
                  </a:lnTo>
                  <a:lnTo>
                    <a:pt x="1771" y="1"/>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07" name="Google Shape;3798;p60"/>
            <p:cNvSpPr/>
            <p:nvPr/>
          </p:nvSpPr>
          <p:spPr>
            <a:xfrm>
              <a:off x="3145416" y="2208916"/>
              <a:ext cx="58395" cy="8045"/>
            </a:xfrm>
            <a:custGeom>
              <a:avLst/>
              <a:gdLst/>
              <a:ahLst/>
              <a:cxnLst/>
              <a:rect l="l" t="t" r="r" b="b"/>
              <a:pathLst>
                <a:path w="1822" h="251" extrusionOk="0">
                  <a:moveTo>
                    <a:pt x="0" y="0"/>
                  </a:moveTo>
                  <a:lnTo>
                    <a:pt x="0" y="251"/>
                  </a:lnTo>
                  <a:lnTo>
                    <a:pt x="1821" y="251"/>
                  </a:lnTo>
                  <a:lnTo>
                    <a:pt x="1821" y="0"/>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08" name="Google Shape;3799;p60"/>
            <p:cNvSpPr/>
            <p:nvPr/>
          </p:nvSpPr>
          <p:spPr>
            <a:xfrm>
              <a:off x="3082214" y="1805663"/>
              <a:ext cx="184255" cy="137655"/>
            </a:xfrm>
            <a:custGeom>
              <a:avLst/>
              <a:gdLst/>
              <a:ahLst/>
              <a:cxnLst/>
              <a:rect l="l" t="t" r="r" b="b"/>
              <a:pathLst>
                <a:path w="5749" h="4295" extrusionOk="0">
                  <a:moveTo>
                    <a:pt x="1" y="1"/>
                  </a:moveTo>
                  <a:lnTo>
                    <a:pt x="1" y="4295"/>
                  </a:lnTo>
                  <a:lnTo>
                    <a:pt x="5748" y="4295"/>
                  </a:lnTo>
                  <a:lnTo>
                    <a:pt x="5748" y="201"/>
                  </a:lnTo>
                  <a:lnTo>
                    <a:pt x="1" y="1"/>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09" name="Google Shape;3800;p60"/>
            <p:cNvSpPr/>
            <p:nvPr/>
          </p:nvSpPr>
          <p:spPr>
            <a:xfrm>
              <a:off x="3145416" y="1841559"/>
              <a:ext cx="56793" cy="22531"/>
            </a:xfrm>
            <a:custGeom>
              <a:avLst/>
              <a:gdLst/>
              <a:ahLst/>
              <a:cxnLst/>
              <a:rect l="l" t="t" r="r" b="b"/>
              <a:pathLst>
                <a:path w="1772" h="703" extrusionOk="0">
                  <a:moveTo>
                    <a:pt x="1771" y="0"/>
                  </a:moveTo>
                  <a:lnTo>
                    <a:pt x="0" y="67"/>
                  </a:lnTo>
                  <a:lnTo>
                    <a:pt x="0" y="702"/>
                  </a:lnTo>
                  <a:lnTo>
                    <a:pt x="1771" y="702"/>
                  </a:lnTo>
                  <a:lnTo>
                    <a:pt x="1771" y="0"/>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10" name="Google Shape;3801;p60"/>
            <p:cNvSpPr/>
            <p:nvPr/>
          </p:nvSpPr>
          <p:spPr>
            <a:xfrm>
              <a:off x="3145416" y="1881173"/>
              <a:ext cx="58395" cy="8077"/>
            </a:xfrm>
            <a:custGeom>
              <a:avLst/>
              <a:gdLst/>
              <a:ahLst/>
              <a:cxnLst/>
              <a:rect l="l" t="t" r="r" b="b"/>
              <a:pathLst>
                <a:path w="1822" h="252" extrusionOk="0">
                  <a:moveTo>
                    <a:pt x="0" y="1"/>
                  </a:moveTo>
                  <a:lnTo>
                    <a:pt x="0" y="251"/>
                  </a:lnTo>
                  <a:lnTo>
                    <a:pt x="1821" y="251"/>
                  </a:lnTo>
                  <a:lnTo>
                    <a:pt x="1821" y="1"/>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11" name="Google Shape;3802;p60"/>
            <p:cNvSpPr/>
            <p:nvPr/>
          </p:nvSpPr>
          <p:spPr>
            <a:xfrm>
              <a:off x="3082214" y="2288689"/>
              <a:ext cx="184255" cy="137687"/>
            </a:xfrm>
            <a:custGeom>
              <a:avLst/>
              <a:gdLst/>
              <a:ahLst/>
              <a:cxnLst/>
              <a:rect l="l" t="t" r="r" b="b"/>
              <a:pathLst>
                <a:path w="5749" h="4296" extrusionOk="0">
                  <a:moveTo>
                    <a:pt x="1" y="1"/>
                  </a:moveTo>
                  <a:lnTo>
                    <a:pt x="1" y="4295"/>
                  </a:lnTo>
                  <a:lnTo>
                    <a:pt x="5748" y="4295"/>
                  </a:lnTo>
                  <a:lnTo>
                    <a:pt x="5748" y="201"/>
                  </a:lnTo>
                  <a:lnTo>
                    <a:pt x="1" y="1"/>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12" name="Google Shape;3803;p60"/>
            <p:cNvSpPr/>
            <p:nvPr/>
          </p:nvSpPr>
          <p:spPr>
            <a:xfrm>
              <a:off x="3145416" y="2324585"/>
              <a:ext cx="56793" cy="22531"/>
            </a:xfrm>
            <a:custGeom>
              <a:avLst/>
              <a:gdLst/>
              <a:ahLst/>
              <a:cxnLst/>
              <a:rect l="l" t="t" r="r" b="b"/>
              <a:pathLst>
                <a:path w="1772" h="703" extrusionOk="0">
                  <a:moveTo>
                    <a:pt x="1771" y="0"/>
                  </a:moveTo>
                  <a:lnTo>
                    <a:pt x="0" y="67"/>
                  </a:lnTo>
                  <a:lnTo>
                    <a:pt x="0" y="702"/>
                  </a:lnTo>
                  <a:lnTo>
                    <a:pt x="1771" y="702"/>
                  </a:lnTo>
                  <a:lnTo>
                    <a:pt x="1771" y="0"/>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13" name="Google Shape;3804;p60"/>
            <p:cNvSpPr/>
            <p:nvPr/>
          </p:nvSpPr>
          <p:spPr>
            <a:xfrm>
              <a:off x="3145416" y="2364199"/>
              <a:ext cx="58395" cy="8077"/>
            </a:xfrm>
            <a:custGeom>
              <a:avLst/>
              <a:gdLst/>
              <a:ahLst/>
              <a:cxnLst/>
              <a:rect l="l" t="t" r="r" b="b"/>
              <a:pathLst>
                <a:path w="1822" h="252" extrusionOk="0">
                  <a:moveTo>
                    <a:pt x="0" y="1"/>
                  </a:moveTo>
                  <a:lnTo>
                    <a:pt x="0" y="251"/>
                  </a:lnTo>
                  <a:lnTo>
                    <a:pt x="1821" y="251"/>
                  </a:lnTo>
                  <a:lnTo>
                    <a:pt x="1821" y="1"/>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14" name="Google Shape;3805;p60"/>
            <p:cNvSpPr/>
            <p:nvPr/>
          </p:nvSpPr>
          <p:spPr>
            <a:xfrm>
              <a:off x="3080066" y="2444003"/>
              <a:ext cx="184255" cy="137655"/>
            </a:xfrm>
            <a:custGeom>
              <a:avLst/>
              <a:gdLst/>
              <a:ahLst/>
              <a:cxnLst/>
              <a:rect l="l" t="t" r="r" b="b"/>
              <a:pathLst>
                <a:path w="5749" h="4295" extrusionOk="0">
                  <a:moveTo>
                    <a:pt x="1" y="0"/>
                  </a:moveTo>
                  <a:lnTo>
                    <a:pt x="1" y="4294"/>
                  </a:lnTo>
                  <a:lnTo>
                    <a:pt x="5748" y="4294"/>
                  </a:lnTo>
                  <a:lnTo>
                    <a:pt x="5748" y="201"/>
                  </a:lnTo>
                  <a:lnTo>
                    <a:pt x="1" y="0"/>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15" name="Google Shape;3806;p60"/>
            <p:cNvSpPr/>
            <p:nvPr/>
          </p:nvSpPr>
          <p:spPr>
            <a:xfrm>
              <a:off x="3143814" y="2479867"/>
              <a:ext cx="56248" cy="22531"/>
            </a:xfrm>
            <a:custGeom>
              <a:avLst/>
              <a:gdLst/>
              <a:ahLst/>
              <a:cxnLst/>
              <a:rect l="l" t="t" r="r" b="b"/>
              <a:pathLst>
                <a:path w="1755" h="703" extrusionOk="0">
                  <a:moveTo>
                    <a:pt x="1754" y="1"/>
                  </a:moveTo>
                  <a:lnTo>
                    <a:pt x="0" y="68"/>
                  </a:lnTo>
                  <a:lnTo>
                    <a:pt x="0" y="703"/>
                  </a:lnTo>
                  <a:lnTo>
                    <a:pt x="1754" y="703"/>
                  </a:lnTo>
                  <a:lnTo>
                    <a:pt x="1754" y="1"/>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16" name="Google Shape;3807;p60"/>
            <p:cNvSpPr/>
            <p:nvPr/>
          </p:nvSpPr>
          <p:spPr>
            <a:xfrm>
              <a:off x="3143814" y="2519513"/>
              <a:ext cx="57850" cy="8045"/>
            </a:xfrm>
            <a:custGeom>
              <a:avLst/>
              <a:gdLst/>
              <a:ahLst/>
              <a:cxnLst/>
              <a:rect l="l" t="t" r="r" b="b"/>
              <a:pathLst>
                <a:path w="1805" h="251" extrusionOk="0">
                  <a:moveTo>
                    <a:pt x="0" y="0"/>
                  </a:moveTo>
                  <a:lnTo>
                    <a:pt x="0" y="251"/>
                  </a:lnTo>
                  <a:lnTo>
                    <a:pt x="1805" y="251"/>
                  </a:lnTo>
                  <a:lnTo>
                    <a:pt x="1805" y="0"/>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17" name="Google Shape;3808;p60"/>
            <p:cNvSpPr/>
            <p:nvPr/>
          </p:nvSpPr>
          <p:spPr>
            <a:xfrm>
              <a:off x="3079553" y="1970625"/>
              <a:ext cx="184768" cy="138168"/>
            </a:xfrm>
            <a:custGeom>
              <a:avLst/>
              <a:gdLst/>
              <a:ahLst/>
              <a:cxnLst/>
              <a:rect l="l" t="t" r="r" b="b"/>
              <a:pathLst>
                <a:path w="5765" h="4311" extrusionOk="0">
                  <a:moveTo>
                    <a:pt x="0" y="0"/>
                  </a:moveTo>
                  <a:lnTo>
                    <a:pt x="0" y="4311"/>
                  </a:lnTo>
                  <a:lnTo>
                    <a:pt x="5764" y="4311"/>
                  </a:lnTo>
                  <a:lnTo>
                    <a:pt x="5764" y="0"/>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18" name="Google Shape;3809;p60"/>
            <p:cNvSpPr/>
            <p:nvPr/>
          </p:nvSpPr>
          <p:spPr>
            <a:xfrm>
              <a:off x="3144326" y="2031135"/>
              <a:ext cx="53043" cy="20897"/>
            </a:xfrm>
            <a:custGeom>
              <a:avLst/>
              <a:gdLst/>
              <a:ahLst/>
              <a:cxnLst/>
              <a:rect l="l" t="t" r="r" b="b"/>
              <a:pathLst>
                <a:path w="1655" h="652" extrusionOk="0">
                  <a:moveTo>
                    <a:pt x="1655" y="0"/>
                  </a:moveTo>
                  <a:lnTo>
                    <a:pt x="1" y="50"/>
                  </a:lnTo>
                  <a:lnTo>
                    <a:pt x="1" y="652"/>
                  </a:lnTo>
                  <a:lnTo>
                    <a:pt x="1655" y="652"/>
                  </a:lnTo>
                  <a:lnTo>
                    <a:pt x="1655" y="0"/>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19" name="Google Shape;3810;p60"/>
            <p:cNvSpPr/>
            <p:nvPr/>
          </p:nvSpPr>
          <p:spPr>
            <a:xfrm>
              <a:off x="3144326" y="2068089"/>
              <a:ext cx="54677" cy="8045"/>
            </a:xfrm>
            <a:custGeom>
              <a:avLst/>
              <a:gdLst/>
              <a:ahLst/>
              <a:cxnLst/>
              <a:rect l="l" t="t" r="r" b="b"/>
              <a:pathLst>
                <a:path w="1706" h="251" extrusionOk="0">
                  <a:moveTo>
                    <a:pt x="1" y="0"/>
                  </a:moveTo>
                  <a:lnTo>
                    <a:pt x="1" y="251"/>
                  </a:lnTo>
                  <a:lnTo>
                    <a:pt x="1705" y="251"/>
                  </a:lnTo>
                  <a:lnTo>
                    <a:pt x="1705" y="0"/>
                  </a:lnTo>
                  <a:close/>
                </a:path>
              </a:pathLst>
            </a:custGeom>
            <a:solidFill>
              <a:srgbClr val="F5F5F5"/>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20" name="Google Shape;3811;p60"/>
            <p:cNvSpPr/>
            <p:nvPr/>
          </p:nvSpPr>
          <p:spPr>
            <a:xfrm>
              <a:off x="1497117" y="1455998"/>
              <a:ext cx="1011049" cy="577285"/>
            </a:xfrm>
            <a:custGeom>
              <a:avLst/>
              <a:gdLst/>
              <a:ahLst/>
              <a:cxnLst/>
              <a:rect l="l" t="t" r="r" b="b"/>
              <a:pathLst>
                <a:path w="31546" h="18012" extrusionOk="0">
                  <a:moveTo>
                    <a:pt x="1103" y="0"/>
                  </a:moveTo>
                  <a:cubicBezTo>
                    <a:pt x="485" y="0"/>
                    <a:pt x="0" y="518"/>
                    <a:pt x="34" y="1136"/>
                  </a:cubicBezTo>
                  <a:lnTo>
                    <a:pt x="969" y="16909"/>
                  </a:lnTo>
                  <a:cubicBezTo>
                    <a:pt x="1003" y="17477"/>
                    <a:pt x="1454" y="17912"/>
                    <a:pt x="2022" y="17912"/>
                  </a:cubicBezTo>
                  <a:lnTo>
                    <a:pt x="30443" y="18012"/>
                  </a:lnTo>
                  <a:cubicBezTo>
                    <a:pt x="31028" y="18012"/>
                    <a:pt x="31513" y="17527"/>
                    <a:pt x="31513" y="16943"/>
                  </a:cubicBezTo>
                  <a:lnTo>
                    <a:pt x="31546" y="4645"/>
                  </a:lnTo>
                  <a:cubicBezTo>
                    <a:pt x="31546" y="4060"/>
                    <a:pt x="31061" y="3576"/>
                    <a:pt x="30477" y="3576"/>
                  </a:cubicBezTo>
                  <a:lnTo>
                    <a:pt x="12999" y="3643"/>
                  </a:lnTo>
                  <a:cubicBezTo>
                    <a:pt x="12715" y="3643"/>
                    <a:pt x="12448" y="3526"/>
                    <a:pt x="12248" y="3325"/>
                  </a:cubicBezTo>
                  <a:lnTo>
                    <a:pt x="9223" y="334"/>
                  </a:lnTo>
                  <a:cubicBezTo>
                    <a:pt x="9023" y="134"/>
                    <a:pt x="8755" y="17"/>
                    <a:pt x="8471" y="17"/>
                  </a:cubicBezTo>
                  <a:lnTo>
                    <a:pt x="1103" y="0"/>
                  </a:lnTo>
                  <a:close/>
                </a:path>
              </a:pathLst>
            </a:custGeom>
            <a:solidFill>
              <a:srgbClr val="C875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21" name="Google Shape;3812;p60"/>
            <p:cNvSpPr/>
            <p:nvPr/>
          </p:nvSpPr>
          <p:spPr>
            <a:xfrm>
              <a:off x="1497117" y="1455998"/>
              <a:ext cx="1011049" cy="577285"/>
            </a:xfrm>
            <a:custGeom>
              <a:avLst/>
              <a:gdLst/>
              <a:ahLst/>
              <a:cxnLst/>
              <a:rect l="l" t="t" r="r" b="b"/>
              <a:pathLst>
                <a:path w="31546" h="18012" extrusionOk="0">
                  <a:moveTo>
                    <a:pt x="1103" y="0"/>
                  </a:moveTo>
                  <a:cubicBezTo>
                    <a:pt x="485" y="0"/>
                    <a:pt x="0" y="518"/>
                    <a:pt x="34" y="1136"/>
                  </a:cubicBezTo>
                  <a:lnTo>
                    <a:pt x="969" y="16909"/>
                  </a:lnTo>
                  <a:cubicBezTo>
                    <a:pt x="1003" y="17477"/>
                    <a:pt x="1454" y="17912"/>
                    <a:pt x="2022" y="17912"/>
                  </a:cubicBezTo>
                  <a:lnTo>
                    <a:pt x="30443" y="18012"/>
                  </a:lnTo>
                  <a:cubicBezTo>
                    <a:pt x="31028" y="18012"/>
                    <a:pt x="31513" y="17527"/>
                    <a:pt x="31513" y="16943"/>
                  </a:cubicBezTo>
                  <a:lnTo>
                    <a:pt x="31546" y="4645"/>
                  </a:lnTo>
                  <a:cubicBezTo>
                    <a:pt x="31546" y="4060"/>
                    <a:pt x="31061" y="3576"/>
                    <a:pt x="30477" y="3576"/>
                  </a:cubicBezTo>
                  <a:lnTo>
                    <a:pt x="12999" y="3643"/>
                  </a:lnTo>
                  <a:cubicBezTo>
                    <a:pt x="12715" y="3643"/>
                    <a:pt x="12448" y="3526"/>
                    <a:pt x="12248" y="3325"/>
                  </a:cubicBezTo>
                  <a:lnTo>
                    <a:pt x="9223" y="334"/>
                  </a:lnTo>
                  <a:cubicBezTo>
                    <a:pt x="9023" y="134"/>
                    <a:pt x="8755" y="17"/>
                    <a:pt x="8471" y="17"/>
                  </a:cubicBezTo>
                  <a:lnTo>
                    <a:pt x="1103" y="0"/>
                  </a:lnTo>
                  <a:close/>
                </a:path>
              </a:pathLst>
            </a:custGeom>
            <a:solidFill>
              <a:srgbClr val="263238">
                <a:alpha val="3202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22" name="Google Shape;3813;p60"/>
            <p:cNvSpPr/>
            <p:nvPr/>
          </p:nvSpPr>
          <p:spPr>
            <a:xfrm>
              <a:off x="1508879" y="1265877"/>
              <a:ext cx="613725" cy="632475"/>
            </a:xfrm>
            <a:custGeom>
              <a:avLst/>
              <a:gdLst/>
              <a:ahLst/>
              <a:cxnLst/>
              <a:rect l="l" t="t" r="r" b="b"/>
              <a:pathLst>
                <a:path w="19149" h="19734" extrusionOk="0">
                  <a:moveTo>
                    <a:pt x="9341" y="1"/>
                  </a:moveTo>
                  <a:lnTo>
                    <a:pt x="1" y="12265"/>
                  </a:lnTo>
                  <a:lnTo>
                    <a:pt x="9792" y="19733"/>
                  </a:lnTo>
                  <a:lnTo>
                    <a:pt x="19149" y="7469"/>
                  </a:lnTo>
                  <a:lnTo>
                    <a:pt x="9341" y="1"/>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23" name="Google Shape;3814;p60"/>
            <p:cNvSpPr/>
            <p:nvPr/>
          </p:nvSpPr>
          <p:spPr>
            <a:xfrm>
              <a:off x="1507277" y="1265877"/>
              <a:ext cx="616418" cy="634077"/>
            </a:xfrm>
            <a:custGeom>
              <a:avLst/>
              <a:gdLst/>
              <a:ahLst/>
              <a:cxnLst/>
              <a:rect l="l" t="t" r="r" b="b"/>
              <a:pathLst>
                <a:path w="19233" h="19784" extrusionOk="0">
                  <a:moveTo>
                    <a:pt x="9391" y="1"/>
                  </a:moveTo>
                  <a:lnTo>
                    <a:pt x="9391" y="1"/>
                  </a:lnTo>
                  <a:cubicBezTo>
                    <a:pt x="9391" y="1"/>
                    <a:pt x="9422" y="32"/>
                    <a:pt x="9500" y="85"/>
                  </a:cubicBezTo>
                  <a:lnTo>
                    <a:pt x="9500" y="85"/>
                  </a:lnTo>
                  <a:cubicBezTo>
                    <a:pt x="9424" y="23"/>
                    <a:pt x="9391" y="1"/>
                    <a:pt x="9391" y="1"/>
                  </a:cubicBezTo>
                  <a:close/>
                  <a:moveTo>
                    <a:pt x="9500" y="85"/>
                  </a:moveTo>
                  <a:lnTo>
                    <a:pt x="9500" y="85"/>
                  </a:lnTo>
                  <a:cubicBezTo>
                    <a:pt x="9517" y="99"/>
                    <a:pt x="9536" y="116"/>
                    <a:pt x="9558" y="134"/>
                  </a:cubicBezTo>
                  <a:lnTo>
                    <a:pt x="9791" y="302"/>
                  </a:lnTo>
                  <a:lnTo>
                    <a:pt x="9791" y="302"/>
                  </a:lnTo>
                  <a:lnTo>
                    <a:pt x="9575" y="134"/>
                  </a:lnTo>
                  <a:cubicBezTo>
                    <a:pt x="9546" y="116"/>
                    <a:pt x="9521" y="100"/>
                    <a:pt x="9500" y="85"/>
                  </a:cubicBezTo>
                  <a:close/>
                  <a:moveTo>
                    <a:pt x="9341" y="51"/>
                  </a:moveTo>
                  <a:lnTo>
                    <a:pt x="9207" y="218"/>
                  </a:lnTo>
                  <a:lnTo>
                    <a:pt x="8706" y="886"/>
                  </a:lnTo>
                  <a:lnTo>
                    <a:pt x="6784" y="3376"/>
                  </a:lnTo>
                  <a:lnTo>
                    <a:pt x="17" y="12248"/>
                  </a:lnTo>
                  <a:lnTo>
                    <a:pt x="1" y="12265"/>
                  </a:lnTo>
                  <a:lnTo>
                    <a:pt x="17" y="12281"/>
                  </a:lnTo>
                  <a:lnTo>
                    <a:pt x="9825" y="19767"/>
                  </a:lnTo>
                  <a:lnTo>
                    <a:pt x="9859" y="19784"/>
                  </a:lnTo>
                  <a:lnTo>
                    <a:pt x="9875" y="19750"/>
                  </a:lnTo>
                  <a:lnTo>
                    <a:pt x="19215" y="7486"/>
                  </a:lnTo>
                  <a:lnTo>
                    <a:pt x="19232" y="7469"/>
                  </a:lnTo>
                  <a:lnTo>
                    <a:pt x="19215" y="7453"/>
                  </a:lnTo>
                  <a:lnTo>
                    <a:pt x="12081" y="2022"/>
                  </a:lnTo>
                  <a:lnTo>
                    <a:pt x="10093" y="519"/>
                  </a:lnTo>
                  <a:lnTo>
                    <a:pt x="9791" y="302"/>
                  </a:lnTo>
                  <a:lnTo>
                    <a:pt x="9791" y="302"/>
                  </a:lnTo>
                  <a:lnTo>
                    <a:pt x="10093" y="535"/>
                  </a:lnTo>
                  <a:lnTo>
                    <a:pt x="12064" y="2056"/>
                  </a:lnTo>
                  <a:lnTo>
                    <a:pt x="19155" y="7466"/>
                  </a:lnTo>
                  <a:lnTo>
                    <a:pt x="19155" y="7466"/>
                  </a:lnTo>
                  <a:lnTo>
                    <a:pt x="9852" y="19682"/>
                  </a:lnTo>
                  <a:lnTo>
                    <a:pt x="9852" y="19682"/>
                  </a:lnTo>
                  <a:lnTo>
                    <a:pt x="84" y="12260"/>
                  </a:lnTo>
                  <a:lnTo>
                    <a:pt x="84" y="12260"/>
                  </a:lnTo>
                  <a:lnTo>
                    <a:pt x="6801" y="3409"/>
                  </a:lnTo>
                  <a:lnTo>
                    <a:pt x="8706" y="903"/>
                  </a:lnTo>
                  <a:lnTo>
                    <a:pt x="9207" y="235"/>
                  </a:lnTo>
                  <a:lnTo>
                    <a:pt x="9341" y="51"/>
                  </a:ln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24" name="Google Shape;3815;p60"/>
            <p:cNvSpPr/>
            <p:nvPr/>
          </p:nvSpPr>
          <p:spPr>
            <a:xfrm>
              <a:off x="1538878" y="1294786"/>
              <a:ext cx="553215" cy="575169"/>
            </a:xfrm>
            <a:custGeom>
              <a:avLst/>
              <a:gdLst/>
              <a:ahLst/>
              <a:cxnLst/>
              <a:rect l="l" t="t" r="r" b="b"/>
              <a:pathLst>
                <a:path w="17261" h="17946" extrusionOk="0">
                  <a:moveTo>
                    <a:pt x="8689" y="1"/>
                  </a:moveTo>
                  <a:lnTo>
                    <a:pt x="0" y="11413"/>
                  </a:lnTo>
                  <a:lnTo>
                    <a:pt x="8572" y="17946"/>
                  </a:lnTo>
                  <a:lnTo>
                    <a:pt x="17260" y="6534"/>
                  </a:lnTo>
                  <a:lnTo>
                    <a:pt x="8689" y="1"/>
                  </a:ln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25" name="Google Shape;3816;p60"/>
            <p:cNvSpPr/>
            <p:nvPr/>
          </p:nvSpPr>
          <p:spPr>
            <a:xfrm>
              <a:off x="1739703" y="1508464"/>
              <a:ext cx="352390" cy="365787"/>
            </a:xfrm>
            <a:custGeom>
              <a:avLst/>
              <a:gdLst/>
              <a:ahLst/>
              <a:cxnLst/>
              <a:rect l="l" t="t" r="r" b="b"/>
              <a:pathLst>
                <a:path w="10995" h="11413" extrusionOk="0">
                  <a:moveTo>
                    <a:pt x="10994" y="1"/>
                  </a:moveTo>
                  <a:lnTo>
                    <a:pt x="4712" y="402"/>
                  </a:lnTo>
                  <a:lnTo>
                    <a:pt x="5213" y="3443"/>
                  </a:lnTo>
                  <a:lnTo>
                    <a:pt x="5213" y="3443"/>
                  </a:lnTo>
                  <a:lnTo>
                    <a:pt x="0" y="3359"/>
                  </a:lnTo>
                  <a:lnTo>
                    <a:pt x="0" y="3359"/>
                  </a:lnTo>
                  <a:lnTo>
                    <a:pt x="2306" y="11413"/>
                  </a:lnTo>
                  <a:lnTo>
                    <a:pt x="10994" y="1"/>
                  </a:lnTo>
                  <a:close/>
                </a:path>
              </a:pathLst>
            </a:custGeom>
            <a:solidFill>
              <a:srgbClr val="52187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26" name="Google Shape;3817;p60"/>
            <p:cNvSpPr/>
            <p:nvPr/>
          </p:nvSpPr>
          <p:spPr>
            <a:xfrm>
              <a:off x="1735921" y="1475805"/>
              <a:ext cx="94291" cy="72657"/>
            </a:xfrm>
            <a:custGeom>
              <a:avLst/>
              <a:gdLst/>
              <a:ahLst/>
              <a:cxnLst/>
              <a:rect l="l" t="t" r="r" b="b"/>
              <a:pathLst>
                <a:path w="2942" h="2267" extrusionOk="0">
                  <a:moveTo>
                    <a:pt x="1473" y="0"/>
                  </a:moveTo>
                  <a:cubicBezTo>
                    <a:pt x="1132" y="0"/>
                    <a:pt x="796" y="156"/>
                    <a:pt x="569" y="452"/>
                  </a:cubicBezTo>
                  <a:cubicBezTo>
                    <a:pt x="1" y="1210"/>
                    <a:pt x="552" y="2267"/>
                    <a:pt x="1461" y="2267"/>
                  </a:cubicBezTo>
                  <a:cubicBezTo>
                    <a:pt x="1514" y="2267"/>
                    <a:pt x="1567" y="2263"/>
                    <a:pt x="1622" y="2256"/>
                  </a:cubicBezTo>
                  <a:cubicBezTo>
                    <a:pt x="2608" y="2122"/>
                    <a:pt x="2942" y="853"/>
                    <a:pt x="2157" y="234"/>
                  </a:cubicBezTo>
                  <a:cubicBezTo>
                    <a:pt x="1951" y="76"/>
                    <a:pt x="1711" y="0"/>
                    <a:pt x="1473" y="0"/>
                  </a:cubicBezTo>
                  <a:close/>
                </a:path>
              </a:pathLst>
            </a:custGeom>
            <a:solidFill>
              <a:srgbClr val="52187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27" name="Google Shape;3818;p60"/>
            <p:cNvSpPr/>
            <p:nvPr/>
          </p:nvSpPr>
          <p:spPr>
            <a:xfrm>
              <a:off x="1852135" y="1261582"/>
              <a:ext cx="709587" cy="577862"/>
            </a:xfrm>
            <a:custGeom>
              <a:avLst/>
              <a:gdLst/>
              <a:ahLst/>
              <a:cxnLst/>
              <a:rect l="l" t="t" r="r" b="b"/>
              <a:pathLst>
                <a:path w="22140" h="18030" extrusionOk="0">
                  <a:moveTo>
                    <a:pt x="703" y="1"/>
                  </a:moveTo>
                  <a:lnTo>
                    <a:pt x="1" y="17144"/>
                  </a:lnTo>
                  <a:lnTo>
                    <a:pt x="21438" y="18029"/>
                  </a:lnTo>
                  <a:lnTo>
                    <a:pt x="22140" y="887"/>
                  </a:lnTo>
                  <a:lnTo>
                    <a:pt x="703" y="1"/>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28" name="Google Shape;3819;p60"/>
            <p:cNvSpPr/>
            <p:nvPr/>
          </p:nvSpPr>
          <p:spPr>
            <a:xfrm>
              <a:off x="1850532" y="1260525"/>
              <a:ext cx="711190" cy="579464"/>
            </a:xfrm>
            <a:custGeom>
              <a:avLst/>
              <a:gdLst/>
              <a:ahLst/>
              <a:cxnLst/>
              <a:rect l="l" t="t" r="r" b="b"/>
              <a:pathLst>
                <a:path w="22190" h="18080" extrusionOk="0">
                  <a:moveTo>
                    <a:pt x="22090" y="903"/>
                  </a:moveTo>
                  <a:cubicBezTo>
                    <a:pt x="22156" y="920"/>
                    <a:pt x="22190" y="920"/>
                    <a:pt x="22190" y="920"/>
                  </a:cubicBezTo>
                  <a:cubicBezTo>
                    <a:pt x="22190" y="920"/>
                    <a:pt x="22156" y="903"/>
                    <a:pt x="22090" y="903"/>
                  </a:cubicBezTo>
                  <a:close/>
                  <a:moveTo>
                    <a:pt x="719" y="1"/>
                  </a:moveTo>
                  <a:lnTo>
                    <a:pt x="719" y="34"/>
                  </a:lnTo>
                  <a:cubicBezTo>
                    <a:pt x="502" y="5130"/>
                    <a:pt x="268" y="10978"/>
                    <a:pt x="18" y="17177"/>
                  </a:cubicBezTo>
                  <a:lnTo>
                    <a:pt x="1" y="17210"/>
                  </a:lnTo>
                  <a:lnTo>
                    <a:pt x="34" y="17210"/>
                  </a:lnTo>
                  <a:lnTo>
                    <a:pt x="21488" y="18079"/>
                  </a:lnTo>
                  <a:lnTo>
                    <a:pt x="21521" y="18079"/>
                  </a:lnTo>
                  <a:lnTo>
                    <a:pt x="21521" y="18062"/>
                  </a:lnTo>
                  <a:cubicBezTo>
                    <a:pt x="21722" y="12883"/>
                    <a:pt x="21889" y="8589"/>
                    <a:pt x="22006" y="5598"/>
                  </a:cubicBezTo>
                  <a:cubicBezTo>
                    <a:pt x="22073" y="4094"/>
                    <a:pt x="22123" y="2925"/>
                    <a:pt x="22156" y="2123"/>
                  </a:cubicBezTo>
                  <a:cubicBezTo>
                    <a:pt x="22156" y="1738"/>
                    <a:pt x="22173" y="1421"/>
                    <a:pt x="22190" y="1220"/>
                  </a:cubicBezTo>
                  <a:cubicBezTo>
                    <a:pt x="22190" y="1020"/>
                    <a:pt x="22190" y="920"/>
                    <a:pt x="22190" y="920"/>
                  </a:cubicBezTo>
                  <a:cubicBezTo>
                    <a:pt x="22190" y="920"/>
                    <a:pt x="22190" y="1020"/>
                    <a:pt x="22173" y="1220"/>
                  </a:cubicBezTo>
                  <a:cubicBezTo>
                    <a:pt x="22173" y="1437"/>
                    <a:pt x="22156" y="1738"/>
                    <a:pt x="22140" y="2139"/>
                  </a:cubicBezTo>
                  <a:cubicBezTo>
                    <a:pt x="22106" y="2941"/>
                    <a:pt x="22056" y="4111"/>
                    <a:pt x="21989" y="5615"/>
                  </a:cubicBezTo>
                  <a:cubicBezTo>
                    <a:pt x="21856" y="8599"/>
                    <a:pt x="21673" y="12864"/>
                    <a:pt x="21456" y="18028"/>
                  </a:cubicBezTo>
                  <a:lnTo>
                    <a:pt x="21456" y="18028"/>
                  </a:lnTo>
                  <a:lnTo>
                    <a:pt x="86" y="17145"/>
                  </a:lnTo>
                  <a:lnTo>
                    <a:pt x="86" y="17145"/>
                  </a:lnTo>
                  <a:cubicBezTo>
                    <a:pt x="335" y="10972"/>
                    <a:pt x="568" y="5148"/>
                    <a:pt x="785" y="69"/>
                  </a:cubicBezTo>
                  <a:lnTo>
                    <a:pt x="785" y="69"/>
                  </a:lnTo>
                  <a:lnTo>
                    <a:pt x="16242" y="686"/>
                  </a:lnTo>
                  <a:lnTo>
                    <a:pt x="20619" y="853"/>
                  </a:lnTo>
                  <a:lnTo>
                    <a:pt x="21789" y="903"/>
                  </a:lnTo>
                  <a:lnTo>
                    <a:pt x="22090" y="903"/>
                  </a:lnTo>
                  <a:lnTo>
                    <a:pt x="21806" y="886"/>
                  </a:lnTo>
                  <a:lnTo>
                    <a:pt x="20636" y="836"/>
                  </a:lnTo>
                  <a:lnTo>
                    <a:pt x="16258" y="652"/>
                  </a:lnTo>
                  <a:lnTo>
                    <a:pt x="753" y="1"/>
                  </a:ln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29" name="Google Shape;3820;p60"/>
            <p:cNvSpPr/>
            <p:nvPr/>
          </p:nvSpPr>
          <p:spPr>
            <a:xfrm>
              <a:off x="1876781" y="1296934"/>
              <a:ext cx="659236" cy="506614"/>
            </a:xfrm>
            <a:custGeom>
              <a:avLst/>
              <a:gdLst/>
              <a:ahLst/>
              <a:cxnLst/>
              <a:rect l="l" t="t" r="r" b="b"/>
              <a:pathLst>
                <a:path w="20569" h="15807" extrusionOk="0">
                  <a:moveTo>
                    <a:pt x="619" y="1"/>
                  </a:moveTo>
                  <a:lnTo>
                    <a:pt x="1" y="14988"/>
                  </a:lnTo>
                  <a:lnTo>
                    <a:pt x="19951" y="15807"/>
                  </a:lnTo>
                  <a:lnTo>
                    <a:pt x="20569" y="819"/>
                  </a:lnTo>
                  <a:lnTo>
                    <a:pt x="619" y="1"/>
                  </a:lnTo>
                  <a:close/>
                </a:path>
              </a:pathLst>
            </a:custGeom>
            <a:solidFill>
              <a:srgbClr val="52187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30" name="Google Shape;3821;p60"/>
            <p:cNvSpPr/>
            <p:nvPr/>
          </p:nvSpPr>
          <p:spPr>
            <a:xfrm>
              <a:off x="1876781" y="1488112"/>
              <a:ext cx="639430" cy="315436"/>
            </a:xfrm>
            <a:custGeom>
              <a:avLst/>
              <a:gdLst/>
              <a:ahLst/>
              <a:cxnLst/>
              <a:rect l="l" t="t" r="r" b="b"/>
              <a:pathLst>
                <a:path w="19951" h="9842" extrusionOk="0">
                  <a:moveTo>
                    <a:pt x="7352" y="1"/>
                  </a:moveTo>
                  <a:lnTo>
                    <a:pt x="1" y="9023"/>
                  </a:lnTo>
                  <a:lnTo>
                    <a:pt x="19951" y="9842"/>
                  </a:lnTo>
                  <a:lnTo>
                    <a:pt x="14487" y="3008"/>
                  </a:lnTo>
                  <a:lnTo>
                    <a:pt x="11429" y="5999"/>
                  </a:lnTo>
                  <a:lnTo>
                    <a:pt x="7352" y="1"/>
                  </a:ln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31" name="Google Shape;3822;p60"/>
            <p:cNvSpPr/>
            <p:nvPr/>
          </p:nvSpPr>
          <p:spPr>
            <a:xfrm>
              <a:off x="2193852" y="1407186"/>
              <a:ext cx="118329" cy="100637"/>
            </a:xfrm>
            <a:custGeom>
              <a:avLst/>
              <a:gdLst/>
              <a:ahLst/>
              <a:cxnLst/>
              <a:rect l="l" t="t" r="r" b="b"/>
              <a:pathLst>
                <a:path w="3692" h="3140" extrusionOk="0">
                  <a:moveTo>
                    <a:pt x="2073" y="1"/>
                  </a:moveTo>
                  <a:cubicBezTo>
                    <a:pt x="722" y="1"/>
                    <a:pt x="1" y="1627"/>
                    <a:pt x="935" y="2626"/>
                  </a:cubicBezTo>
                  <a:cubicBezTo>
                    <a:pt x="1255" y="2980"/>
                    <a:pt x="1667" y="3139"/>
                    <a:pt x="2073" y="3139"/>
                  </a:cubicBezTo>
                  <a:cubicBezTo>
                    <a:pt x="2855" y="3139"/>
                    <a:pt x="3614" y="2552"/>
                    <a:pt x="3658" y="1640"/>
                  </a:cubicBezTo>
                  <a:cubicBezTo>
                    <a:pt x="3692" y="771"/>
                    <a:pt x="3023" y="36"/>
                    <a:pt x="2154" y="3"/>
                  </a:cubicBezTo>
                  <a:cubicBezTo>
                    <a:pt x="2127" y="1"/>
                    <a:pt x="2100" y="1"/>
                    <a:pt x="2073"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32" name="Google Shape;3823;p60"/>
            <p:cNvSpPr/>
            <p:nvPr/>
          </p:nvSpPr>
          <p:spPr>
            <a:xfrm>
              <a:off x="1664193" y="1526123"/>
              <a:ext cx="1021786" cy="809743"/>
            </a:xfrm>
            <a:custGeom>
              <a:avLst/>
              <a:gdLst/>
              <a:ahLst/>
              <a:cxnLst/>
              <a:rect l="l" t="t" r="r" b="b"/>
              <a:pathLst>
                <a:path w="31881" h="25265" extrusionOk="0">
                  <a:moveTo>
                    <a:pt x="29040" y="1"/>
                  </a:moveTo>
                  <a:lnTo>
                    <a:pt x="0" y="3994"/>
                  </a:lnTo>
                  <a:lnTo>
                    <a:pt x="3075" y="25264"/>
                  </a:lnTo>
                  <a:lnTo>
                    <a:pt x="31880" y="21204"/>
                  </a:lnTo>
                  <a:lnTo>
                    <a:pt x="29040" y="1"/>
                  </a:lnTo>
                  <a:close/>
                </a:path>
              </a:pathLst>
            </a:custGeom>
            <a:solidFill>
              <a:srgbClr val="EBEBE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33" name="Google Shape;3824;p60"/>
            <p:cNvSpPr/>
            <p:nvPr/>
          </p:nvSpPr>
          <p:spPr>
            <a:xfrm>
              <a:off x="1678648" y="1440998"/>
              <a:ext cx="1056592" cy="864324"/>
            </a:xfrm>
            <a:custGeom>
              <a:avLst/>
              <a:gdLst/>
              <a:ahLst/>
              <a:cxnLst/>
              <a:rect l="l" t="t" r="r" b="b"/>
              <a:pathLst>
                <a:path w="32967" h="26968" extrusionOk="0">
                  <a:moveTo>
                    <a:pt x="28706" y="0"/>
                  </a:moveTo>
                  <a:lnTo>
                    <a:pt x="0" y="5949"/>
                  </a:lnTo>
                  <a:lnTo>
                    <a:pt x="4495" y="26968"/>
                  </a:lnTo>
                  <a:lnTo>
                    <a:pt x="32966" y="20970"/>
                  </a:lnTo>
                  <a:lnTo>
                    <a:pt x="28706" y="0"/>
                  </a:lnTo>
                  <a:close/>
                </a:path>
              </a:pathLst>
            </a:custGeom>
            <a:solidFill>
              <a:srgbClr val="E0E0E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34" name="Google Shape;3825;p60"/>
            <p:cNvSpPr/>
            <p:nvPr/>
          </p:nvSpPr>
          <p:spPr>
            <a:xfrm>
              <a:off x="1630990" y="1365488"/>
              <a:ext cx="1111750" cy="960186"/>
            </a:xfrm>
            <a:custGeom>
              <a:avLst/>
              <a:gdLst/>
              <a:ahLst/>
              <a:cxnLst/>
              <a:rect l="l" t="t" r="r" b="b"/>
              <a:pathLst>
                <a:path w="34688" h="29959" extrusionOk="0">
                  <a:moveTo>
                    <a:pt x="27653" y="0"/>
                  </a:moveTo>
                  <a:lnTo>
                    <a:pt x="0" y="9725"/>
                  </a:lnTo>
                  <a:lnTo>
                    <a:pt x="7269" y="29959"/>
                  </a:lnTo>
                  <a:lnTo>
                    <a:pt x="34687" y="20218"/>
                  </a:lnTo>
                  <a:lnTo>
                    <a:pt x="27653" y="0"/>
                  </a:ln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35" name="Google Shape;3826;p60"/>
            <p:cNvSpPr/>
            <p:nvPr/>
          </p:nvSpPr>
          <p:spPr>
            <a:xfrm>
              <a:off x="1629387" y="1365488"/>
              <a:ext cx="1114411" cy="961276"/>
            </a:xfrm>
            <a:custGeom>
              <a:avLst/>
              <a:gdLst/>
              <a:ahLst/>
              <a:cxnLst/>
              <a:rect l="l" t="t" r="r" b="b"/>
              <a:pathLst>
                <a:path w="34771" h="29993" extrusionOk="0">
                  <a:moveTo>
                    <a:pt x="27703" y="0"/>
                  </a:moveTo>
                  <a:lnTo>
                    <a:pt x="27703" y="0"/>
                  </a:lnTo>
                  <a:lnTo>
                    <a:pt x="27703" y="0"/>
                  </a:lnTo>
                  <a:close/>
                  <a:moveTo>
                    <a:pt x="27703" y="0"/>
                  </a:moveTo>
                  <a:lnTo>
                    <a:pt x="34" y="9691"/>
                  </a:lnTo>
                  <a:lnTo>
                    <a:pt x="0" y="9708"/>
                  </a:lnTo>
                  <a:lnTo>
                    <a:pt x="17" y="9742"/>
                  </a:lnTo>
                  <a:lnTo>
                    <a:pt x="7235" y="29825"/>
                  </a:lnTo>
                  <a:cubicBezTo>
                    <a:pt x="7252" y="29875"/>
                    <a:pt x="7268" y="29925"/>
                    <a:pt x="7285" y="29959"/>
                  </a:cubicBezTo>
                  <a:lnTo>
                    <a:pt x="7302" y="29992"/>
                  </a:lnTo>
                  <a:lnTo>
                    <a:pt x="7335" y="29992"/>
                  </a:lnTo>
                  <a:lnTo>
                    <a:pt x="34737" y="20234"/>
                  </a:lnTo>
                  <a:lnTo>
                    <a:pt x="34771" y="20234"/>
                  </a:lnTo>
                  <a:lnTo>
                    <a:pt x="34754" y="20201"/>
                  </a:lnTo>
                  <a:lnTo>
                    <a:pt x="27703" y="0"/>
                  </a:lnTo>
                  <a:lnTo>
                    <a:pt x="34695" y="20193"/>
                  </a:lnTo>
                  <a:lnTo>
                    <a:pt x="34695" y="20193"/>
                  </a:lnTo>
                  <a:lnTo>
                    <a:pt x="7342" y="29911"/>
                  </a:lnTo>
                  <a:lnTo>
                    <a:pt x="7342" y="29911"/>
                  </a:lnTo>
                  <a:cubicBezTo>
                    <a:pt x="7328" y="29871"/>
                    <a:pt x="7315" y="29832"/>
                    <a:pt x="7302" y="29792"/>
                  </a:cubicBezTo>
                  <a:lnTo>
                    <a:pt x="96" y="9742"/>
                  </a:lnTo>
                  <a:lnTo>
                    <a:pt x="96" y="9742"/>
                  </a:lnTo>
                  <a:lnTo>
                    <a:pt x="27703" y="0"/>
                  </a:ln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36" name="Google Shape;3827;p60"/>
            <p:cNvSpPr/>
            <p:nvPr/>
          </p:nvSpPr>
          <p:spPr>
            <a:xfrm>
              <a:off x="2356602" y="1490804"/>
              <a:ext cx="187460" cy="496455"/>
            </a:xfrm>
            <a:custGeom>
              <a:avLst/>
              <a:gdLst/>
              <a:ahLst/>
              <a:cxnLst/>
              <a:rect l="l" t="t" r="r" b="b"/>
              <a:pathLst>
                <a:path w="5849" h="15490" extrusionOk="0">
                  <a:moveTo>
                    <a:pt x="51" y="0"/>
                  </a:moveTo>
                  <a:cubicBezTo>
                    <a:pt x="51" y="0"/>
                    <a:pt x="51" y="0"/>
                    <a:pt x="51" y="0"/>
                  </a:cubicBezTo>
                  <a:cubicBezTo>
                    <a:pt x="0" y="17"/>
                    <a:pt x="1237" y="3509"/>
                    <a:pt x="2824" y="7786"/>
                  </a:cubicBezTo>
                  <a:cubicBezTo>
                    <a:pt x="4408" y="12053"/>
                    <a:pt x="5742" y="15489"/>
                    <a:pt x="5798" y="15489"/>
                  </a:cubicBezTo>
                  <a:cubicBezTo>
                    <a:pt x="5798" y="15489"/>
                    <a:pt x="5798" y="15489"/>
                    <a:pt x="5798" y="15489"/>
                  </a:cubicBezTo>
                  <a:cubicBezTo>
                    <a:pt x="5848" y="15472"/>
                    <a:pt x="4612" y="11980"/>
                    <a:pt x="3025" y="7703"/>
                  </a:cubicBezTo>
                  <a:cubicBezTo>
                    <a:pt x="1441" y="3452"/>
                    <a:pt x="107" y="0"/>
                    <a:pt x="51"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37" name="Google Shape;3828;p60"/>
            <p:cNvSpPr/>
            <p:nvPr/>
          </p:nvSpPr>
          <p:spPr>
            <a:xfrm>
              <a:off x="2281092" y="1525610"/>
              <a:ext cx="187460" cy="495910"/>
            </a:xfrm>
            <a:custGeom>
              <a:avLst/>
              <a:gdLst/>
              <a:ahLst/>
              <a:cxnLst/>
              <a:rect l="l" t="t" r="r" b="b"/>
              <a:pathLst>
                <a:path w="5849" h="15473" extrusionOk="0">
                  <a:moveTo>
                    <a:pt x="51" y="0"/>
                  </a:moveTo>
                  <a:cubicBezTo>
                    <a:pt x="51" y="0"/>
                    <a:pt x="51" y="0"/>
                    <a:pt x="51" y="0"/>
                  </a:cubicBezTo>
                  <a:cubicBezTo>
                    <a:pt x="1" y="17"/>
                    <a:pt x="1237" y="3509"/>
                    <a:pt x="2824" y="7770"/>
                  </a:cubicBezTo>
                  <a:cubicBezTo>
                    <a:pt x="4404" y="12027"/>
                    <a:pt x="5719" y="15473"/>
                    <a:pt x="5781" y="15473"/>
                  </a:cubicBezTo>
                  <a:cubicBezTo>
                    <a:pt x="5781" y="15473"/>
                    <a:pt x="5781" y="15473"/>
                    <a:pt x="5782" y="15472"/>
                  </a:cubicBezTo>
                  <a:cubicBezTo>
                    <a:pt x="5849" y="15456"/>
                    <a:pt x="4595" y="11980"/>
                    <a:pt x="3008" y="7703"/>
                  </a:cubicBezTo>
                  <a:cubicBezTo>
                    <a:pt x="1425" y="3436"/>
                    <a:pt x="107" y="0"/>
                    <a:pt x="51"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38" name="Google Shape;3829;p60"/>
            <p:cNvSpPr/>
            <p:nvPr/>
          </p:nvSpPr>
          <p:spPr>
            <a:xfrm>
              <a:off x="2046005" y="1624132"/>
              <a:ext cx="185858" cy="495910"/>
            </a:xfrm>
            <a:custGeom>
              <a:avLst/>
              <a:gdLst/>
              <a:ahLst/>
              <a:cxnLst/>
              <a:rect l="l" t="t" r="r" b="b"/>
              <a:pathLst>
                <a:path w="5799" h="15473" extrusionOk="0">
                  <a:moveTo>
                    <a:pt x="51" y="0"/>
                  </a:moveTo>
                  <a:cubicBezTo>
                    <a:pt x="51" y="0"/>
                    <a:pt x="51" y="0"/>
                    <a:pt x="51" y="1"/>
                  </a:cubicBezTo>
                  <a:cubicBezTo>
                    <a:pt x="0" y="17"/>
                    <a:pt x="1237" y="3493"/>
                    <a:pt x="2824" y="7770"/>
                  </a:cubicBezTo>
                  <a:cubicBezTo>
                    <a:pt x="4346" y="11871"/>
                    <a:pt x="5622" y="15204"/>
                    <a:pt x="5784" y="15457"/>
                  </a:cubicBezTo>
                  <a:lnTo>
                    <a:pt x="5784" y="15457"/>
                  </a:lnTo>
                  <a:cubicBezTo>
                    <a:pt x="5757" y="15202"/>
                    <a:pt x="4538" y="11825"/>
                    <a:pt x="3008" y="7703"/>
                  </a:cubicBezTo>
                  <a:cubicBezTo>
                    <a:pt x="1428" y="3446"/>
                    <a:pt x="113" y="0"/>
                    <a:pt x="51" y="0"/>
                  </a:cubicBezTo>
                  <a:close/>
                  <a:moveTo>
                    <a:pt x="5784" y="15457"/>
                  </a:moveTo>
                  <a:cubicBezTo>
                    <a:pt x="5785" y="15467"/>
                    <a:pt x="5784" y="15472"/>
                    <a:pt x="5782" y="15473"/>
                  </a:cubicBezTo>
                  <a:lnTo>
                    <a:pt x="5797" y="15473"/>
                  </a:lnTo>
                  <a:cubicBezTo>
                    <a:pt x="5794" y="15472"/>
                    <a:pt x="5790" y="15467"/>
                    <a:pt x="5784" y="15457"/>
                  </a:cubicBezTo>
                  <a:close/>
                  <a:moveTo>
                    <a:pt x="5797" y="15473"/>
                  </a:moveTo>
                  <a:cubicBezTo>
                    <a:pt x="5797" y="15473"/>
                    <a:pt x="5798" y="15473"/>
                    <a:pt x="5798" y="15473"/>
                  </a:cubicBezTo>
                  <a:cubicBezTo>
                    <a:pt x="5798" y="15473"/>
                    <a:pt x="5798" y="15473"/>
                    <a:pt x="5798" y="15473"/>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39" name="Google Shape;3830;p60"/>
            <p:cNvSpPr/>
            <p:nvPr/>
          </p:nvSpPr>
          <p:spPr>
            <a:xfrm>
              <a:off x="2120425" y="1594133"/>
              <a:ext cx="188005" cy="495942"/>
            </a:xfrm>
            <a:custGeom>
              <a:avLst/>
              <a:gdLst/>
              <a:ahLst/>
              <a:cxnLst/>
              <a:rect l="l" t="t" r="r" b="b"/>
              <a:pathLst>
                <a:path w="5866" h="15474" extrusionOk="0">
                  <a:moveTo>
                    <a:pt x="69" y="1"/>
                  </a:moveTo>
                  <a:cubicBezTo>
                    <a:pt x="68" y="1"/>
                    <a:pt x="68" y="1"/>
                    <a:pt x="68" y="1"/>
                  </a:cubicBezTo>
                  <a:cubicBezTo>
                    <a:pt x="1" y="18"/>
                    <a:pt x="1254" y="3493"/>
                    <a:pt x="2841" y="7770"/>
                  </a:cubicBezTo>
                  <a:cubicBezTo>
                    <a:pt x="4425" y="12037"/>
                    <a:pt x="5742" y="15473"/>
                    <a:pt x="5798" y="15473"/>
                  </a:cubicBezTo>
                  <a:cubicBezTo>
                    <a:pt x="5799" y="15473"/>
                    <a:pt x="5799" y="15473"/>
                    <a:pt x="5799" y="15473"/>
                  </a:cubicBezTo>
                  <a:cubicBezTo>
                    <a:pt x="5866" y="15456"/>
                    <a:pt x="4613" y="11981"/>
                    <a:pt x="3025" y="7704"/>
                  </a:cubicBezTo>
                  <a:cubicBezTo>
                    <a:pt x="1445" y="3447"/>
                    <a:pt x="131" y="1"/>
                    <a:pt x="69"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40" name="Google Shape;3831;p60"/>
            <p:cNvSpPr/>
            <p:nvPr/>
          </p:nvSpPr>
          <p:spPr>
            <a:xfrm>
              <a:off x="2195422" y="1563622"/>
              <a:ext cx="187460" cy="496455"/>
            </a:xfrm>
            <a:custGeom>
              <a:avLst/>
              <a:gdLst/>
              <a:ahLst/>
              <a:cxnLst/>
              <a:rect l="l" t="t" r="r" b="b"/>
              <a:pathLst>
                <a:path w="5849" h="15490" extrusionOk="0">
                  <a:moveTo>
                    <a:pt x="67" y="1"/>
                  </a:moveTo>
                  <a:cubicBezTo>
                    <a:pt x="67" y="1"/>
                    <a:pt x="67" y="1"/>
                    <a:pt x="67" y="1"/>
                  </a:cubicBezTo>
                  <a:cubicBezTo>
                    <a:pt x="0" y="17"/>
                    <a:pt x="1253" y="3509"/>
                    <a:pt x="2841" y="7787"/>
                  </a:cubicBezTo>
                  <a:cubicBezTo>
                    <a:pt x="4424" y="12037"/>
                    <a:pt x="5742" y="15489"/>
                    <a:pt x="5798" y="15489"/>
                  </a:cubicBezTo>
                  <a:cubicBezTo>
                    <a:pt x="5798" y="15489"/>
                    <a:pt x="5798" y="15489"/>
                    <a:pt x="5798" y="15489"/>
                  </a:cubicBezTo>
                  <a:cubicBezTo>
                    <a:pt x="5848" y="15456"/>
                    <a:pt x="4612" y="11981"/>
                    <a:pt x="3024" y="7703"/>
                  </a:cubicBezTo>
                  <a:cubicBezTo>
                    <a:pt x="1441" y="3436"/>
                    <a:pt x="123" y="1"/>
                    <a:pt x="67"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41" name="Google Shape;3832;p60"/>
            <p:cNvSpPr/>
            <p:nvPr/>
          </p:nvSpPr>
          <p:spPr>
            <a:xfrm>
              <a:off x="1959246" y="1648778"/>
              <a:ext cx="187460" cy="496454"/>
            </a:xfrm>
            <a:custGeom>
              <a:avLst/>
              <a:gdLst/>
              <a:ahLst/>
              <a:cxnLst/>
              <a:rect l="l" t="t" r="r" b="b"/>
              <a:pathLst>
                <a:path w="5849" h="15490" extrusionOk="0">
                  <a:moveTo>
                    <a:pt x="51" y="0"/>
                  </a:moveTo>
                  <a:cubicBezTo>
                    <a:pt x="51" y="0"/>
                    <a:pt x="51" y="0"/>
                    <a:pt x="51" y="0"/>
                  </a:cubicBezTo>
                  <a:cubicBezTo>
                    <a:pt x="1" y="34"/>
                    <a:pt x="1237" y="3509"/>
                    <a:pt x="2824" y="7786"/>
                  </a:cubicBezTo>
                  <a:cubicBezTo>
                    <a:pt x="4408" y="12053"/>
                    <a:pt x="5725" y="15489"/>
                    <a:pt x="5781" y="15489"/>
                  </a:cubicBezTo>
                  <a:cubicBezTo>
                    <a:pt x="5782" y="15489"/>
                    <a:pt x="5782" y="15489"/>
                    <a:pt x="5782" y="15489"/>
                  </a:cubicBezTo>
                  <a:cubicBezTo>
                    <a:pt x="5849" y="15472"/>
                    <a:pt x="4596" y="11980"/>
                    <a:pt x="3008" y="7720"/>
                  </a:cubicBezTo>
                  <a:cubicBezTo>
                    <a:pt x="1425" y="3452"/>
                    <a:pt x="107" y="0"/>
                    <a:pt x="51"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42" name="Google Shape;3833;p60"/>
            <p:cNvSpPr/>
            <p:nvPr/>
          </p:nvSpPr>
          <p:spPr>
            <a:xfrm>
              <a:off x="1876236" y="1679290"/>
              <a:ext cx="187460" cy="496454"/>
            </a:xfrm>
            <a:custGeom>
              <a:avLst/>
              <a:gdLst/>
              <a:ahLst/>
              <a:cxnLst/>
              <a:rect l="l" t="t" r="r" b="b"/>
              <a:pathLst>
                <a:path w="5849" h="15490" extrusionOk="0">
                  <a:moveTo>
                    <a:pt x="51" y="1"/>
                  </a:moveTo>
                  <a:cubicBezTo>
                    <a:pt x="51" y="1"/>
                    <a:pt x="51" y="1"/>
                    <a:pt x="51" y="1"/>
                  </a:cubicBezTo>
                  <a:cubicBezTo>
                    <a:pt x="1" y="17"/>
                    <a:pt x="1237" y="3509"/>
                    <a:pt x="2825" y="7787"/>
                  </a:cubicBezTo>
                  <a:cubicBezTo>
                    <a:pt x="4408" y="12037"/>
                    <a:pt x="5726" y="15489"/>
                    <a:pt x="5782" y="15489"/>
                  </a:cubicBezTo>
                  <a:cubicBezTo>
                    <a:pt x="5782" y="15489"/>
                    <a:pt x="5782" y="15489"/>
                    <a:pt x="5782" y="15489"/>
                  </a:cubicBezTo>
                  <a:cubicBezTo>
                    <a:pt x="5849" y="15473"/>
                    <a:pt x="4596" y="11981"/>
                    <a:pt x="3008" y="7703"/>
                  </a:cubicBezTo>
                  <a:cubicBezTo>
                    <a:pt x="1425" y="3436"/>
                    <a:pt x="107" y="1"/>
                    <a:pt x="51"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43" name="Google Shape;3834;p60"/>
            <p:cNvSpPr/>
            <p:nvPr/>
          </p:nvSpPr>
          <p:spPr>
            <a:xfrm>
              <a:off x="1793259" y="1709802"/>
              <a:ext cx="185826" cy="496454"/>
            </a:xfrm>
            <a:custGeom>
              <a:avLst/>
              <a:gdLst/>
              <a:ahLst/>
              <a:cxnLst/>
              <a:rect l="l" t="t" r="r" b="b"/>
              <a:pathLst>
                <a:path w="5798" h="15490" extrusionOk="0">
                  <a:moveTo>
                    <a:pt x="51" y="1"/>
                  </a:moveTo>
                  <a:cubicBezTo>
                    <a:pt x="50" y="1"/>
                    <a:pt x="50" y="1"/>
                    <a:pt x="50" y="1"/>
                  </a:cubicBezTo>
                  <a:cubicBezTo>
                    <a:pt x="0" y="18"/>
                    <a:pt x="1236" y="3510"/>
                    <a:pt x="2824" y="7770"/>
                  </a:cubicBezTo>
                  <a:cubicBezTo>
                    <a:pt x="4346" y="11873"/>
                    <a:pt x="5623" y="15222"/>
                    <a:pt x="5783" y="15475"/>
                  </a:cubicBezTo>
                  <a:lnTo>
                    <a:pt x="5783" y="15475"/>
                  </a:lnTo>
                  <a:cubicBezTo>
                    <a:pt x="5762" y="15219"/>
                    <a:pt x="4541" y="11836"/>
                    <a:pt x="3008" y="7704"/>
                  </a:cubicBezTo>
                  <a:cubicBezTo>
                    <a:pt x="1424" y="3437"/>
                    <a:pt x="107" y="1"/>
                    <a:pt x="51" y="1"/>
                  </a:cubicBezTo>
                  <a:close/>
                  <a:moveTo>
                    <a:pt x="5783" y="15475"/>
                  </a:moveTo>
                  <a:cubicBezTo>
                    <a:pt x="5784" y="15484"/>
                    <a:pt x="5783" y="15489"/>
                    <a:pt x="5781" y="15490"/>
                  </a:cubicBezTo>
                  <a:lnTo>
                    <a:pt x="5797" y="15490"/>
                  </a:lnTo>
                  <a:cubicBezTo>
                    <a:pt x="5794" y="15489"/>
                    <a:pt x="5790" y="15484"/>
                    <a:pt x="5783" y="15475"/>
                  </a:cubicBezTo>
                  <a:close/>
                  <a:moveTo>
                    <a:pt x="5797" y="15490"/>
                  </a:moveTo>
                  <a:lnTo>
                    <a:pt x="5797" y="15490"/>
                  </a:lnTo>
                  <a:cubicBezTo>
                    <a:pt x="5797" y="15490"/>
                    <a:pt x="5797" y="15490"/>
                    <a:pt x="5797" y="15490"/>
                  </a:cubicBezTo>
                  <a:cubicBezTo>
                    <a:pt x="5798" y="15490"/>
                    <a:pt x="5798" y="15490"/>
                    <a:pt x="5798" y="1549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44" name="Google Shape;3835;p60"/>
            <p:cNvSpPr/>
            <p:nvPr/>
          </p:nvSpPr>
          <p:spPr>
            <a:xfrm>
              <a:off x="1478367" y="1744640"/>
              <a:ext cx="1140660" cy="667249"/>
            </a:xfrm>
            <a:custGeom>
              <a:avLst/>
              <a:gdLst/>
              <a:ahLst/>
              <a:cxnLst/>
              <a:rect l="l" t="t" r="r" b="b"/>
              <a:pathLst>
                <a:path w="35590" h="20819" extrusionOk="0">
                  <a:moveTo>
                    <a:pt x="719" y="0"/>
                  </a:moveTo>
                  <a:cubicBezTo>
                    <a:pt x="318" y="0"/>
                    <a:pt x="0" y="351"/>
                    <a:pt x="34" y="769"/>
                  </a:cubicBezTo>
                  <a:lnTo>
                    <a:pt x="2356" y="20117"/>
                  </a:lnTo>
                  <a:cubicBezTo>
                    <a:pt x="2390" y="20468"/>
                    <a:pt x="2690" y="20719"/>
                    <a:pt x="3025" y="20719"/>
                  </a:cubicBezTo>
                  <a:lnTo>
                    <a:pt x="33284" y="20819"/>
                  </a:lnTo>
                  <a:cubicBezTo>
                    <a:pt x="33651" y="20819"/>
                    <a:pt x="33952" y="20535"/>
                    <a:pt x="33969" y="20184"/>
                  </a:cubicBezTo>
                  <a:lnTo>
                    <a:pt x="35556" y="835"/>
                  </a:lnTo>
                  <a:cubicBezTo>
                    <a:pt x="35590" y="451"/>
                    <a:pt x="35272" y="100"/>
                    <a:pt x="34871" y="100"/>
                  </a:cubicBezTo>
                  <a:lnTo>
                    <a:pt x="719" y="0"/>
                  </a:lnTo>
                  <a:close/>
                </a:path>
              </a:pathLst>
            </a:custGeom>
            <a:solidFill>
              <a:srgbClr val="C875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45" name="Google Shape;3836;p60"/>
            <p:cNvSpPr/>
            <p:nvPr/>
          </p:nvSpPr>
          <p:spPr>
            <a:xfrm>
              <a:off x="2633449" y="1596281"/>
              <a:ext cx="62145" cy="116790"/>
            </a:xfrm>
            <a:custGeom>
              <a:avLst/>
              <a:gdLst/>
              <a:ahLst/>
              <a:cxnLst/>
              <a:rect l="l" t="t" r="r" b="b"/>
              <a:pathLst>
                <a:path w="1939" h="3644" extrusionOk="0">
                  <a:moveTo>
                    <a:pt x="1020" y="1"/>
                  </a:moveTo>
                  <a:lnTo>
                    <a:pt x="1" y="719"/>
                  </a:lnTo>
                  <a:lnTo>
                    <a:pt x="602" y="3643"/>
                  </a:lnTo>
                  <a:lnTo>
                    <a:pt x="1939" y="2457"/>
                  </a:lnTo>
                  <a:lnTo>
                    <a:pt x="1020" y="1"/>
                  </a:lnTo>
                  <a:close/>
                </a:path>
              </a:pathLst>
            </a:custGeom>
            <a:solidFill>
              <a:srgbClr val="BF7A6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46" name="Google Shape;3837;p60"/>
            <p:cNvSpPr/>
            <p:nvPr/>
          </p:nvSpPr>
          <p:spPr>
            <a:xfrm>
              <a:off x="2673608" y="2235165"/>
              <a:ext cx="333673" cy="107111"/>
            </a:xfrm>
            <a:custGeom>
              <a:avLst/>
              <a:gdLst/>
              <a:ahLst/>
              <a:cxnLst/>
              <a:rect l="l" t="t" r="r" b="b"/>
              <a:pathLst>
                <a:path w="10411" h="3342" extrusionOk="0">
                  <a:moveTo>
                    <a:pt x="4245" y="0"/>
                  </a:moveTo>
                  <a:lnTo>
                    <a:pt x="1" y="2055"/>
                  </a:lnTo>
                  <a:cubicBezTo>
                    <a:pt x="222" y="2407"/>
                    <a:pt x="768" y="2535"/>
                    <a:pt x="1244" y="2535"/>
                  </a:cubicBezTo>
                  <a:cubicBezTo>
                    <a:pt x="1378" y="2535"/>
                    <a:pt x="1507" y="2525"/>
                    <a:pt x="1622" y="2506"/>
                  </a:cubicBezTo>
                  <a:cubicBezTo>
                    <a:pt x="2156" y="2440"/>
                    <a:pt x="2641" y="2206"/>
                    <a:pt x="3176" y="2139"/>
                  </a:cubicBezTo>
                  <a:cubicBezTo>
                    <a:pt x="3296" y="2124"/>
                    <a:pt x="3417" y="2116"/>
                    <a:pt x="3538" y="2116"/>
                  </a:cubicBezTo>
                  <a:cubicBezTo>
                    <a:pt x="4083" y="2116"/>
                    <a:pt x="4618" y="2269"/>
                    <a:pt x="5097" y="2556"/>
                  </a:cubicBezTo>
                  <a:cubicBezTo>
                    <a:pt x="5398" y="2740"/>
                    <a:pt x="5682" y="2957"/>
                    <a:pt x="5999" y="3125"/>
                  </a:cubicBezTo>
                  <a:cubicBezTo>
                    <a:pt x="6249" y="3269"/>
                    <a:pt x="6529" y="3341"/>
                    <a:pt x="6808" y="3341"/>
                  </a:cubicBezTo>
                  <a:cubicBezTo>
                    <a:pt x="6884" y="3341"/>
                    <a:pt x="6960" y="3336"/>
                    <a:pt x="7035" y="3325"/>
                  </a:cubicBezTo>
                  <a:cubicBezTo>
                    <a:pt x="7436" y="3225"/>
                    <a:pt x="7737" y="2924"/>
                    <a:pt x="8038" y="2657"/>
                  </a:cubicBezTo>
                  <a:cubicBezTo>
                    <a:pt x="8328" y="2397"/>
                    <a:pt x="8659" y="2166"/>
                    <a:pt x="9020" y="2166"/>
                  </a:cubicBezTo>
                  <a:cubicBezTo>
                    <a:pt x="9055" y="2166"/>
                    <a:pt x="9089" y="2168"/>
                    <a:pt x="9124" y="2172"/>
                  </a:cubicBezTo>
                  <a:cubicBezTo>
                    <a:pt x="9324" y="2206"/>
                    <a:pt x="9525" y="2272"/>
                    <a:pt x="9725" y="2339"/>
                  </a:cubicBezTo>
                  <a:cubicBezTo>
                    <a:pt x="9785" y="2364"/>
                    <a:pt x="9848" y="2376"/>
                    <a:pt x="9910" y="2376"/>
                  </a:cubicBezTo>
                  <a:cubicBezTo>
                    <a:pt x="10058" y="2376"/>
                    <a:pt x="10204" y="2311"/>
                    <a:pt x="10310" y="2206"/>
                  </a:cubicBezTo>
                  <a:cubicBezTo>
                    <a:pt x="10377" y="2072"/>
                    <a:pt x="10410" y="1922"/>
                    <a:pt x="10360" y="1771"/>
                  </a:cubicBezTo>
                  <a:cubicBezTo>
                    <a:pt x="10293" y="1320"/>
                    <a:pt x="10043" y="919"/>
                    <a:pt x="9692" y="652"/>
                  </a:cubicBezTo>
                  <a:lnTo>
                    <a:pt x="4245" y="0"/>
                  </a:lnTo>
                  <a:close/>
                </a:path>
              </a:pathLst>
            </a:custGeom>
            <a:solidFill>
              <a:srgbClr val="52187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47" name="Google Shape;3838;p60"/>
            <p:cNvSpPr/>
            <p:nvPr/>
          </p:nvSpPr>
          <p:spPr>
            <a:xfrm>
              <a:off x="2726651" y="1832970"/>
              <a:ext cx="270983" cy="769585"/>
            </a:xfrm>
            <a:custGeom>
              <a:avLst/>
              <a:gdLst/>
              <a:ahLst/>
              <a:cxnLst/>
              <a:rect l="l" t="t" r="r" b="b"/>
              <a:pathLst>
                <a:path w="8455" h="24012" extrusionOk="0">
                  <a:moveTo>
                    <a:pt x="5648" y="1"/>
                  </a:moveTo>
                  <a:lnTo>
                    <a:pt x="1821" y="34"/>
                  </a:lnTo>
                  <a:cubicBezTo>
                    <a:pt x="1821" y="34"/>
                    <a:pt x="1821" y="51"/>
                    <a:pt x="1805" y="68"/>
                  </a:cubicBezTo>
                  <a:lnTo>
                    <a:pt x="0" y="118"/>
                  </a:lnTo>
                  <a:lnTo>
                    <a:pt x="802" y="23677"/>
                  </a:lnTo>
                  <a:lnTo>
                    <a:pt x="3158" y="23861"/>
                  </a:lnTo>
                  <a:lnTo>
                    <a:pt x="3141" y="16075"/>
                  </a:lnTo>
                  <a:lnTo>
                    <a:pt x="3141" y="16075"/>
                  </a:lnTo>
                  <a:cubicBezTo>
                    <a:pt x="4628" y="19834"/>
                    <a:pt x="6349" y="24011"/>
                    <a:pt x="6349" y="24011"/>
                  </a:cubicBezTo>
                  <a:lnTo>
                    <a:pt x="8455" y="23025"/>
                  </a:lnTo>
                  <a:cubicBezTo>
                    <a:pt x="8455" y="23025"/>
                    <a:pt x="4979" y="11179"/>
                    <a:pt x="4912" y="10795"/>
                  </a:cubicBezTo>
                  <a:cubicBezTo>
                    <a:pt x="4862" y="10461"/>
                    <a:pt x="5397" y="2156"/>
                    <a:pt x="5648" y="1"/>
                  </a:cubicBezTo>
                  <a:close/>
                </a:path>
              </a:pathLst>
            </a:custGeom>
            <a:solidFill>
              <a:srgbClr val="D893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48" name="Google Shape;3839;p60"/>
            <p:cNvSpPr/>
            <p:nvPr/>
          </p:nvSpPr>
          <p:spPr>
            <a:xfrm>
              <a:off x="2775367" y="2161803"/>
              <a:ext cx="57337" cy="201370"/>
            </a:xfrm>
            <a:custGeom>
              <a:avLst/>
              <a:gdLst/>
              <a:ahLst/>
              <a:cxnLst/>
              <a:rect l="l" t="t" r="r" b="b"/>
              <a:pathLst>
                <a:path w="1789" h="6283" extrusionOk="0">
                  <a:moveTo>
                    <a:pt x="67" y="0"/>
                  </a:moveTo>
                  <a:cubicBezTo>
                    <a:pt x="67" y="17"/>
                    <a:pt x="67" y="33"/>
                    <a:pt x="51" y="50"/>
                  </a:cubicBezTo>
                  <a:cubicBezTo>
                    <a:pt x="51" y="100"/>
                    <a:pt x="34" y="167"/>
                    <a:pt x="34" y="251"/>
                  </a:cubicBezTo>
                  <a:cubicBezTo>
                    <a:pt x="1" y="485"/>
                    <a:pt x="1" y="718"/>
                    <a:pt x="17" y="952"/>
                  </a:cubicBezTo>
                  <a:cubicBezTo>
                    <a:pt x="34" y="1303"/>
                    <a:pt x="84" y="1654"/>
                    <a:pt x="168" y="1988"/>
                  </a:cubicBezTo>
                  <a:cubicBezTo>
                    <a:pt x="218" y="2189"/>
                    <a:pt x="285" y="2389"/>
                    <a:pt x="351" y="2590"/>
                  </a:cubicBezTo>
                  <a:cubicBezTo>
                    <a:pt x="435" y="2790"/>
                    <a:pt x="502" y="3008"/>
                    <a:pt x="585" y="3208"/>
                  </a:cubicBezTo>
                  <a:cubicBezTo>
                    <a:pt x="903" y="4060"/>
                    <a:pt x="1204" y="4829"/>
                    <a:pt x="1421" y="5380"/>
                  </a:cubicBezTo>
                  <a:lnTo>
                    <a:pt x="1688" y="6048"/>
                  </a:lnTo>
                  <a:cubicBezTo>
                    <a:pt x="1705" y="6132"/>
                    <a:pt x="1738" y="6199"/>
                    <a:pt x="1788" y="6282"/>
                  </a:cubicBezTo>
                  <a:cubicBezTo>
                    <a:pt x="1772" y="6199"/>
                    <a:pt x="1738" y="6115"/>
                    <a:pt x="1705" y="6032"/>
                  </a:cubicBezTo>
                  <a:cubicBezTo>
                    <a:pt x="1655" y="5865"/>
                    <a:pt x="1571" y="5647"/>
                    <a:pt x="1471" y="5363"/>
                  </a:cubicBezTo>
                  <a:cubicBezTo>
                    <a:pt x="1270" y="4812"/>
                    <a:pt x="986" y="4043"/>
                    <a:pt x="652" y="3191"/>
                  </a:cubicBezTo>
                  <a:cubicBezTo>
                    <a:pt x="485" y="2790"/>
                    <a:pt x="351" y="2389"/>
                    <a:pt x="234" y="1972"/>
                  </a:cubicBezTo>
                  <a:cubicBezTo>
                    <a:pt x="151" y="1637"/>
                    <a:pt x="101" y="1303"/>
                    <a:pt x="67" y="952"/>
                  </a:cubicBezTo>
                  <a:cubicBezTo>
                    <a:pt x="51" y="718"/>
                    <a:pt x="51" y="485"/>
                    <a:pt x="51" y="251"/>
                  </a:cubicBezTo>
                  <a:cubicBezTo>
                    <a:pt x="67" y="84"/>
                    <a:pt x="84" y="0"/>
                    <a:pt x="67" y="0"/>
                  </a:cubicBezTo>
                  <a:close/>
                </a:path>
              </a:pathLst>
            </a:custGeom>
            <a:solidFill>
              <a:srgbClr val="BF7A6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49" name="Google Shape;3840;p60"/>
            <p:cNvSpPr/>
            <p:nvPr/>
          </p:nvSpPr>
          <p:spPr>
            <a:xfrm>
              <a:off x="2800526" y="2280612"/>
              <a:ext cx="28973" cy="158071"/>
            </a:xfrm>
            <a:custGeom>
              <a:avLst/>
              <a:gdLst/>
              <a:ahLst/>
              <a:cxnLst/>
              <a:rect l="l" t="t" r="r" b="b"/>
              <a:pathLst>
                <a:path w="904" h="4932" extrusionOk="0">
                  <a:moveTo>
                    <a:pt x="20" y="0"/>
                  </a:moveTo>
                  <a:cubicBezTo>
                    <a:pt x="19" y="0"/>
                    <a:pt x="18" y="1"/>
                    <a:pt x="18" y="2"/>
                  </a:cubicBezTo>
                  <a:cubicBezTo>
                    <a:pt x="1" y="69"/>
                    <a:pt x="853" y="4931"/>
                    <a:pt x="853" y="4931"/>
                  </a:cubicBezTo>
                  <a:cubicBezTo>
                    <a:pt x="853" y="4864"/>
                    <a:pt x="903" y="2308"/>
                    <a:pt x="903" y="2308"/>
                  </a:cubicBezTo>
                  <a:cubicBezTo>
                    <a:pt x="903" y="2308"/>
                    <a:pt x="80" y="0"/>
                    <a:pt x="20" y="0"/>
                  </a:cubicBezTo>
                  <a:close/>
                </a:path>
              </a:pathLst>
            </a:custGeom>
            <a:solidFill>
              <a:srgbClr val="BF7A6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50" name="Google Shape;3841;p60"/>
            <p:cNvSpPr/>
            <p:nvPr/>
          </p:nvSpPr>
          <p:spPr>
            <a:xfrm>
              <a:off x="2680595" y="2582683"/>
              <a:ext cx="147815" cy="31185"/>
            </a:xfrm>
            <a:custGeom>
              <a:avLst/>
              <a:gdLst/>
              <a:ahLst/>
              <a:cxnLst/>
              <a:rect l="l" t="t" r="r" b="b"/>
              <a:pathLst>
                <a:path w="4612" h="973" extrusionOk="0">
                  <a:moveTo>
                    <a:pt x="2122" y="1"/>
                  </a:moveTo>
                  <a:lnTo>
                    <a:pt x="2105" y="268"/>
                  </a:lnTo>
                  <a:cubicBezTo>
                    <a:pt x="2105" y="268"/>
                    <a:pt x="0" y="703"/>
                    <a:pt x="501" y="870"/>
                  </a:cubicBezTo>
                  <a:cubicBezTo>
                    <a:pt x="737" y="948"/>
                    <a:pt x="1619" y="972"/>
                    <a:pt x="2504" y="972"/>
                  </a:cubicBezTo>
                  <a:cubicBezTo>
                    <a:pt x="3310" y="972"/>
                    <a:pt x="4118" y="953"/>
                    <a:pt x="4445" y="937"/>
                  </a:cubicBezTo>
                  <a:lnTo>
                    <a:pt x="4595" y="937"/>
                  </a:lnTo>
                  <a:lnTo>
                    <a:pt x="4612" y="51"/>
                  </a:lnTo>
                  <a:lnTo>
                    <a:pt x="2122" y="1"/>
                  </a:lnTo>
                  <a:close/>
                </a:path>
              </a:pathLst>
            </a:custGeom>
            <a:solidFill>
              <a:srgbClr val="C875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51" name="Google Shape;3842;p60"/>
            <p:cNvSpPr/>
            <p:nvPr/>
          </p:nvSpPr>
          <p:spPr>
            <a:xfrm>
              <a:off x="2799468" y="2589029"/>
              <a:ext cx="28941" cy="22082"/>
            </a:xfrm>
            <a:custGeom>
              <a:avLst/>
              <a:gdLst/>
              <a:ahLst/>
              <a:cxnLst/>
              <a:rect l="l" t="t" r="r" b="b"/>
              <a:pathLst>
                <a:path w="903" h="689" extrusionOk="0">
                  <a:moveTo>
                    <a:pt x="828" y="0"/>
                  </a:moveTo>
                  <a:cubicBezTo>
                    <a:pt x="649" y="0"/>
                    <a:pt x="464" y="53"/>
                    <a:pt x="318" y="170"/>
                  </a:cubicBezTo>
                  <a:cubicBezTo>
                    <a:pt x="151" y="304"/>
                    <a:pt x="34" y="488"/>
                    <a:pt x="0" y="688"/>
                  </a:cubicBezTo>
                  <a:lnTo>
                    <a:pt x="886" y="688"/>
                  </a:lnTo>
                  <a:lnTo>
                    <a:pt x="903" y="3"/>
                  </a:lnTo>
                  <a:cubicBezTo>
                    <a:pt x="878" y="1"/>
                    <a:pt x="853" y="0"/>
                    <a:pt x="828" y="0"/>
                  </a:cubicBezTo>
                  <a:close/>
                </a:path>
              </a:pathLst>
            </a:custGeom>
            <a:solidFill>
              <a:srgbClr val="FFFFFF">
                <a:alpha val="5625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52" name="Google Shape;3843;p60"/>
            <p:cNvSpPr/>
            <p:nvPr/>
          </p:nvSpPr>
          <p:spPr>
            <a:xfrm>
              <a:off x="2691300" y="2599285"/>
              <a:ext cx="136565" cy="14775"/>
            </a:xfrm>
            <a:custGeom>
              <a:avLst/>
              <a:gdLst/>
              <a:ahLst/>
              <a:cxnLst/>
              <a:rect l="l" t="t" r="r" b="b"/>
              <a:pathLst>
                <a:path w="4261" h="461" extrusionOk="0">
                  <a:moveTo>
                    <a:pt x="735" y="1"/>
                  </a:moveTo>
                  <a:cubicBezTo>
                    <a:pt x="735" y="1"/>
                    <a:pt x="0" y="201"/>
                    <a:pt x="84" y="335"/>
                  </a:cubicBezTo>
                  <a:cubicBezTo>
                    <a:pt x="150" y="412"/>
                    <a:pt x="1396" y="460"/>
                    <a:pt x="2598" y="460"/>
                  </a:cubicBezTo>
                  <a:cubicBezTo>
                    <a:pt x="3221" y="460"/>
                    <a:pt x="3833" y="447"/>
                    <a:pt x="4261" y="419"/>
                  </a:cubicBezTo>
                  <a:lnTo>
                    <a:pt x="4261" y="352"/>
                  </a:lnTo>
                  <a:lnTo>
                    <a:pt x="953" y="318"/>
                  </a:lnTo>
                  <a:cubicBezTo>
                    <a:pt x="953" y="318"/>
                    <a:pt x="886" y="18"/>
                    <a:pt x="735" y="1"/>
                  </a:cubicBezTo>
                  <a:close/>
                </a:path>
              </a:pathLst>
            </a:custGeom>
            <a:solidFill>
              <a:srgbClr val="FFFFFF">
                <a:alpha val="5625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53" name="Google Shape;3844;p60"/>
            <p:cNvSpPr/>
            <p:nvPr/>
          </p:nvSpPr>
          <p:spPr>
            <a:xfrm>
              <a:off x="2695562" y="2608387"/>
              <a:ext cx="132302" cy="3109"/>
            </a:xfrm>
            <a:custGeom>
              <a:avLst/>
              <a:gdLst/>
              <a:ahLst/>
              <a:cxnLst/>
              <a:rect l="l" t="t" r="r" b="b"/>
              <a:pathLst>
                <a:path w="4128" h="97" extrusionOk="0">
                  <a:moveTo>
                    <a:pt x="1" y="1"/>
                  </a:moveTo>
                  <a:lnTo>
                    <a:pt x="118" y="18"/>
                  </a:lnTo>
                  <a:lnTo>
                    <a:pt x="569" y="34"/>
                  </a:lnTo>
                  <a:cubicBezTo>
                    <a:pt x="953" y="68"/>
                    <a:pt x="1488" y="84"/>
                    <a:pt x="2056" y="84"/>
                  </a:cubicBezTo>
                  <a:cubicBezTo>
                    <a:pt x="2349" y="93"/>
                    <a:pt x="2628" y="97"/>
                    <a:pt x="2883" y="97"/>
                  </a:cubicBezTo>
                  <a:cubicBezTo>
                    <a:pt x="3138" y="97"/>
                    <a:pt x="3368" y="93"/>
                    <a:pt x="3560" y="84"/>
                  </a:cubicBezTo>
                  <a:lnTo>
                    <a:pt x="4011" y="84"/>
                  </a:lnTo>
                  <a:lnTo>
                    <a:pt x="4128" y="68"/>
                  </a:lnTo>
                  <a:lnTo>
                    <a:pt x="2073" y="68"/>
                  </a:lnTo>
                  <a:cubicBezTo>
                    <a:pt x="1488" y="51"/>
                    <a:pt x="953" y="34"/>
                    <a:pt x="569" y="18"/>
                  </a:cubicBezTo>
                  <a:lnTo>
                    <a:pt x="118" y="1"/>
                  </a:lnTo>
                  <a:close/>
                </a:path>
              </a:pathLst>
            </a:custGeom>
            <a:solidFill>
              <a:srgbClr val="B7887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54" name="Google Shape;3845;p60"/>
            <p:cNvSpPr/>
            <p:nvPr/>
          </p:nvSpPr>
          <p:spPr>
            <a:xfrm>
              <a:off x="2714312" y="2598228"/>
              <a:ext cx="8077" cy="12884"/>
            </a:xfrm>
            <a:custGeom>
              <a:avLst/>
              <a:gdLst/>
              <a:ahLst/>
              <a:cxnLst/>
              <a:rect l="l" t="t" r="r" b="b"/>
              <a:pathLst>
                <a:path w="252" h="402" extrusionOk="0">
                  <a:moveTo>
                    <a:pt x="1" y="0"/>
                  </a:moveTo>
                  <a:lnTo>
                    <a:pt x="1" y="0"/>
                  </a:lnTo>
                  <a:cubicBezTo>
                    <a:pt x="134" y="101"/>
                    <a:pt x="218" y="251"/>
                    <a:pt x="235" y="401"/>
                  </a:cubicBezTo>
                  <a:cubicBezTo>
                    <a:pt x="251" y="234"/>
                    <a:pt x="151" y="84"/>
                    <a:pt x="1"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55" name="Google Shape;3846;p60"/>
            <p:cNvSpPr/>
            <p:nvPr/>
          </p:nvSpPr>
          <p:spPr>
            <a:xfrm>
              <a:off x="2741105" y="2592875"/>
              <a:ext cx="4840" cy="6570"/>
            </a:xfrm>
            <a:custGeom>
              <a:avLst/>
              <a:gdLst/>
              <a:ahLst/>
              <a:cxnLst/>
              <a:rect l="l" t="t" r="r" b="b"/>
              <a:pathLst>
                <a:path w="151" h="205" extrusionOk="0">
                  <a:moveTo>
                    <a:pt x="17" y="0"/>
                  </a:moveTo>
                  <a:cubicBezTo>
                    <a:pt x="0" y="0"/>
                    <a:pt x="34" y="50"/>
                    <a:pt x="67" y="117"/>
                  </a:cubicBezTo>
                  <a:cubicBezTo>
                    <a:pt x="96" y="161"/>
                    <a:pt x="125" y="204"/>
                    <a:pt x="143" y="204"/>
                  </a:cubicBezTo>
                  <a:cubicBezTo>
                    <a:pt x="146" y="204"/>
                    <a:pt x="148" y="203"/>
                    <a:pt x="151" y="201"/>
                  </a:cubicBezTo>
                  <a:cubicBezTo>
                    <a:pt x="151" y="201"/>
                    <a:pt x="134" y="151"/>
                    <a:pt x="84" y="101"/>
                  </a:cubicBezTo>
                  <a:cubicBezTo>
                    <a:pt x="50" y="34"/>
                    <a:pt x="17" y="0"/>
                    <a:pt x="17"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56" name="Google Shape;3847;p60"/>
            <p:cNvSpPr/>
            <p:nvPr/>
          </p:nvSpPr>
          <p:spPr>
            <a:xfrm>
              <a:off x="2746971" y="2591657"/>
              <a:ext cx="5416" cy="4615"/>
            </a:xfrm>
            <a:custGeom>
              <a:avLst/>
              <a:gdLst/>
              <a:ahLst/>
              <a:cxnLst/>
              <a:rect l="l" t="t" r="r" b="b"/>
              <a:pathLst>
                <a:path w="169" h="144" extrusionOk="0">
                  <a:moveTo>
                    <a:pt x="12" y="1"/>
                  </a:moveTo>
                  <a:cubicBezTo>
                    <a:pt x="8" y="1"/>
                    <a:pt x="4" y="2"/>
                    <a:pt x="1" y="5"/>
                  </a:cubicBezTo>
                  <a:cubicBezTo>
                    <a:pt x="1" y="5"/>
                    <a:pt x="34" y="38"/>
                    <a:pt x="68" y="88"/>
                  </a:cubicBezTo>
                  <a:cubicBezTo>
                    <a:pt x="109" y="116"/>
                    <a:pt x="139" y="143"/>
                    <a:pt x="157" y="143"/>
                  </a:cubicBezTo>
                  <a:cubicBezTo>
                    <a:pt x="161" y="143"/>
                    <a:pt x="165" y="142"/>
                    <a:pt x="168" y="139"/>
                  </a:cubicBezTo>
                  <a:cubicBezTo>
                    <a:pt x="168" y="139"/>
                    <a:pt x="135" y="105"/>
                    <a:pt x="101" y="55"/>
                  </a:cubicBezTo>
                  <a:cubicBezTo>
                    <a:pt x="60" y="28"/>
                    <a:pt x="31" y="1"/>
                    <a:pt x="12"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57" name="Google Shape;3848;p60"/>
            <p:cNvSpPr/>
            <p:nvPr/>
          </p:nvSpPr>
          <p:spPr>
            <a:xfrm>
              <a:off x="2748605" y="2583228"/>
              <a:ext cx="9134" cy="1538"/>
            </a:xfrm>
            <a:custGeom>
              <a:avLst/>
              <a:gdLst/>
              <a:ahLst/>
              <a:cxnLst/>
              <a:rect l="l" t="t" r="r" b="b"/>
              <a:pathLst>
                <a:path w="285" h="48" extrusionOk="0">
                  <a:moveTo>
                    <a:pt x="284" y="1"/>
                  </a:moveTo>
                  <a:cubicBezTo>
                    <a:pt x="234" y="1"/>
                    <a:pt x="184" y="17"/>
                    <a:pt x="134" y="17"/>
                  </a:cubicBezTo>
                  <a:lnTo>
                    <a:pt x="0" y="17"/>
                  </a:lnTo>
                  <a:cubicBezTo>
                    <a:pt x="35" y="38"/>
                    <a:pt x="76" y="48"/>
                    <a:pt x="118" y="48"/>
                  </a:cubicBezTo>
                  <a:cubicBezTo>
                    <a:pt x="176" y="48"/>
                    <a:pt x="236" y="30"/>
                    <a:pt x="284"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58" name="Google Shape;3849;p60"/>
            <p:cNvSpPr/>
            <p:nvPr/>
          </p:nvSpPr>
          <p:spPr>
            <a:xfrm>
              <a:off x="2728253" y="2585183"/>
              <a:ext cx="15031" cy="8782"/>
            </a:xfrm>
            <a:custGeom>
              <a:avLst/>
              <a:gdLst/>
              <a:ahLst/>
              <a:cxnLst/>
              <a:rect l="l" t="t" r="r" b="b"/>
              <a:pathLst>
                <a:path w="469" h="274" extrusionOk="0">
                  <a:moveTo>
                    <a:pt x="151" y="29"/>
                  </a:moveTo>
                  <a:cubicBezTo>
                    <a:pt x="179" y="29"/>
                    <a:pt x="206" y="33"/>
                    <a:pt x="234" y="40"/>
                  </a:cubicBezTo>
                  <a:cubicBezTo>
                    <a:pt x="284" y="57"/>
                    <a:pt x="334" y="90"/>
                    <a:pt x="368" y="140"/>
                  </a:cubicBezTo>
                  <a:cubicBezTo>
                    <a:pt x="389" y="162"/>
                    <a:pt x="404" y="190"/>
                    <a:pt x="416" y="221"/>
                  </a:cubicBezTo>
                  <a:lnTo>
                    <a:pt x="416" y="221"/>
                  </a:lnTo>
                  <a:cubicBezTo>
                    <a:pt x="387" y="219"/>
                    <a:pt x="348" y="215"/>
                    <a:pt x="301" y="207"/>
                  </a:cubicBezTo>
                  <a:cubicBezTo>
                    <a:pt x="251" y="190"/>
                    <a:pt x="201" y="174"/>
                    <a:pt x="134" y="157"/>
                  </a:cubicBezTo>
                  <a:cubicBezTo>
                    <a:pt x="117" y="140"/>
                    <a:pt x="84" y="140"/>
                    <a:pt x="50" y="123"/>
                  </a:cubicBezTo>
                  <a:cubicBezTo>
                    <a:pt x="17" y="107"/>
                    <a:pt x="17" y="73"/>
                    <a:pt x="34" y="57"/>
                  </a:cubicBezTo>
                  <a:cubicBezTo>
                    <a:pt x="73" y="37"/>
                    <a:pt x="112" y="29"/>
                    <a:pt x="151" y="29"/>
                  </a:cubicBezTo>
                  <a:close/>
                  <a:moveTo>
                    <a:pt x="139" y="1"/>
                  </a:moveTo>
                  <a:cubicBezTo>
                    <a:pt x="99" y="1"/>
                    <a:pt x="57" y="8"/>
                    <a:pt x="17" y="23"/>
                  </a:cubicBezTo>
                  <a:cubicBezTo>
                    <a:pt x="0" y="40"/>
                    <a:pt x="0" y="73"/>
                    <a:pt x="0" y="90"/>
                  </a:cubicBezTo>
                  <a:cubicBezTo>
                    <a:pt x="0" y="107"/>
                    <a:pt x="17" y="123"/>
                    <a:pt x="34" y="140"/>
                  </a:cubicBezTo>
                  <a:cubicBezTo>
                    <a:pt x="67" y="157"/>
                    <a:pt x="100" y="174"/>
                    <a:pt x="134" y="190"/>
                  </a:cubicBezTo>
                  <a:cubicBezTo>
                    <a:pt x="184" y="207"/>
                    <a:pt x="251" y="224"/>
                    <a:pt x="301" y="224"/>
                  </a:cubicBezTo>
                  <a:cubicBezTo>
                    <a:pt x="326" y="232"/>
                    <a:pt x="351" y="236"/>
                    <a:pt x="378" y="236"/>
                  </a:cubicBezTo>
                  <a:cubicBezTo>
                    <a:pt x="392" y="236"/>
                    <a:pt x="406" y="235"/>
                    <a:pt x="421" y="233"/>
                  </a:cubicBezTo>
                  <a:lnTo>
                    <a:pt x="421" y="233"/>
                  </a:lnTo>
                  <a:cubicBezTo>
                    <a:pt x="425" y="246"/>
                    <a:pt x="430" y="260"/>
                    <a:pt x="435" y="274"/>
                  </a:cubicBezTo>
                  <a:cubicBezTo>
                    <a:pt x="435" y="259"/>
                    <a:pt x="435" y="245"/>
                    <a:pt x="435" y="231"/>
                  </a:cubicBezTo>
                  <a:lnTo>
                    <a:pt x="435" y="231"/>
                  </a:lnTo>
                  <a:cubicBezTo>
                    <a:pt x="445" y="229"/>
                    <a:pt x="456" y="227"/>
                    <a:pt x="468" y="224"/>
                  </a:cubicBezTo>
                  <a:cubicBezTo>
                    <a:pt x="468" y="224"/>
                    <a:pt x="456" y="224"/>
                    <a:pt x="434" y="222"/>
                  </a:cubicBezTo>
                  <a:lnTo>
                    <a:pt x="434" y="222"/>
                  </a:lnTo>
                  <a:cubicBezTo>
                    <a:pt x="417" y="189"/>
                    <a:pt x="401" y="156"/>
                    <a:pt x="384" y="123"/>
                  </a:cubicBezTo>
                  <a:cubicBezTo>
                    <a:pt x="326" y="42"/>
                    <a:pt x="235" y="1"/>
                    <a:pt x="139"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59" name="Google Shape;3850;p60"/>
            <p:cNvSpPr/>
            <p:nvPr/>
          </p:nvSpPr>
          <p:spPr>
            <a:xfrm>
              <a:off x="2741105" y="2582683"/>
              <a:ext cx="7532" cy="10224"/>
            </a:xfrm>
            <a:custGeom>
              <a:avLst/>
              <a:gdLst/>
              <a:ahLst/>
              <a:cxnLst/>
              <a:rect l="l" t="t" r="r" b="b"/>
              <a:pathLst>
                <a:path w="235" h="319" extrusionOk="0">
                  <a:moveTo>
                    <a:pt x="184" y="1"/>
                  </a:moveTo>
                  <a:cubicBezTo>
                    <a:pt x="134" y="1"/>
                    <a:pt x="84" y="34"/>
                    <a:pt x="50" y="84"/>
                  </a:cubicBezTo>
                  <a:cubicBezTo>
                    <a:pt x="17" y="118"/>
                    <a:pt x="17" y="168"/>
                    <a:pt x="0" y="201"/>
                  </a:cubicBezTo>
                  <a:cubicBezTo>
                    <a:pt x="0" y="235"/>
                    <a:pt x="0" y="285"/>
                    <a:pt x="17" y="318"/>
                  </a:cubicBezTo>
                  <a:cubicBezTo>
                    <a:pt x="17" y="285"/>
                    <a:pt x="17" y="235"/>
                    <a:pt x="17" y="201"/>
                  </a:cubicBezTo>
                  <a:cubicBezTo>
                    <a:pt x="34" y="168"/>
                    <a:pt x="50" y="135"/>
                    <a:pt x="67" y="101"/>
                  </a:cubicBezTo>
                  <a:cubicBezTo>
                    <a:pt x="100" y="68"/>
                    <a:pt x="134" y="34"/>
                    <a:pt x="184" y="34"/>
                  </a:cubicBezTo>
                  <a:cubicBezTo>
                    <a:pt x="217" y="51"/>
                    <a:pt x="201" y="101"/>
                    <a:pt x="184" y="135"/>
                  </a:cubicBezTo>
                  <a:cubicBezTo>
                    <a:pt x="167" y="168"/>
                    <a:pt x="134" y="201"/>
                    <a:pt x="117" y="235"/>
                  </a:cubicBezTo>
                  <a:cubicBezTo>
                    <a:pt x="67" y="285"/>
                    <a:pt x="34" y="302"/>
                    <a:pt x="34" y="318"/>
                  </a:cubicBezTo>
                  <a:cubicBezTo>
                    <a:pt x="67" y="302"/>
                    <a:pt x="100" y="268"/>
                    <a:pt x="117" y="252"/>
                  </a:cubicBezTo>
                  <a:cubicBezTo>
                    <a:pt x="151" y="218"/>
                    <a:pt x="184" y="185"/>
                    <a:pt x="201" y="151"/>
                  </a:cubicBezTo>
                  <a:cubicBezTo>
                    <a:pt x="217" y="135"/>
                    <a:pt x="234" y="101"/>
                    <a:pt x="234" y="84"/>
                  </a:cubicBezTo>
                  <a:cubicBezTo>
                    <a:pt x="234" y="51"/>
                    <a:pt x="217" y="18"/>
                    <a:pt x="184"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60" name="Google Shape;3851;p60"/>
            <p:cNvSpPr/>
            <p:nvPr/>
          </p:nvSpPr>
          <p:spPr>
            <a:xfrm>
              <a:off x="2799468" y="2588036"/>
              <a:ext cx="28396" cy="23076"/>
            </a:xfrm>
            <a:custGeom>
              <a:avLst/>
              <a:gdLst/>
              <a:ahLst/>
              <a:cxnLst/>
              <a:rect l="l" t="t" r="r" b="b"/>
              <a:pathLst>
                <a:path w="886" h="720" extrusionOk="0">
                  <a:moveTo>
                    <a:pt x="702" y="1"/>
                  </a:moveTo>
                  <a:cubicBezTo>
                    <a:pt x="385" y="18"/>
                    <a:pt x="117" y="235"/>
                    <a:pt x="34" y="536"/>
                  </a:cubicBezTo>
                  <a:cubicBezTo>
                    <a:pt x="17" y="569"/>
                    <a:pt x="0" y="619"/>
                    <a:pt x="0" y="669"/>
                  </a:cubicBezTo>
                  <a:cubicBezTo>
                    <a:pt x="0" y="686"/>
                    <a:pt x="0" y="703"/>
                    <a:pt x="0" y="719"/>
                  </a:cubicBezTo>
                  <a:cubicBezTo>
                    <a:pt x="0" y="719"/>
                    <a:pt x="0" y="636"/>
                    <a:pt x="51" y="536"/>
                  </a:cubicBezTo>
                  <a:cubicBezTo>
                    <a:pt x="151" y="252"/>
                    <a:pt x="401" y="51"/>
                    <a:pt x="702" y="34"/>
                  </a:cubicBezTo>
                  <a:cubicBezTo>
                    <a:pt x="761" y="26"/>
                    <a:pt x="807" y="26"/>
                    <a:pt x="838" y="26"/>
                  </a:cubicBezTo>
                  <a:cubicBezTo>
                    <a:pt x="869" y="26"/>
                    <a:pt x="886" y="26"/>
                    <a:pt x="886" y="18"/>
                  </a:cubicBezTo>
                  <a:lnTo>
                    <a:pt x="836" y="18"/>
                  </a:lnTo>
                  <a:cubicBezTo>
                    <a:pt x="802" y="1"/>
                    <a:pt x="752" y="1"/>
                    <a:pt x="702"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61" name="Google Shape;3852;p60"/>
            <p:cNvSpPr/>
            <p:nvPr/>
          </p:nvSpPr>
          <p:spPr>
            <a:xfrm>
              <a:off x="2766265" y="2603035"/>
              <a:ext cx="23044" cy="1314"/>
            </a:xfrm>
            <a:custGeom>
              <a:avLst/>
              <a:gdLst/>
              <a:ahLst/>
              <a:cxnLst/>
              <a:rect l="l" t="t" r="r" b="b"/>
              <a:pathLst>
                <a:path w="719" h="41" extrusionOk="0">
                  <a:moveTo>
                    <a:pt x="0" y="1"/>
                  </a:moveTo>
                  <a:cubicBezTo>
                    <a:pt x="129" y="28"/>
                    <a:pt x="263" y="41"/>
                    <a:pt x="396" y="41"/>
                  </a:cubicBezTo>
                  <a:cubicBezTo>
                    <a:pt x="505" y="41"/>
                    <a:pt x="614" y="33"/>
                    <a:pt x="719" y="18"/>
                  </a:cubicBezTo>
                  <a:cubicBezTo>
                    <a:pt x="719" y="12"/>
                    <a:pt x="700" y="10"/>
                    <a:pt x="668" y="10"/>
                  </a:cubicBezTo>
                  <a:cubicBezTo>
                    <a:pt x="604" y="10"/>
                    <a:pt x="485" y="18"/>
                    <a:pt x="351" y="18"/>
                  </a:cubicBezTo>
                  <a:cubicBezTo>
                    <a:pt x="151" y="18"/>
                    <a:pt x="1" y="1"/>
                    <a:pt x="0"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62" name="Google Shape;3853;p60"/>
            <p:cNvSpPr/>
            <p:nvPr/>
          </p:nvSpPr>
          <p:spPr>
            <a:xfrm>
              <a:off x="2802129" y="2603580"/>
              <a:ext cx="3269" cy="4455"/>
            </a:xfrm>
            <a:custGeom>
              <a:avLst/>
              <a:gdLst/>
              <a:ahLst/>
              <a:cxnLst/>
              <a:rect l="l" t="t" r="r" b="b"/>
              <a:pathLst>
                <a:path w="102" h="139" extrusionOk="0">
                  <a:moveTo>
                    <a:pt x="85" y="1"/>
                  </a:moveTo>
                  <a:cubicBezTo>
                    <a:pt x="85" y="1"/>
                    <a:pt x="51" y="17"/>
                    <a:pt x="34" y="67"/>
                  </a:cubicBezTo>
                  <a:cubicBezTo>
                    <a:pt x="1" y="101"/>
                    <a:pt x="18" y="134"/>
                    <a:pt x="18" y="134"/>
                  </a:cubicBezTo>
                  <a:cubicBezTo>
                    <a:pt x="21" y="137"/>
                    <a:pt x="23" y="139"/>
                    <a:pt x="25" y="139"/>
                  </a:cubicBezTo>
                  <a:cubicBezTo>
                    <a:pt x="35" y="139"/>
                    <a:pt x="37" y="109"/>
                    <a:pt x="51" y="67"/>
                  </a:cubicBezTo>
                  <a:cubicBezTo>
                    <a:pt x="68" y="34"/>
                    <a:pt x="101" y="1"/>
                    <a:pt x="85"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63" name="Google Shape;3854;p60"/>
            <p:cNvSpPr/>
            <p:nvPr/>
          </p:nvSpPr>
          <p:spPr>
            <a:xfrm>
              <a:off x="2807513" y="2596401"/>
              <a:ext cx="3750" cy="3141"/>
            </a:xfrm>
            <a:custGeom>
              <a:avLst/>
              <a:gdLst/>
              <a:ahLst/>
              <a:cxnLst/>
              <a:rect l="l" t="t" r="r" b="b"/>
              <a:pathLst>
                <a:path w="117" h="98" extrusionOk="0">
                  <a:moveTo>
                    <a:pt x="97" y="1"/>
                  </a:moveTo>
                  <a:cubicBezTo>
                    <a:pt x="90" y="1"/>
                    <a:pt x="75" y="16"/>
                    <a:pt x="50" y="41"/>
                  </a:cubicBezTo>
                  <a:cubicBezTo>
                    <a:pt x="17" y="57"/>
                    <a:pt x="0" y="91"/>
                    <a:pt x="17" y="91"/>
                  </a:cubicBezTo>
                  <a:cubicBezTo>
                    <a:pt x="17" y="95"/>
                    <a:pt x="19" y="97"/>
                    <a:pt x="23" y="97"/>
                  </a:cubicBezTo>
                  <a:cubicBezTo>
                    <a:pt x="33" y="97"/>
                    <a:pt x="55" y="82"/>
                    <a:pt x="67" y="57"/>
                  </a:cubicBezTo>
                  <a:cubicBezTo>
                    <a:pt x="100" y="24"/>
                    <a:pt x="117" y="7"/>
                    <a:pt x="100" y="7"/>
                  </a:cubicBezTo>
                  <a:cubicBezTo>
                    <a:pt x="100" y="3"/>
                    <a:pt x="99" y="1"/>
                    <a:pt x="97"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64" name="Google Shape;3855;p60"/>
            <p:cNvSpPr/>
            <p:nvPr/>
          </p:nvSpPr>
          <p:spPr>
            <a:xfrm>
              <a:off x="2814468" y="2592651"/>
              <a:ext cx="4840" cy="2083"/>
            </a:xfrm>
            <a:custGeom>
              <a:avLst/>
              <a:gdLst/>
              <a:ahLst/>
              <a:cxnLst/>
              <a:rect l="l" t="t" r="r" b="b"/>
              <a:pathLst>
                <a:path w="151" h="65" extrusionOk="0">
                  <a:moveTo>
                    <a:pt x="106" y="0"/>
                  </a:moveTo>
                  <a:cubicBezTo>
                    <a:pt x="95" y="0"/>
                    <a:pt x="82" y="2"/>
                    <a:pt x="67" y="7"/>
                  </a:cubicBezTo>
                  <a:cubicBezTo>
                    <a:pt x="34" y="24"/>
                    <a:pt x="0" y="57"/>
                    <a:pt x="17" y="57"/>
                  </a:cubicBezTo>
                  <a:cubicBezTo>
                    <a:pt x="17" y="62"/>
                    <a:pt x="20" y="64"/>
                    <a:pt x="25" y="64"/>
                  </a:cubicBezTo>
                  <a:cubicBezTo>
                    <a:pt x="37" y="64"/>
                    <a:pt x="60" y="53"/>
                    <a:pt x="84" y="41"/>
                  </a:cubicBezTo>
                  <a:cubicBezTo>
                    <a:pt x="117" y="24"/>
                    <a:pt x="151" y="24"/>
                    <a:pt x="151" y="24"/>
                  </a:cubicBezTo>
                  <a:cubicBezTo>
                    <a:pt x="151" y="12"/>
                    <a:pt x="134" y="0"/>
                    <a:pt x="106"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65" name="Google Shape;3856;p60"/>
            <p:cNvSpPr/>
            <p:nvPr/>
          </p:nvSpPr>
          <p:spPr>
            <a:xfrm>
              <a:off x="2823025" y="2591401"/>
              <a:ext cx="2724" cy="1506"/>
            </a:xfrm>
            <a:custGeom>
              <a:avLst/>
              <a:gdLst/>
              <a:ahLst/>
              <a:cxnLst/>
              <a:rect l="l" t="t" r="r" b="b"/>
              <a:pathLst>
                <a:path w="85" h="47" extrusionOk="0">
                  <a:moveTo>
                    <a:pt x="57" y="0"/>
                  </a:moveTo>
                  <a:cubicBezTo>
                    <a:pt x="51" y="0"/>
                    <a:pt x="42" y="5"/>
                    <a:pt x="34" y="13"/>
                  </a:cubicBezTo>
                  <a:cubicBezTo>
                    <a:pt x="17" y="13"/>
                    <a:pt x="1" y="30"/>
                    <a:pt x="1" y="46"/>
                  </a:cubicBezTo>
                  <a:lnTo>
                    <a:pt x="51" y="46"/>
                  </a:lnTo>
                  <a:cubicBezTo>
                    <a:pt x="67" y="30"/>
                    <a:pt x="84" y="13"/>
                    <a:pt x="67" y="13"/>
                  </a:cubicBezTo>
                  <a:cubicBezTo>
                    <a:pt x="67" y="5"/>
                    <a:pt x="63" y="0"/>
                    <a:pt x="57"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66" name="Google Shape;3857;p60"/>
            <p:cNvSpPr/>
            <p:nvPr/>
          </p:nvSpPr>
          <p:spPr>
            <a:xfrm>
              <a:off x="2878151" y="2562332"/>
              <a:ext cx="132879" cy="82593"/>
            </a:xfrm>
            <a:custGeom>
              <a:avLst/>
              <a:gdLst/>
              <a:ahLst/>
              <a:cxnLst/>
              <a:rect l="l" t="t" r="r" b="b"/>
              <a:pathLst>
                <a:path w="4146" h="2577" extrusionOk="0">
                  <a:moveTo>
                    <a:pt x="3761" y="1"/>
                  </a:moveTo>
                  <a:lnTo>
                    <a:pt x="1505" y="1070"/>
                  </a:lnTo>
                  <a:lnTo>
                    <a:pt x="1622" y="1304"/>
                  </a:lnTo>
                  <a:cubicBezTo>
                    <a:pt x="1622" y="1304"/>
                    <a:pt x="0" y="2577"/>
                    <a:pt x="418" y="2577"/>
                  </a:cubicBezTo>
                  <a:cubicBezTo>
                    <a:pt x="428" y="2577"/>
                    <a:pt x="440" y="2576"/>
                    <a:pt x="453" y="2574"/>
                  </a:cubicBezTo>
                  <a:cubicBezTo>
                    <a:pt x="921" y="2491"/>
                    <a:pt x="3410" y="1187"/>
                    <a:pt x="4012" y="870"/>
                  </a:cubicBezTo>
                  <a:lnTo>
                    <a:pt x="4145" y="786"/>
                  </a:lnTo>
                  <a:lnTo>
                    <a:pt x="3761" y="1"/>
                  </a:lnTo>
                  <a:close/>
                </a:path>
              </a:pathLst>
            </a:custGeom>
            <a:solidFill>
              <a:srgbClr val="C875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67" name="Google Shape;3858;p60"/>
            <p:cNvSpPr/>
            <p:nvPr/>
          </p:nvSpPr>
          <p:spPr>
            <a:xfrm>
              <a:off x="2982602" y="2566626"/>
              <a:ext cx="27883" cy="32691"/>
            </a:xfrm>
            <a:custGeom>
              <a:avLst/>
              <a:gdLst/>
              <a:ahLst/>
              <a:cxnLst/>
              <a:rect l="l" t="t" r="r" b="b"/>
              <a:pathLst>
                <a:path w="870" h="1020" extrusionOk="0">
                  <a:moveTo>
                    <a:pt x="569" y="1"/>
                  </a:moveTo>
                  <a:cubicBezTo>
                    <a:pt x="368" y="67"/>
                    <a:pt x="218" y="218"/>
                    <a:pt x="118" y="418"/>
                  </a:cubicBezTo>
                  <a:cubicBezTo>
                    <a:pt x="34" y="602"/>
                    <a:pt x="1" y="819"/>
                    <a:pt x="68" y="1020"/>
                  </a:cubicBezTo>
                  <a:lnTo>
                    <a:pt x="870" y="619"/>
                  </a:lnTo>
                  <a:lnTo>
                    <a:pt x="569" y="1"/>
                  </a:lnTo>
                  <a:close/>
                </a:path>
              </a:pathLst>
            </a:custGeom>
            <a:solidFill>
              <a:srgbClr val="FFFFFF">
                <a:alpha val="5625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68" name="Google Shape;3859;p60"/>
            <p:cNvSpPr/>
            <p:nvPr/>
          </p:nvSpPr>
          <p:spPr>
            <a:xfrm>
              <a:off x="2885683" y="2585920"/>
              <a:ext cx="125348" cy="59004"/>
            </a:xfrm>
            <a:custGeom>
              <a:avLst/>
              <a:gdLst/>
              <a:ahLst/>
              <a:cxnLst/>
              <a:rect l="l" t="t" r="r" b="b"/>
              <a:pathLst>
                <a:path w="3911" h="1841" extrusionOk="0">
                  <a:moveTo>
                    <a:pt x="3877" y="0"/>
                  </a:moveTo>
                  <a:lnTo>
                    <a:pt x="903" y="1454"/>
                  </a:lnTo>
                  <a:cubicBezTo>
                    <a:pt x="903" y="1454"/>
                    <a:pt x="737" y="1247"/>
                    <a:pt x="607" y="1247"/>
                  </a:cubicBezTo>
                  <a:cubicBezTo>
                    <a:pt x="593" y="1247"/>
                    <a:pt x="581" y="1249"/>
                    <a:pt x="569" y="1253"/>
                  </a:cubicBezTo>
                  <a:cubicBezTo>
                    <a:pt x="569" y="1253"/>
                    <a:pt x="0" y="1771"/>
                    <a:pt x="134" y="1838"/>
                  </a:cubicBezTo>
                  <a:cubicBezTo>
                    <a:pt x="138" y="1840"/>
                    <a:pt x="143" y="1841"/>
                    <a:pt x="150" y="1841"/>
                  </a:cubicBezTo>
                  <a:cubicBezTo>
                    <a:pt x="402" y="1841"/>
                    <a:pt x="2853" y="668"/>
                    <a:pt x="3910" y="50"/>
                  </a:cubicBezTo>
                  <a:lnTo>
                    <a:pt x="3877" y="0"/>
                  </a:lnTo>
                  <a:close/>
                </a:path>
              </a:pathLst>
            </a:custGeom>
            <a:solidFill>
              <a:srgbClr val="FFFFFF">
                <a:alpha val="5625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69" name="Google Shape;3860;p60"/>
            <p:cNvSpPr/>
            <p:nvPr/>
          </p:nvSpPr>
          <p:spPr>
            <a:xfrm>
              <a:off x="2889433" y="2585376"/>
              <a:ext cx="121598" cy="58395"/>
            </a:xfrm>
            <a:custGeom>
              <a:avLst/>
              <a:gdLst/>
              <a:ahLst/>
              <a:cxnLst/>
              <a:rect l="l" t="t" r="r" b="b"/>
              <a:pathLst>
                <a:path w="3794" h="1822" extrusionOk="0">
                  <a:moveTo>
                    <a:pt x="3793" y="0"/>
                  </a:moveTo>
                  <a:cubicBezTo>
                    <a:pt x="3793" y="0"/>
                    <a:pt x="3777" y="17"/>
                    <a:pt x="3760" y="17"/>
                  </a:cubicBezTo>
                  <a:lnTo>
                    <a:pt x="3643" y="67"/>
                  </a:lnTo>
                  <a:lnTo>
                    <a:pt x="3242" y="284"/>
                  </a:lnTo>
                  <a:cubicBezTo>
                    <a:pt x="2908" y="452"/>
                    <a:pt x="2440" y="685"/>
                    <a:pt x="1905" y="936"/>
                  </a:cubicBezTo>
                  <a:cubicBezTo>
                    <a:pt x="1387" y="1187"/>
                    <a:pt x="903" y="1404"/>
                    <a:pt x="552" y="1571"/>
                  </a:cubicBezTo>
                  <a:lnTo>
                    <a:pt x="151" y="1755"/>
                  </a:lnTo>
                  <a:lnTo>
                    <a:pt x="569" y="1588"/>
                  </a:lnTo>
                  <a:cubicBezTo>
                    <a:pt x="919" y="1437"/>
                    <a:pt x="1404" y="1220"/>
                    <a:pt x="1922" y="970"/>
                  </a:cubicBezTo>
                  <a:cubicBezTo>
                    <a:pt x="2457" y="719"/>
                    <a:pt x="2924" y="468"/>
                    <a:pt x="3259" y="301"/>
                  </a:cubicBezTo>
                  <a:lnTo>
                    <a:pt x="3660" y="84"/>
                  </a:lnTo>
                  <a:lnTo>
                    <a:pt x="3760" y="34"/>
                  </a:lnTo>
                  <a:cubicBezTo>
                    <a:pt x="3777" y="17"/>
                    <a:pt x="3793" y="17"/>
                    <a:pt x="3793" y="0"/>
                  </a:cubicBezTo>
                  <a:close/>
                  <a:moveTo>
                    <a:pt x="34" y="1805"/>
                  </a:moveTo>
                  <a:cubicBezTo>
                    <a:pt x="17" y="1805"/>
                    <a:pt x="17" y="1822"/>
                    <a:pt x="0" y="1822"/>
                  </a:cubicBezTo>
                  <a:cubicBezTo>
                    <a:pt x="17" y="1822"/>
                    <a:pt x="17" y="1822"/>
                    <a:pt x="34" y="1805"/>
                  </a:cubicBezTo>
                  <a:close/>
                </a:path>
              </a:pathLst>
            </a:custGeom>
            <a:solidFill>
              <a:srgbClr val="B7887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70" name="Google Shape;3861;p60"/>
            <p:cNvSpPr/>
            <p:nvPr/>
          </p:nvSpPr>
          <p:spPr>
            <a:xfrm>
              <a:off x="2903343" y="2625534"/>
              <a:ext cx="11826" cy="8077"/>
            </a:xfrm>
            <a:custGeom>
              <a:avLst/>
              <a:gdLst/>
              <a:ahLst/>
              <a:cxnLst/>
              <a:rect l="l" t="t" r="r" b="b"/>
              <a:pathLst>
                <a:path w="369" h="252" extrusionOk="0">
                  <a:moveTo>
                    <a:pt x="1" y="1"/>
                  </a:moveTo>
                  <a:cubicBezTo>
                    <a:pt x="68" y="34"/>
                    <a:pt x="135" y="51"/>
                    <a:pt x="201" y="101"/>
                  </a:cubicBezTo>
                  <a:cubicBezTo>
                    <a:pt x="268" y="134"/>
                    <a:pt x="318" y="201"/>
                    <a:pt x="368" y="251"/>
                  </a:cubicBezTo>
                  <a:cubicBezTo>
                    <a:pt x="318" y="101"/>
                    <a:pt x="151" y="1"/>
                    <a:pt x="1"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71" name="Google Shape;3862;p60"/>
            <p:cNvSpPr/>
            <p:nvPr/>
          </p:nvSpPr>
          <p:spPr>
            <a:xfrm>
              <a:off x="2924784" y="2608387"/>
              <a:ext cx="6987" cy="4487"/>
            </a:xfrm>
            <a:custGeom>
              <a:avLst/>
              <a:gdLst/>
              <a:ahLst/>
              <a:cxnLst/>
              <a:rect l="l" t="t" r="r" b="b"/>
              <a:pathLst>
                <a:path w="218" h="140" extrusionOk="0">
                  <a:moveTo>
                    <a:pt x="0" y="1"/>
                  </a:moveTo>
                  <a:cubicBezTo>
                    <a:pt x="0" y="18"/>
                    <a:pt x="34" y="51"/>
                    <a:pt x="100" y="84"/>
                  </a:cubicBezTo>
                  <a:cubicBezTo>
                    <a:pt x="141" y="112"/>
                    <a:pt x="182" y="139"/>
                    <a:pt x="196" y="139"/>
                  </a:cubicBezTo>
                  <a:cubicBezTo>
                    <a:pt x="199" y="139"/>
                    <a:pt x="201" y="138"/>
                    <a:pt x="201" y="135"/>
                  </a:cubicBezTo>
                  <a:cubicBezTo>
                    <a:pt x="217" y="135"/>
                    <a:pt x="167" y="101"/>
                    <a:pt x="117" y="68"/>
                  </a:cubicBezTo>
                  <a:cubicBezTo>
                    <a:pt x="50" y="18"/>
                    <a:pt x="0" y="1"/>
                    <a:pt x="0"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72" name="Google Shape;3863;p60"/>
            <p:cNvSpPr/>
            <p:nvPr/>
          </p:nvSpPr>
          <p:spPr>
            <a:xfrm>
              <a:off x="2929047" y="2604958"/>
              <a:ext cx="7019" cy="2083"/>
            </a:xfrm>
            <a:custGeom>
              <a:avLst/>
              <a:gdLst/>
              <a:ahLst/>
              <a:cxnLst/>
              <a:rect l="l" t="t" r="r" b="b"/>
              <a:pathLst>
                <a:path w="219" h="65" extrusionOk="0">
                  <a:moveTo>
                    <a:pt x="26" y="1"/>
                  </a:moveTo>
                  <a:cubicBezTo>
                    <a:pt x="20" y="1"/>
                    <a:pt x="18" y="3"/>
                    <a:pt x="18" y="8"/>
                  </a:cubicBezTo>
                  <a:cubicBezTo>
                    <a:pt x="1" y="8"/>
                    <a:pt x="51" y="24"/>
                    <a:pt x="101" y="41"/>
                  </a:cubicBezTo>
                  <a:cubicBezTo>
                    <a:pt x="148" y="53"/>
                    <a:pt x="179" y="65"/>
                    <a:pt x="199" y="65"/>
                  </a:cubicBezTo>
                  <a:cubicBezTo>
                    <a:pt x="207" y="65"/>
                    <a:pt x="213" y="63"/>
                    <a:pt x="218" y="58"/>
                  </a:cubicBezTo>
                  <a:cubicBezTo>
                    <a:pt x="218" y="58"/>
                    <a:pt x="168" y="41"/>
                    <a:pt x="118" y="24"/>
                  </a:cubicBezTo>
                  <a:cubicBezTo>
                    <a:pt x="71" y="13"/>
                    <a:pt x="40" y="1"/>
                    <a:pt x="26"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73" name="Google Shape;3864;p60"/>
            <p:cNvSpPr/>
            <p:nvPr/>
          </p:nvSpPr>
          <p:spPr>
            <a:xfrm>
              <a:off x="2928534" y="2598228"/>
              <a:ext cx="8045" cy="3782"/>
            </a:xfrm>
            <a:custGeom>
              <a:avLst/>
              <a:gdLst/>
              <a:ahLst/>
              <a:cxnLst/>
              <a:rect l="l" t="t" r="r" b="b"/>
              <a:pathLst>
                <a:path w="251" h="118" extrusionOk="0">
                  <a:moveTo>
                    <a:pt x="234" y="0"/>
                  </a:moveTo>
                  <a:lnTo>
                    <a:pt x="234" y="0"/>
                  </a:lnTo>
                  <a:cubicBezTo>
                    <a:pt x="201" y="17"/>
                    <a:pt x="151" y="17"/>
                    <a:pt x="117" y="51"/>
                  </a:cubicBezTo>
                  <a:cubicBezTo>
                    <a:pt x="50" y="84"/>
                    <a:pt x="0" y="117"/>
                    <a:pt x="0" y="117"/>
                  </a:cubicBezTo>
                  <a:cubicBezTo>
                    <a:pt x="50" y="117"/>
                    <a:pt x="100" y="101"/>
                    <a:pt x="134" y="84"/>
                  </a:cubicBezTo>
                  <a:cubicBezTo>
                    <a:pt x="201" y="51"/>
                    <a:pt x="251" y="17"/>
                    <a:pt x="234"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74" name="Google Shape;3865;p60"/>
            <p:cNvSpPr/>
            <p:nvPr/>
          </p:nvSpPr>
          <p:spPr>
            <a:xfrm>
              <a:off x="2926931" y="2592875"/>
              <a:ext cx="8589" cy="4840"/>
            </a:xfrm>
            <a:custGeom>
              <a:avLst/>
              <a:gdLst/>
              <a:ahLst/>
              <a:cxnLst/>
              <a:rect l="l" t="t" r="r" b="b"/>
              <a:pathLst>
                <a:path w="268" h="151" extrusionOk="0">
                  <a:moveTo>
                    <a:pt x="251" y="0"/>
                  </a:moveTo>
                  <a:cubicBezTo>
                    <a:pt x="167" y="50"/>
                    <a:pt x="84" y="101"/>
                    <a:pt x="0" y="151"/>
                  </a:cubicBezTo>
                  <a:cubicBezTo>
                    <a:pt x="50" y="151"/>
                    <a:pt x="100" y="134"/>
                    <a:pt x="150" y="101"/>
                  </a:cubicBezTo>
                  <a:cubicBezTo>
                    <a:pt x="217" y="67"/>
                    <a:pt x="267" y="17"/>
                    <a:pt x="251"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75" name="Google Shape;3866;p60"/>
            <p:cNvSpPr/>
            <p:nvPr/>
          </p:nvSpPr>
          <p:spPr>
            <a:xfrm>
              <a:off x="2910329" y="2604638"/>
              <a:ext cx="15544" cy="6698"/>
            </a:xfrm>
            <a:custGeom>
              <a:avLst/>
              <a:gdLst/>
              <a:ahLst/>
              <a:cxnLst/>
              <a:rect l="l" t="t" r="r" b="b"/>
              <a:pathLst>
                <a:path w="485" h="209" extrusionOk="0">
                  <a:moveTo>
                    <a:pt x="248" y="27"/>
                  </a:moveTo>
                  <a:cubicBezTo>
                    <a:pt x="288" y="27"/>
                    <a:pt x="332" y="39"/>
                    <a:pt x="368" y="51"/>
                  </a:cubicBezTo>
                  <a:cubicBezTo>
                    <a:pt x="390" y="62"/>
                    <a:pt x="420" y="81"/>
                    <a:pt x="447" y="107"/>
                  </a:cubicBezTo>
                  <a:lnTo>
                    <a:pt x="447" y="107"/>
                  </a:lnTo>
                  <a:cubicBezTo>
                    <a:pt x="422" y="118"/>
                    <a:pt x="385" y="135"/>
                    <a:pt x="334" y="151"/>
                  </a:cubicBezTo>
                  <a:cubicBezTo>
                    <a:pt x="284" y="151"/>
                    <a:pt x="234" y="168"/>
                    <a:pt x="167" y="168"/>
                  </a:cubicBezTo>
                  <a:cubicBezTo>
                    <a:pt x="134" y="185"/>
                    <a:pt x="100" y="185"/>
                    <a:pt x="67" y="185"/>
                  </a:cubicBezTo>
                  <a:cubicBezTo>
                    <a:pt x="34" y="168"/>
                    <a:pt x="17" y="151"/>
                    <a:pt x="34" y="118"/>
                  </a:cubicBezTo>
                  <a:cubicBezTo>
                    <a:pt x="67" y="68"/>
                    <a:pt x="134" y="34"/>
                    <a:pt x="201" y="34"/>
                  </a:cubicBezTo>
                  <a:cubicBezTo>
                    <a:pt x="215" y="29"/>
                    <a:pt x="231" y="27"/>
                    <a:pt x="248" y="27"/>
                  </a:cubicBezTo>
                  <a:close/>
                  <a:moveTo>
                    <a:pt x="239" y="0"/>
                  </a:moveTo>
                  <a:cubicBezTo>
                    <a:pt x="153" y="0"/>
                    <a:pt x="66" y="41"/>
                    <a:pt x="0" y="118"/>
                  </a:cubicBezTo>
                  <a:cubicBezTo>
                    <a:pt x="0" y="135"/>
                    <a:pt x="0" y="168"/>
                    <a:pt x="17" y="185"/>
                  </a:cubicBezTo>
                  <a:cubicBezTo>
                    <a:pt x="34" y="201"/>
                    <a:pt x="50" y="201"/>
                    <a:pt x="67" y="201"/>
                  </a:cubicBezTo>
                  <a:cubicBezTo>
                    <a:pt x="78" y="207"/>
                    <a:pt x="89" y="209"/>
                    <a:pt x="100" y="209"/>
                  </a:cubicBezTo>
                  <a:cubicBezTo>
                    <a:pt x="123" y="209"/>
                    <a:pt x="145" y="201"/>
                    <a:pt x="167" y="201"/>
                  </a:cubicBezTo>
                  <a:cubicBezTo>
                    <a:pt x="234" y="201"/>
                    <a:pt x="284" y="185"/>
                    <a:pt x="351" y="168"/>
                  </a:cubicBezTo>
                  <a:cubicBezTo>
                    <a:pt x="389" y="156"/>
                    <a:pt x="426" y="134"/>
                    <a:pt x="457" y="116"/>
                  </a:cubicBezTo>
                  <a:lnTo>
                    <a:pt x="457" y="116"/>
                  </a:lnTo>
                  <a:cubicBezTo>
                    <a:pt x="467" y="127"/>
                    <a:pt x="476" y="139"/>
                    <a:pt x="485" y="151"/>
                  </a:cubicBezTo>
                  <a:cubicBezTo>
                    <a:pt x="485" y="151"/>
                    <a:pt x="485" y="137"/>
                    <a:pt x="471" y="108"/>
                  </a:cubicBezTo>
                  <a:lnTo>
                    <a:pt x="471" y="108"/>
                  </a:lnTo>
                  <a:cubicBezTo>
                    <a:pt x="476" y="106"/>
                    <a:pt x="480" y="103"/>
                    <a:pt x="485" y="101"/>
                  </a:cubicBezTo>
                  <a:cubicBezTo>
                    <a:pt x="485" y="98"/>
                    <a:pt x="483" y="97"/>
                    <a:pt x="480" y="97"/>
                  </a:cubicBezTo>
                  <a:cubicBezTo>
                    <a:pt x="476" y="97"/>
                    <a:pt x="472" y="98"/>
                    <a:pt x="466" y="100"/>
                  </a:cubicBezTo>
                  <a:lnTo>
                    <a:pt x="466" y="100"/>
                  </a:lnTo>
                  <a:cubicBezTo>
                    <a:pt x="433" y="83"/>
                    <a:pt x="400" y="51"/>
                    <a:pt x="368" y="34"/>
                  </a:cubicBezTo>
                  <a:cubicBezTo>
                    <a:pt x="328" y="11"/>
                    <a:pt x="283" y="0"/>
                    <a:pt x="239"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76" name="Google Shape;3867;p60"/>
            <p:cNvSpPr/>
            <p:nvPr/>
          </p:nvSpPr>
          <p:spPr>
            <a:xfrm>
              <a:off x="2922092" y="2597170"/>
              <a:ext cx="5929" cy="11250"/>
            </a:xfrm>
            <a:custGeom>
              <a:avLst/>
              <a:gdLst/>
              <a:ahLst/>
              <a:cxnLst/>
              <a:rect l="l" t="t" r="r" b="b"/>
              <a:pathLst>
                <a:path w="185" h="351" extrusionOk="0">
                  <a:moveTo>
                    <a:pt x="101" y="0"/>
                  </a:moveTo>
                  <a:cubicBezTo>
                    <a:pt x="51" y="33"/>
                    <a:pt x="17" y="84"/>
                    <a:pt x="17" y="134"/>
                  </a:cubicBezTo>
                  <a:cubicBezTo>
                    <a:pt x="1" y="184"/>
                    <a:pt x="17" y="217"/>
                    <a:pt x="17" y="267"/>
                  </a:cubicBezTo>
                  <a:cubicBezTo>
                    <a:pt x="34" y="301"/>
                    <a:pt x="51" y="334"/>
                    <a:pt x="84" y="351"/>
                  </a:cubicBezTo>
                  <a:cubicBezTo>
                    <a:pt x="68" y="317"/>
                    <a:pt x="51" y="284"/>
                    <a:pt x="51" y="251"/>
                  </a:cubicBezTo>
                  <a:cubicBezTo>
                    <a:pt x="34" y="217"/>
                    <a:pt x="34" y="184"/>
                    <a:pt x="34" y="134"/>
                  </a:cubicBezTo>
                  <a:cubicBezTo>
                    <a:pt x="51" y="100"/>
                    <a:pt x="68" y="50"/>
                    <a:pt x="101" y="33"/>
                  </a:cubicBezTo>
                  <a:cubicBezTo>
                    <a:pt x="106" y="32"/>
                    <a:pt x="111" y="31"/>
                    <a:pt x="116" y="31"/>
                  </a:cubicBezTo>
                  <a:cubicBezTo>
                    <a:pt x="151" y="31"/>
                    <a:pt x="151" y="87"/>
                    <a:pt x="151" y="117"/>
                  </a:cubicBezTo>
                  <a:cubicBezTo>
                    <a:pt x="151" y="167"/>
                    <a:pt x="151" y="201"/>
                    <a:pt x="134" y="234"/>
                  </a:cubicBezTo>
                  <a:cubicBezTo>
                    <a:pt x="118" y="301"/>
                    <a:pt x="101" y="351"/>
                    <a:pt x="101" y="351"/>
                  </a:cubicBezTo>
                  <a:cubicBezTo>
                    <a:pt x="118" y="317"/>
                    <a:pt x="151" y="284"/>
                    <a:pt x="151" y="251"/>
                  </a:cubicBezTo>
                  <a:cubicBezTo>
                    <a:pt x="168" y="201"/>
                    <a:pt x="184" y="167"/>
                    <a:pt x="184" y="134"/>
                  </a:cubicBezTo>
                  <a:cubicBezTo>
                    <a:pt x="184" y="100"/>
                    <a:pt x="184" y="84"/>
                    <a:pt x="168" y="50"/>
                  </a:cubicBezTo>
                  <a:cubicBezTo>
                    <a:pt x="168" y="17"/>
                    <a:pt x="134" y="0"/>
                    <a:pt x="101"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77" name="Google Shape;3868;p60"/>
            <p:cNvSpPr/>
            <p:nvPr/>
          </p:nvSpPr>
          <p:spPr>
            <a:xfrm>
              <a:off x="2981545" y="2566626"/>
              <a:ext cx="18781" cy="32178"/>
            </a:xfrm>
            <a:custGeom>
              <a:avLst/>
              <a:gdLst/>
              <a:ahLst/>
              <a:cxnLst/>
              <a:rect l="l" t="t" r="r" b="b"/>
              <a:pathLst>
                <a:path w="586" h="1004" extrusionOk="0">
                  <a:moveTo>
                    <a:pt x="535" y="1"/>
                  </a:moveTo>
                  <a:cubicBezTo>
                    <a:pt x="502" y="17"/>
                    <a:pt x="451" y="34"/>
                    <a:pt x="418" y="67"/>
                  </a:cubicBezTo>
                  <a:cubicBezTo>
                    <a:pt x="151" y="218"/>
                    <a:pt x="0" y="519"/>
                    <a:pt x="34" y="836"/>
                  </a:cubicBezTo>
                  <a:cubicBezTo>
                    <a:pt x="50" y="869"/>
                    <a:pt x="67" y="920"/>
                    <a:pt x="67" y="970"/>
                  </a:cubicBezTo>
                  <a:cubicBezTo>
                    <a:pt x="84" y="986"/>
                    <a:pt x="84" y="1003"/>
                    <a:pt x="101" y="1003"/>
                  </a:cubicBezTo>
                  <a:cubicBezTo>
                    <a:pt x="101" y="1003"/>
                    <a:pt x="67" y="936"/>
                    <a:pt x="67" y="836"/>
                  </a:cubicBezTo>
                  <a:cubicBezTo>
                    <a:pt x="34" y="535"/>
                    <a:pt x="167" y="235"/>
                    <a:pt x="418" y="84"/>
                  </a:cubicBezTo>
                  <a:cubicBezTo>
                    <a:pt x="518" y="17"/>
                    <a:pt x="585" y="1"/>
                    <a:pt x="585"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78" name="Google Shape;3869;p60"/>
            <p:cNvSpPr/>
            <p:nvPr/>
          </p:nvSpPr>
          <p:spPr>
            <a:xfrm>
              <a:off x="2951001" y="2596625"/>
              <a:ext cx="21474" cy="10192"/>
            </a:xfrm>
            <a:custGeom>
              <a:avLst/>
              <a:gdLst/>
              <a:ahLst/>
              <a:cxnLst/>
              <a:rect l="l" t="t" r="r" b="b"/>
              <a:pathLst>
                <a:path w="670" h="318" extrusionOk="0">
                  <a:moveTo>
                    <a:pt x="669" y="0"/>
                  </a:moveTo>
                  <a:cubicBezTo>
                    <a:pt x="653" y="0"/>
                    <a:pt x="519" y="84"/>
                    <a:pt x="335" y="167"/>
                  </a:cubicBezTo>
                  <a:cubicBezTo>
                    <a:pt x="168" y="251"/>
                    <a:pt x="1" y="318"/>
                    <a:pt x="18" y="318"/>
                  </a:cubicBezTo>
                  <a:cubicBezTo>
                    <a:pt x="252" y="251"/>
                    <a:pt x="469" y="151"/>
                    <a:pt x="669"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79" name="Google Shape;3870;p60"/>
            <p:cNvSpPr/>
            <p:nvPr/>
          </p:nvSpPr>
          <p:spPr>
            <a:xfrm>
              <a:off x="2985294" y="2590183"/>
              <a:ext cx="1635" cy="4872"/>
            </a:xfrm>
            <a:custGeom>
              <a:avLst/>
              <a:gdLst/>
              <a:ahLst/>
              <a:cxnLst/>
              <a:rect l="l" t="t" r="r" b="b"/>
              <a:pathLst>
                <a:path w="51" h="152" extrusionOk="0">
                  <a:moveTo>
                    <a:pt x="34" y="1"/>
                  </a:moveTo>
                  <a:cubicBezTo>
                    <a:pt x="34" y="1"/>
                    <a:pt x="0" y="34"/>
                    <a:pt x="17" y="68"/>
                  </a:cubicBezTo>
                  <a:cubicBezTo>
                    <a:pt x="17" y="118"/>
                    <a:pt x="34" y="151"/>
                    <a:pt x="34" y="151"/>
                  </a:cubicBezTo>
                  <a:cubicBezTo>
                    <a:pt x="50" y="151"/>
                    <a:pt x="34" y="118"/>
                    <a:pt x="34" y="68"/>
                  </a:cubicBezTo>
                  <a:cubicBezTo>
                    <a:pt x="34" y="34"/>
                    <a:pt x="50" y="1"/>
                    <a:pt x="34"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80" name="Google Shape;3871;p60"/>
            <p:cNvSpPr/>
            <p:nvPr/>
          </p:nvSpPr>
          <p:spPr>
            <a:xfrm>
              <a:off x="2986897" y="2580953"/>
              <a:ext cx="2179" cy="3910"/>
            </a:xfrm>
            <a:custGeom>
              <a:avLst/>
              <a:gdLst/>
              <a:ahLst/>
              <a:cxnLst/>
              <a:rect l="l" t="t" r="r" b="b"/>
              <a:pathLst>
                <a:path w="68" h="122" extrusionOk="0">
                  <a:moveTo>
                    <a:pt x="49" y="0"/>
                  </a:moveTo>
                  <a:cubicBezTo>
                    <a:pt x="44" y="0"/>
                    <a:pt x="31" y="28"/>
                    <a:pt x="17" y="55"/>
                  </a:cubicBezTo>
                  <a:cubicBezTo>
                    <a:pt x="0" y="88"/>
                    <a:pt x="0" y="122"/>
                    <a:pt x="0" y="122"/>
                  </a:cubicBezTo>
                  <a:cubicBezTo>
                    <a:pt x="17" y="122"/>
                    <a:pt x="34" y="105"/>
                    <a:pt x="51" y="72"/>
                  </a:cubicBezTo>
                  <a:cubicBezTo>
                    <a:pt x="51" y="38"/>
                    <a:pt x="67" y="5"/>
                    <a:pt x="51" y="5"/>
                  </a:cubicBezTo>
                  <a:cubicBezTo>
                    <a:pt x="51" y="2"/>
                    <a:pt x="50" y="0"/>
                    <a:pt x="49"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81" name="Google Shape;3872;p60"/>
            <p:cNvSpPr/>
            <p:nvPr/>
          </p:nvSpPr>
          <p:spPr>
            <a:xfrm>
              <a:off x="2991192" y="2574126"/>
              <a:ext cx="3782" cy="3397"/>
            </a:xfrm>
            <a:custGeom>
              <a:avLst/>
              <a:gdLst/>
              <a:ahLst/>
              <a:cxnLst/>
              <a:rect l="l" t="t" r="r" b="b"/>
              <a:pathLst>
                <a:path w="118" h="106" extrusionOk="0">
                  <a:moveTo>
                    <a:pt x="117" y="1"/>
                  </a:moveTo>
                  <a:cubicBezTo>
                    <a:pt x="100" y="1"/>
                    <a:pt x="67" y="1"/>
                    <a:pt x="34" y="34"/>
                  </a:cubicBezTo>
                  <a:cubicBezTo>
                    <a:pt x="0" y="67"/>
                    <a:pt x="0" y="101"/>
                    <a:pt x="0" y="101"/>
                  </a:cubicBezTo>
                  <a:cubicBezTo>
                    <a:pt x="3" y="104"/>
                    <a:pt x="6" y="105"/>
                    <a:pt x="9" y="105"/>
                  </a:cubicBezTo>
                  <a:cubicBezTo>
                    <a:pt x="23" y="105"/>
                    <a:pt x="37" y="78"/>
                    <a:pt x="50" y="51"/>
                  </a:cubicBezTo>
                  <a:cubicBezTo>
                    <a:pt x="84" y="34"/>
                    <a:pt x="117" y="17"/>
                    <a:pt x="117"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82" name="Google Shape;3873;p60"/>
            <p:cNvSpPr/>
            <p:nvPr/>
          </p:nvSpPr>
          <p:spPr>
            <a:xfrm>
              <a:off x="2997602" y="2570152"/>
              <a:ext cx="2179" cy="2083"/>
            </a:xfrm>
            <a:custGeom>
              <a:avLst/>
              <a:gdLst/>
              <a:ahLst/>
              <a:cxnLst/>
              <a:rect l="l" t="t" r="r" b="b"/>
              <a:pathLst>
                <a:path w="68" h="65" extrusionOk="0">
                  <a:moveTo>
                    <a:pt x="47" y="1"/>
                  </a:moveTo>
                  <a:cubicBezTo>
                    <a:pt x="41" y="1"/>
                    <a:pt x="29" y="12"/>
                    <a:pt x="17" y="24"/>
                  </a:cubicBezTo>
                  <a:cubicBezTo>
                    <a:pt x="1" y="41"/>
                    <a:pt x="1" y="58"/>
                    <a:pt x="1" y="58"/>
                  </a:cubicBezTo>
                  <a:cubicBezTo>
                    <a:pt x="1" y="63"/>
                    <a:pt x="2" y="65"/>
                    <a:pt x="4" y="65"/>
                  </a:cubicBezTo>
                  <a:cubicBezTo>
                    <a:pt x="10" y="65"/>
                    <a:pt x="22" y="53"/>
                    <a:pt x="34" y="41"/>
                  </a:cubicBezTo>
                  <a:cubicBezTo>
                    <a:pt x="51" y="24"/>
                    <a:pt x="67" y="8"/>
                    <a:pt x="51" y="8"/>
                  </a:cubicBezTo>
                  <a:cubicBezTo>
                    <a:pt x="51" y="3"/>
                    <a:pt x="49" y="1"/>
                    <a:pt x="47"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83" name="Google Shape;3874;p60"/>
            <p:cNvSpPr/>
            <p:nvPr/>
          </p:nvSpPr>
          <p:spPr>
            <a:xfrm>
              <a:off x="2648449" y="1526476"/>
              <a:ext cx="352390" cy="780033"/>
            </a:xfrm>
            <a:custGeom>
              <a:avLst/>
              <a:gdLst/>
              <a:ahLst/>
              <a:cxnLst/>
              <a:rect l="l" t="t" r="r" b="b"/>
              <a:pathLst>
                <a:path w="10995" h="24338" extrusionOk="0">
                  <a:moveTo>
                    <a:pt x="5977" y="0"/>
                  </a:moveTo>
                  <a:cubicBezTo>
                    <a:pt x="5917" y="0"/>
                    <a:pt x="5858" y="2"/>
                    <a:pt x="5798" y="7"/>
                  </a:cubicBezTo>
                  <a:lnTo>
                    <a:pt x="3676" y="140"/>
                  </a:lnTo>
                  <a:cubicBezTo>
                    <a:pt x="3676" y="140"/>
                    <a:pt x="3624" y="129"/>
                    <a:pt x="3524" y="129"/>
                  </a:cubicBezTo>
                  <a:cubicBezTo>
                    <a:pt x="3179" y="129"/>
                    <a:pt x="2276" y="260"/>
                    <a:pt x="1070" y="1427"/>
                  </a:cubicBezTo>
                  <a:lnTo>
                    <a:pt x="1" y="2413"/>
                  </a:lnTo>
                  <a:lnTo>
                    <a:pt x="1354" y="4986"/>
                  </a:lnTo>
                  <a:lnTo>
                    <a:pt x="1421" y="6139"/>
                  </a:lnTo>
                  <a:lnTo>
                    <a:pt x="2390" y="9313"/>
                  </a:lnTo>
                  <a:lnTo>
                    <a:pt x="2123" y="10717"/>
                  </a:lnTo>
                  <a:cubicBezTo>
                    <a:pt x="2022" y="11786"/>
                    <a:pt x="585" y="24017"/>
                    <a:pt x="786" y="24201"/>
                  </a:cubicBezTo>
                  <a:cubicBezTo>
                    <a:pt x="800" y="24215"/>
                    <a:pt x="826" y="24222"/>
                    <a:pt x="864" y="24222"/>
                  </a:cubicBezTo>
                  <a:cubicBezTo>
                    <a:pt x="1288" y="24222"/>
                    <a:pt x="3120" y="23382"/>
                    <a:pt x="4146" y="23382"/>
                  </a:cubicBezTo>
                  <a:cubicBezTo>
                    <a:pt x="4380" y="23382"/>
                    <a:pt x="4572" y="23426"/>
                    <a:pt x="4696" y="23532"/>
                  </a:cubicBezTo>
                  <a:cubicBezTo>
                    <a:pt x="5255" y="24001"/>
                    <a:pt x="6260" y="24337"/>
                    <a:pt x="7072" y="24337"/>
                  </a:cubicBezTo>
                  <a:cubicBezTo>
                    <a:pt x="7303" y="24337"/>
                    <a:pt x="7518" y="24310"/>
                    <a:pt x="7703" y="24251"/>
                  </a:cubicBezTo>
                  <a:cubicBezTo>
                    <a:pt x="8320" y="24049"/>
                    <a:pt x="9173" y="23071"/>
                    <a:pt x="10085" y="23071"/>
                  </a:cubicBezTo>
                  <a:cubicBezTo>
                    <a:pt x="10384" y="23071"/>
                    <a:pt x="10689" y="23176"/>
                    <a:pt x="10995" y="23449"/>
                  </a:cubicBezTo>
                  <a:cubicBezTo>
                    <a:pt x="10995" y="23449"/>
                    <a:pt x="10594" y="12605"/>
                    <a:pt x="7987" y="8896"/>
                  </a:cubicBezTo>
                  <a:cubicBezTo>
                    <a:pt x="6935" y="7091"/>
                    <a:pt x="6667" y="7292"/>
                    <a:pt x="7018" y="6239"/>
                  </a:cubicBezTo>
                  <a:lnTo>
                    <a:pt x="8054" y="2814"/>
                  </a:lnTo>
                  <a:lnTo>
                    <a:pt x="7620" y="658"/>
                  </a:lnTo>
                  <a:cubicBezTo>
                    <a:pt x="7178" y="232"/>
                    <a:pt x="6584" y="0"/>
                    <a:pt x="5977"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84" name="Google Shape;3875;p60"/>
            <p:cNvSpPr/>
            <p:nvPr/>
          </p:nvSpPr>
          <p:spPr>
            <a:xfrm>
              <a:off x="2806968" y="1530963"/>
              <a:ext cx="130700" cy="147302"/>
            </a:xfrm>
            <a:custGeom>
              <a:avLst/>
              <a:gdLst/>
              <a:ahLst/>
              <a:cxnLst/>
              <a:rect l="l" t="t" r="r" b="b"/>
              <a:pathLst>
                <a:path w="4078" h="4596" extrusionOk="0">
                  <a:moveTo>
                    <a:pt x="1855" y="0"/>
                  </a:moveTo>
                  <a:lnTo>
                    <a:pt x="0" y="3409"/>
                  </a:lnTo>
                  <a:lnTo>
                    <a:pt x="2523" y="4595"/>
                  </a:lnTo>
                  <a:cubicBezTo>
                    <a:pt x="2523" y="4595"/>
                    <a:pt x="3593" y="2974"/>
                    <a:pt x="3760" y="2189"/>
                  </a:cubicBezTo>
                  <a:cubicBezTo>
                    <a:pt x="4077" y="602"/>
                    <a:pt x="1855" y="0"/>
                    <a:pt x="1855"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85" name="Google Shape;3876;p60"/>
            <p:cNvSpPr/>
            <p:nvPr/>
          </p:nvSpPr>
          <p:spPr>
            <a:xfrm>
              <a:off x="2703607" y="1827970"/>
              <a:ext cx="119450" cy="199095"/>
            </a:xfrm>
            <a:custGeom>
              <a:avLst/>
              <a:gdLst/>
              <a:ahLst/>
              <a:cxnLst/>
              <a:rect l="l" t="t" r="r" b="b"/>
              <a:pathLst>
                <a:path w="3727" h="6212" extrusionOk="0">
                  <a:moveTo>
                    <a:pt x="579" y="535"/>
                  </a:moveTo>
                  <a:lnTo>
                    <a:pt x="569" y="541"/>
                  </a:lnTo>
                  <a:cubicBezTo>
                    <a:pt x="569" y="542"/>
                    <a:pt x="569" y="543"/>
                    <a:pt x="569" y="544"/>
                  </a:cubicBezTo>
                  <a:lnTo>
                    <a:pt x="569" y="544"/>
                  </a:lnTo>
                  <a:cubicBezTo>
                    <a:pt x="572" y="541"/>
                    <a:pt x="576" y="538"/>
                    <a:pt x="579" y="535"/>
                  </a:cubicBezTo>
                  <a:close/>
                  <a:moveTo>
                    <a:pt x="569" y="544"/>
                  </a:moveTo>
                  <a:lnTo>
                    <a:pt x="569" y="544"/>
                  </a:lnTo>
                  <a:cubicBezTo>
                    <a:pt x="563" y="549"/>
                    <a:pt x="557" y="553"/>
                    <a:pt x="552" y="558"/>
                  </a:cubicBezTo>
                  <a:cubicBezTo>
                    <a:pt x="552" y="558"/>
                    <a:pt x="567" y="558"/>
                    <a:pt x="569" y="544"/>
                  </a:cubicBezTo>
                  <a:close/>
                  <a:moveTo>
                    <a:pt x="1" y="4969"/>
                  </a:moveTo>
                  <a:cubicBezTo>
                    <a:pt x="1" y="4977"/>
                    <a:pt x="4" y="4981"/>
                    <a:pt x="8" y="4983"/>
                  </a:cubicBezTo>
                  <a:lnTo>
                    <a:pt x="8" y="4983"/>
                  </a:lnTo>
                  <a:cubicBezTo>
                    <a:pt x="3" y="4978"/>
                    <a:pt x="1" y="4974"/>
                    <a:pt x="1" y="4969"/>
                  </a:cubicBezTo>
                  <a:close/>
                  <a:moveTo>
                    <a:pt x="1976" y="0"/>
                  </a:moveTo>
                  <a:cubicBezTo>
                    <a:pt x="1600" y="0"/>
                    <a:pt x="1241" y="101"/>
                    <a:pt x="920" y="291"/>
                  </a:cubicBezTo>
                  <a:cubicBezTo>
                    <a:pt x="796" y="368"/>
                    <a:pt x="687" y="445"/>
                    <a:pt x="579" y="535"/>
                  </a:cubicBezTo>
                  <a:lnTo>
                    <a:pt x="579" y="535"/>
                  </a:lnTo>
                  <a:lnTo>
                    <a:pt x="652" y="491"/>
                  </a:lnTo>
                  <a:cubicBezTo>
                    <a:pt x="736" y="441"/>
                    <a:pt x="836" y="374"/>
                    <a:pt x="936" y="324"/>
                  </a:cubicBezTo>
                  <a:cubicBezTo>
                    <a:pt x="1277" y="138"/>
                    <a:pt x="1662" y="38"/>
                    <a:pt x="2049" y="38"/>
                  </a:cubicBezTo>
                  <a:cubicBezTo>
                    <a:pt x="2079" y="38"/>
                    <a:pt x="2109" y="39"/>
                    <a:pt x="2139" y="40"/>
                  </a:cubicBezTo>
                  <a:cubicBezTo>
                    <a:pt x="2423" y="57"/>
                    <a:pt x="2691" y="140"/>
                    <a:pt x="2941" y="291"/>
                  </a:cubicBezTo>
                  <a:cubicBezTo>
                    <a:pt x="3225" y="458"/>
                    <a:pt x="3443" y="725"/>
                    <a:pt x="3560" y="1026"/>
                  </a:cubicBezTo>
                  <a:cubicBezTo>
                    <a:pt x="3626" y="1193"/>
                    <a:pt x="3660" y="1360"/>
                    <a:pt x="3643" y="1527"/>
                  </a:cubicBezTo>
                  <a:cubicBezTo>
                    <a:pt x="3626" y="1711"/>
                    <a:pt x="3576" y="1895"/>
                    <a:pt x="3493" y="2062"/>
                  </a:cubicBezTo>
                  <a:cubicBezTo>
                    <a:pt x="3309" y="2379"/>
                    <a:pt x="3025" y="2680"/>
                    <a:pt x="2841" y="3031"/>
                  </a:cubicBezTo>
                  <a:cubicBezTo>
                    <a:pt x="2741" y="3215"/>
                    <a:pt x="2674" y="3415"/>
                    <a:pt x="2657" y="3616"/>
                  </a:cubicBezTo>
                  <a:cubicBezTo>
                    <a:pt x="2641" y="3816"/>
                    <a:pt x="2641" y="4000"/>
                    <a:pt x="2657" y="4200"/>
                  </a:cubicBezTo>
                  <a:cubicBezTo>
                    <a:pt x="2707" y="4568"/>
                    <a:pt x="2707" y="4919"/>
                    <a:pt x="2657" y="5286"/>
                  </a:cubicBezTo>
                  <a:cubicBezTo>
                    <a:pt x="2624" y="5454"/>
                    <a:pt x="2557" y="5604"/>
                    <a:pt x="2473" y="5754"/>
                  </a:cubicBezTo>
                  <a:cubicBezTo>
                    <a:pt x="2390" y="5888"/>
                    <a:pt x="2290" y="6005"/>
                    <a:pt x="2139" y="6072"/>
                  </a:cubicBezTo>
                  <a:cubicBezTo>
                    <a:pt x="2042" y="6127"/>
                    <a:pt x="1923" y="6160"/>
                    <a:pt x="1799" y="6160"/>
                  </a:cubicBezTo>
                  <a:cubicBezTo>
                    <a:pt x="1773" y="6160"/>
                    <a:pt x="1747" y="6158"/>
                    <a:pt x="1722" y="6155"/>
                  </a:cubicBezTo>
                  <a:cubicBezTo>
                    <a:pt x="1588" y="6122"/>
                    <a:pt x="1471" y="6088"/>
                    <a:pt x="1354" y="6005"/>
                  </a:cubicBezTo>
                  <a:cubicBezTo>
                    <a:pt x="1153" y="5871"/>
                    <a:pt x="970" y="5721"/>
                    <a:pt x="803" y="5554"/>
                  </a:cubicBezTo>
                  <a:cubicBezTo>
                    <a:pt x="669" y="5437"/>
                    <a:pt x="535" y="5320"/>
                    <a:pt x="402" y="5203"/>
                  </a:cubicBezTo>
                  <a:cubicBezTo>
                    <a:pt x="301" y="5136"/>
                    <a:pt x="201" y="5069"/>
                    <a:pt x="101" y="5019"/>
                  </a:cubicBezTo>
                  <a:cubicBezTo>
                    <a:pt x="84" y="5002"/>
                    <a:pt x="51" y="5002"/>
                    <a:pt x="17" y="4986"/>
                  </a:cubicBezTo>
                  <a:cubicBezTo>
                    <a:pt x="17" y="4986"/>
                    <a:pt x="13" y="4986"/>
                    <a:pt x="8" y="4983"/>
                  </a:cubicBezTo>
                  <a:lnTo>
                    <a:pt x="8" y="4983"/>
                  </a:lnTo>
                  <a:cubicBezTo>
                    <a:pt x="22" y="4996"/>
                    <a:pt x="53" y="5012"/>
                    <a:pt x="101" y="5036"/>
                  </a:cubicBezTo>
                  <a:cubicBezTo>
                    <a:pt x="201" y="5086"/>
                    <a:pt x="285" y="5153"/>
                    <a:pt x="385" y="5220"/>
                  </a:cubicBezTo>
                  <a:cubicBezTo>
                    <a:pt x="519" y="5337"/>
                    <a:pt x="652" y="5454"/>
                    <a:pt x="786" y="5587"/>
                  </a:cubicBezTo>
                  <a:cubicBezTo>
                    <a:pt x="936" y="5754"/>
                    <a:pt x="1120" y="5921"/>
                    <a:pt x="1321" y="6055"/>
                  </a:cubicBezTo>
                  <a:cubicBezTo>
                    <a:pt x="1438" y="6122"/>
                    <a:pt x="1571" y="6172"/>
                    <a:pt x="1722" y="6205"/>
                  </a:cubicBezTo>
                  <a:cubicBezTo>
                    <a:pt x="1755" y="6209"/>
                    <a:pt x="1790" y="6211"/>
                    <a:pt x="1825" y="6211"/>
                  </a:cubicBezTo>
                  <a:cubicBezTo>
                    <a:pt x="1945" y="6211"/>
                    <a:pt x="2069" y="6187"/>
                    <a:pt x="2173" y="6122"/>
                  </a:cubicBezTo>
                  <a:cubicBezTo>
                    <a:pt x="2323" y="6038"/>
                    <a:pt x="2440" y="5921"/>
                    <a:pt x="2524" y="5788"/>
                  </a:cubicBezTo>
                  <a:cubicBezTo>
                    <a:pt x="2624" y="5637"/>
                    <a:pt x="2674" y="5470"/>
                    <a:pt x="2724" y="5303"/>
                  </a:cubicBezTo>
                  <a:cubicBezTo>
                    <a:pt x="2774" y="4936"/>
                    <a:pt x="2774" y="4568"/>
                    <a:pt x="2724" y="4200"/>
                  </a:cubicBezTo>
                  <a:cubicBezTo>
                    <a:pt x="2657" y="3816"/>
                    <a:pt x="2724" y="3415"/>
                    <a:pt x="2891" y="3064"/>
                  </a:cubicBezTo>
                  <a:cubicBezTo>
                    <a:pt x="3092" y="2713"/>
                    <a:pt x="3359" y="2429"/>
                    <a:pt x="3543" y="2078"/>
                  </a:cubicBezTo>
                  <a:cubicBezTo>
                    <a:pt x="3643" y="1911"/>
                    <a:pt x="3693" y="1728"/>
                    <a:pt x="3710" y="1544"/>
                  </a:cubicBezTo>
                  <a:cubicBezTo>
                    <a:pt x="3727" y="1360"/>
                    <a:pt x="3693" y="1176"/>
                    <a:pt x="3626" y="1009"/>
                  </a:cubicBezTo>
                  <a:cubicBezTo>
                    <a:pt x="3493" y="692"/>
                    <a:pt x="3259" y="424"/>
                    <a:pt x="2975" y="241"/>
                  </a:cubicBezTo>
                  <a:cubicBezTo>
                    <a:pt x="2724" y="90"/>
                    <a:pt x="2423" y="7"/>
                    <a:pt x="2139" y="7"/>
                  </a:cubicBezTo>
                  <a:cubicBezTo>
                    <a:pt x="2085" y="2"/>
                    <a:pt x="2030" y="0"/>
                    <a:pt x="1976" y="0"/>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86" name="Google Shape;3877;p60"/>
            <p:cNvSpPr/>
            <p:nvPr/>
          </p:nvSpPr>
          <p:spPr>
            <a:xfrm>
              <a:off x="2827833" y="1916524"/>
              <a:ext cx="160154" cy="261368"/>
            </a:xfrm>
            <a:custGeom>
              <a:avLst/>
              <a:gdLst/>
              <a:ahLst/>
              <a:cxnLst/>
              <a:rect l="l" t="t" r="r" b="b"/>
              <a:pathLst>
                <a:path w="4997" h="8155" extrusionOk="0">
                  <a:moveTo>
                    <a:pt x="3526" y="1"/>
                  </a:moveTo>
                  <a:cubicBezTo>
                    <a:pt x="3393" y="17"/>
                    <a:pt x="3259" y="51"/>
                    <a:pt x="3142" y="84"/>
                  </a:cubicBezTo>
                  <a:cubicBezTo>
                    <a:pt x="2942" y="151"/>
                    <a:pt x="2741" y="251"/>
                    <a:pt x="2574" y="368"/>
                  </a:cubicBezTo>
                  <a:cubicBezTo>
                    <a:pt x="2056" y="752"/>
                    <a:pt x="1755" y="1337"/>
                    <a:pt x="1772" y="1972"/>
                  </a:cubicBezTo>
                  <a:cubicBezTo>
                    <a:pt x="1772" y="2356"/>
                    <a:pt x="1755" y="2741"/>
                    <a:pt x="1705" y="3125"/>
                  </a:cubicBezTo>
                  <a:cubicBezTo>
                    <a:pt x="1655" y="3325"/>
                    <a:pt x="1572" y="3526"/>
                    <a:pt x="1455" y="3676"/>
                  </a:cubicBezTo>
                  <a:cubicBezTo>
                    <a:pt x="1304" y="3843"/>
                    <a:pt x="1154" y="3994"/>
                    <a:pt x="970" y="4128"/>
                  </a:cubicBezTo>
                  <a:cubicBezTo>
                    <a:pt x="803" y="4261"/>
                    <a:pt x="619" y="4412"/>
                    <a:pt x="469" y="4579"/>
                  </a:cubicBezTo>
                  <a:cubicBezTo>
                    <a:pt x="302" y="4762"/>
                    <a:pt x="201" y="4963"/>
                    <a:pt x="135" y="5197"/>
                  </a:cubicBezTo>
                  <a:cubicBezTo>
                    <a:pt x="1" y="5648"/>
                    <a:pt x="51" y="6133"/>
                    <a:pt x="235" y="6567"/>
                  </a:cubicBezTo>
                  <a:cubicBezTo>
                    <a:pt x="419" y="6968"/>
                    <a:pt x="703" y="7302"/>
                    <a:pt x="1070" y="7536"/>
                  </a:cubicBezTo>
                  <a:cubicBezTo>
                    <a:pt x="1404" y="7753"/>
                    <a:pt x="1755" y="7920"/>
                    <a:pt x="2140" y="8021"/>
                  </a:cubicBezTo>
                  <a:cubicBezTo>
                    <a:pt x="2474" y="8104"/>
                    <a:pt x="2808" y="8138"/>
                    <a:pt x="3142" y="8154"/>
                  </a:cubicBezTo>
                  <a:cubicBezTo>
                    <a:pt x="3627" y="8154"/>
                    <a:pt x="4128" y="8121"/>
                    <a:pt x="4613" y="8054"/>
                  </a:cubicBezTo>
                  <a:cubicBezTo>
                    <a:pt x="4780" y="8037"/>
                    <a:pt x="4913" y="8004"/>
                    <a:pt x="4997" y="7987"/>
                  </a:cubicBezTo>
                  <a:lnTo>
                    <a:pt x="4997" y="7987"/>
                  </a:lnTo>
                  <a:lnTo>
                    <a:pt x="4596" y="8021"/>
                  </a:lnTo>
                  <a:cubicBezTo>
                    <a:pt x="4194" y="8076"/>
                    <a:pt x="3793" y="8108"/>
                    <a:pt x="3392" y="8108"/>
                  </a:cubicBezTo>
                  <a:cubicBezTo>
                    <a:pt x="3308" y="8108"/>
                    <a:pt x="3225" y="8107"/>
                    <a:pt x="3142" y="8104"/>
                  </a:cubicBezTo>
                  <a:cubicBezTo>
                    <a:pt x="2808" y="8087"/>
                    <a:pt x="2474" y="8037"/>
                    <a:pt x="2156" y="7954"/>
                  </a:cubicBezTo>
                  <a:cubicBezTo>
                    <a:pt x="1772" y="7870"/>
                    <a:pt x="1421" y="7703"/>
                    <a:pt x="1104" y="7486"/>
                  </a:cubicBezTo>
                  <a:cubicBezTo>
                    <a:pt x="753" y="7252"/>
                    <a:pt x="469" y="6918"/>
                    <a:pt x="302" y="6534"/>
                  </a:cubicBezTo>
                  <a:cubicBezTo>
                    <a:pt x="118" y="6116"/>
                    <a:pt x="85" y="5665"/>
                    <a:pt x="185" y="5214"/>
                  </a:cubicBezTo>
                  <a:cubicBezTo>
                    <a:pt x="252" y="4996"/>
                    <a:pt x="369" y="4796"/>
                    <a:pt x="519" y="4629"/>
                  </a:cubicBezTo>
                  <a:cubicBezTo>
                    <a:pt x="669" y="4462"/>
                    <a:pt x="836" y="4311"/>
                    <a:pt x="1020" y="4178"/>
                  </a:cubicBezTo>
                  <a:cubicBezTo>
                    <a:pt x="1204" y="4044"/>
                    <a:pt x="1354" y="3894"/>
                    <a:pt x="1505" y="3727"/>
                  </a:cubicBezTo>
                  <a:cubicBezTo>
                    <a:pt x="1638" y="3543"/>
                    <a:pt x="1722" y="3359"/>
                    <a:pt x="1772" y="3142"/>
                  </a:cubicBezTo>
                  <a:cubicBezTo>
                    <a:pt x="1822" y="2757"/>
                    <a:pt x="1839" y="2373"/>
                    <a:pt x="1822" y="1972"/>
                  </a:cubicBezTo>
                  <a:cubicBezTo>
                    <a:pt x="1805" y="1354"/>
                    <a:pt x="2106" y="769"/>
                    <a:pt x="2608" y="402"/>
                  </a:cubicBezTo>
                  <a:cubicBezTo>
                    <a:pt x="2758" y="285"/>
                    <a:pt x="2958" y="184"/>
                    <a:pt x="3142" y="117"/>
                  </a:cubicBezTo>
                  <a:cubicBezTo>
                    <a:pt x="3326" y="51"/>
                    <a:pt x="3493" y="17"/>
                    <a:pt x="3677" y="1"/>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87" name="Google Shape;3878;p60"/>
            <p:cNvSpPr/>
            <p:nvPr/>
          </p:nvSpPr>
          <p:spPr>
            <a:xfrm>
              <a:off x="2680595" y="2183533"/>
              <a:ext cx="118906" cy="93426"/>
            </a:xfrm>
            <a:custGeom>
              <a:avLst/>
              <a:gdLst/>
              <a:ahLst/>
              <a:cxnLst/>
              <a:rect l="l" t="t" r="r" b="b"/>
              <a:pathLst>
                <a:path w="3710" h="2915" extrusionOk="0">
                  <a:moveTo>
                    <a:pt x="962" y="0"/>
                  </a:moveTo>
                  <a:cubicBezTo>
                    <a:pt x="869" y="0"/>
                    <a:pt x="776" y="8"/>
                    <a:pt x="685" y="24"/>
                  </a:cubicBezTo>
                  <a:cubicBezTo>
                    <a:pt x="485" y="74"/>
                    <a:pt x="301" y="157"/>
                    <a:pt x="150" y="274"/>
                  </a:cubicBezTo>
                  <a:cubicBezTo>
                    <a:pt x="117" y="308"/>
                    <a:pt x="67" y="358"/>
                    <a:pt x="34" y="391"/>
                  </a:cubicBezTo>
                  <a:cubicBezTo>
                    <a:pt x="17" y="425"/>
                    <a:pt x="0" y="441"/>
                    <a:pt x="0" y="441"/>
                  </a:cubicBezTo>
                  <a:cubicBezTo>
                    <a:pt x="17" y="441"/>
                    <a:pt x="67" y="391"/>
                    <a:pt x="167" y="308"/>
                  </a:cubicBezTo>
                  <a:cubicBezTo>
                    <a:pt x="318" y="191"/>
                    <a:pt x="501" y="107"/>
                    <a:pt x="702" y="74"/>
                  </a:cubicBezTo>
                  <a:cubicBezTo>
                    <a:pt x="783" y="64"/>
                    <a:pt x="867" y="58"/>
                    <a:pt x="952" y="58"/>
                  </a:cubicBezTo>
                  <a:cubicBezTo>
                    <a:pt x="1148" y="58"/>
                    <a:pt x="1351" y="88"/>
                    <a:pt x="1537" y="157"/>
                  </a:cubicBezTo>
                  <a:cubicBezTo>
                    <a:pt x="1871" y="274"/>
                    <a:pt x="2172" y="458"/>
                    <a:pt x="2423" y="709"/>
                  </a:cubicBezTo>
                  <a:cubicBezTo>
                    <a:pt x="2673" y="943"/>
                    <a:pt x="2891" y="1227"/>
                    <a:pt x="3074" y="1528"/>
                  </a:cubicBezTo>
                  <a:cubicBezTo>
                    <a:pt x="3242" y="1795"/>
                    <a:pt x="3392" y="2062"/>
                    <a:pt x="3509" y="2279"/>
                  </a:cubicBezTo>
                  <a:cubicBezTo>
                    <a:pt x="3559" y="2363"/>
                    <a:pt x="3609" y="2463"/>
                    <a:pt x="3643" y="2563"/>
                  </a:cubicBezTo>
                  <a:cubicBezTo>
                    <a:pt x="3676" y="2664"/>
                    <a:pt x="3693" y="2747"/>
                    <a:pt x="3643" y="2797"/>
                  </a:cubicBezTo>
                  <a:cubicBezTo>
                    <a:pt x="3609" y="2831"/>
                    <a:pt x="3576" y="2864"/>
                    <a:pt x="3526" y="2881"/>
                  </a:cubicBezTo>
                  <a:cubicBezTo>
                    <a:pt x="3492" y="2898"/>
                    <a:pt x="3475" y="2914"/>
                    <a:pt x="3475" y="2914"/>
                  </a:cubicBezTo>
                  <a:cubicBezTo>
                    <a:pt x="3492" y="2914"/>
                    <a:pt x="3509" y="2898"/>
                    <a:pt x="3526" y="2898"/>
                  </a:cubicBezTo>
                  <a:cubicBezTo>
                    <a:pt x="3576" y="2881"/>
                    <a:pt x="3626" y="2848"/>
                    <a:pt x="3676" y="2814"/>
                  </a:cubicBezTo>
                  <a:cubicBezTo>
                    <a:pt x="3693" y="2781"/>
                    <a:pt x="3709" y="2731"/>
                    <a:pt x="3709" y="2697"/>
                  </a:cubicBezTo>
                  <a:cubicBezTo>
                    <a:pt x="3709" y="2647"/>
                    <a:pt x="3693" y="2597"/>
                    <a:pt x="3693" y="2563"/>
                  </a:cubicBezTo>
                  <a:cubicBezTo>
                    <a:pt x="3643" y="2446"/>
                    <a:pt x="3609" y="2346"/>
                    <a:pt x="3542" y="2246"/>
                  </a:cubicBezTo>
                  <a:cubicBezTo>
                    <a:pt x="3425" y="2029"/>
                    <a:pt x="3292" y="1778"/>
                    <a:pt x="3125" y="1494"/>
                  </a:cubicBezTo>
                  <a:cubicBezTo>
                    <a:pt x="2941" y="1193"/>
                    <a:pt x="2724" y="909"/>
                    <a:pt x="2456" y="659"/>
                  </a:cubicBezTo>
                  <a:cubicBezTo>
                    <a:pt x="2206" y="408"/>
                    <a:pt x="1888" y="208"/>
                    <a:pt x="1554" y="91"/>
                  </a:cubicBezTo>
                  <a:cubicBezTo>
                    <a:pt x="1361" y="34"/>
                    <a:pt x="1160" y="0"/>
                    <a:pt x="962" y="0"/>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88" name="Google Shape;3879;p60"/>
            <p:cNvSpPr/>
            <p:nvPr/>
          </p:nvSpPr>
          <p:spPr>
            <a:xfrm>
              <a:off x="2843922" y="1741948"/>
              <a:ext cx="40191" cy="46825"/>
            </a:xfrm>
            <a:custGeom>
              <a:avLst/>
              <a:gdLst/>
              <a:ahLst/>
              <a:cxnLst/>
              <a:rect l="l" t="t" r="r" b="b"/>
              <a:pathLst>
                <a:path w="1254" h="1461" extrusionOk="0">
                  <a:moveTo>
                    <a:pt x="100" y="1"/>
                  </a:moveTo>
                  <a:cubicBezTo>
                    <a:pt x="67" y="101"/>
                    <a:pt x="34" y="218"/>
                    <a:pt x="34" y="335"/>
                  </a:cubicBezTo>
                  <a:cubicBezTo>
                    <a:pt x="0" y="619"/>
                    <a:pt x="67" y="903"/>
                    <a:pt x="217" y="1137"/>
                  </a:cubicBezTo>
                  <a:cubicBezTo>
                    <a:pt x="318" y="1254"/>
                    <a:pt x="435" y="1354"/>
                    <a:pt x="585" y="1421"/>
                  </a:cubicBezTo>
                  <a:cubicBezTo>
                    <a:pt x="671" y="1445"/>
                    <a:pt x="765" y="1461"/>
                    <a:pt x="856" y="1461"/>
                  </a:cubicBezTo>
                  <a:cubicBezTo>
                    <a:pt x="889" y="1461"/>
                    <a:pt x="921" y="1459"/>
                    <a:pt x="953" y="1454"/>
                  </a:cubicBezTo>
                  <a:cubicBezTo>
                    <a:pt x="1036" y="1437"/>
                    <a:pt x="1120" y="1404"/>
                    <a:pt x="1187" y="1337"/>
                  </a:cubicBezTo>
                  <a:cubicBezTo>
                    <a:pt x="1237" y="1304"/>
                    <a:pt x="1253" y="1287"/>
                    <a:pt x="1253" y="1270"/>
                  </a:cubicBezTo>
                  <a:lnTo>
                    <a:pt x="1253" y="1270"/>
                  </a:lnTo>
                  <a:cubicBezTo>
                    <a:pt x="1153" y="1337"/>
                    <a:pt x="1053" y="1371"/>
                    <a:pt x="953" y="1404"/>
                  </a:cubicBezTo>
                  <a:cubicBezTo>
                    <a:pt x="923" y="1408"/>
                    <a:pt x="894" y="1410"/>
                    <a:pt x="865" y="1410"/>
                  </a:cubicBezTo>
                  <a:cubicBezTo>
                    <a:pt x="777" y="1410"/>
                    <a:pt x="689" y="1392"/>
                    <a:pt x="602" y="1354"/>
                  </a:cubicBezTo>
                  <a:cubicBezTo>
                    <a:pt x="468" y="1304"/>
                    <a:pt x="351" y="1204"/>
                    <a:pt x="284" y="1087"/>
                  </a:cubicBezTo>
                  <a:cubicBezTo>
                    <a:pt x="134" y="869"/>
                    <a:pt x="67" y="602"/>
                    <a:pt x="84" y="335"/>
                  </a:cubicBezTo>
                  <a:cubicBezTo>
                    <a:pt x="84" y="134"/>
                    <a:pt x="117" y="1"/>
                    <a:pt x="100" y="1"/>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89" name="Google Shape;3880;p60"/>
            <p:cNvSpPr/>
            <p:nvPr/>
          </p:nvSpPr>
          <p:spPr>
            <a:xfrm>
              <a:off x="2855171" y="1544648"/>
              <a:ext cx="36954" cy="118072"/>
            </a:xfrm>
            <a:custGeom>
              <a:avLst/>
              <a:gdLst/>
              <a:ahLst/>
              <a:cxnLst/>
              <a:rect l="l" t="t" r="r" b="b"/>
              <a:pathLst>
                <a:path w="1153" h="3684" extrusionOk="0">
                  <a:moveTo>
                    <a:pt x="1003" y="0"/>
                  </a:moveTo>
                  <a:cubicBezTo>
                    <a:pt x="986" y="0"/>
                    <a:pt x="969" y="2"/>
                    <a:pt x="952" y="8"/>
                  </a:cubicBezTo>
                  <a:cubicBezTo>
                    <a:pt x="769" y="8"/>
                    <a:pt x="585" y="108"/>
                    <a:pt x="468" y="242"/>
                  </a:cubicBezTo>
                  <a:cubicBezTo>
                    <a:pt x="384" y="342"/>
                    <a:pt x="334" y="476"/>
                    <a:pt x="318" y="609"/>
                  </a:cubicBezTo>
                  <a:cubicBezTo>
                    <a:pt x="301" y="760"/>
                    <a:pt x="334" y="910"/>
                    <a:pt x="418" y="1044"/>
                  </a:cubicBezTo>
                  <a:cubicBezTo>
                    <a:pt x="501" y="1161"/>
                    <a:pt x="568" y="1311"/>
                    <a:pt x="602" y="1461"/>
                  </a:cubicBezTo>
                  <a:cubicBezTo>
                    <a:pt x="618" y="1528"/>
                    <a:pt x="602" y="1612"/>
                    <a:pt x="568" y="1679"/>
                  </a:cubicBezTo>
                  <a:cubicBezTo>
                    <a:pt x="518" y="1762"/>
                    <a:pt x="485" y="1829"/>
                    <a:pt x="418" y="1879"/>
                  </a:cubicBezTo>
                  <a:cubicBezTo>
                    <a:pt x="301" y="2013"/>
                    <a:pt x="184" y="2146"/>
                    <a:pt x="100" y="2297"/>
                  </a:cubicBezTo>
                  <a:cubicBezTo>
                    <a:pt x="34" y="2447"/>
                    <a:pt x="0" y="2614"/>
                    <a:pt x="0" y="2765"/>
                  </a:cubicBezTo>
                  <a:cubicBezTo>
                    <a:pt x="17" y="2915"/>
                    <a:pt x="50" y="3065"/>
                    <a:pt x="117" y="3199"/>
                  </a:cubicBezTo>
                  <a:cubicBezTo>
                    <a:pt x="184" y="3316"/>
                    <a:pt x="267" y="3400"/>
                    <a:pt x="384" y="3483"/>
                  </a:cubicBezTo>
                  <a:cubicBezTo>
                    <a:pt x="518" y="3600"/>
                    <a:pt x="702" y="3667"/>
                    <a:pt x="886" y="3684"/>
                  </a:cubicBezTo>
                  <a:cubicBezTo>
                    <a:pt x="936" y="3684"/>
                    <a:pt x="986" y="3684"/>
                    <a:pt x="1036" y="3667"/>
                  </a:cubicBezTo>
                  <a:lnTo>
                    <a:pt x="1086" y="3667"/>
                  </a:lnTo>
                  <a:cubicBezTo>
                    <a:pt x="1086" y="3659"/>
                    <a:pt x="1069" y="3659"/>
                    <a:pt x="1036" y="3659"/>
                  </a:cubicBezTo>
                  <a:cubicBezTo>
                    <a:pt x="1003" y="3659"/>
                    <a:pt x="952" y="3659"/>
                    <a:pt x="886" y="3650"/>
                  </a:cubicBezTo>
                  <a:cubicBezTo>
                    <a:pt x="719" y="3634"/>
                    <a:pt x="551" y="3550"/>
                    <a:pt x="401" y="3450"/>
                  </a:cubicBezTo>
                  <a:cubicBezTo>
                    <a:pt x="201" y="3283"/>
                    <a:pt x="67" y="3032"/>
                    <a:pt x="67" y="2765"/>
                  </a:cubicBezTo>
                  <a:cubicBezTo>
                    <a:pt x="67" y="2614"/>
                    <a:pt x="100" y="2464"/>
                    <a:pt x="167" y="2330"/>
                  </a:cubicBezTo>
                  <a:cubicBezTo>
                    <a:pt x="251" y="2180"/>
                    <a:pt x="351" y="2046"/>
                    <a:pt x="468" y="1929"/>
                  </a:cubicBezTo>
                  <a:cubicBezTo>
                    <a:pt x="535" y="1862"/>
                    <a:pt x="585" y="1796"/>
                    <a:pt x="618" y="1712"/>
                  </a:cubicBezTo>
                  <a:cubicBezTo>
                    <a:pt x="668" y="1629"/>
                    <a:pt x="685" y="1545"/>
                    <a:pt x="668" y="1445"/>
                  </a:cubicBezTo>
                  <a:cubicBezTo>
                    <a:pt x="618" y="1294"/>
                    <a:pt x="551" y="1144"/>
                    <a:pt x="468" y="1010"/>
                  </a:cubicBezTo>
                  <a:cubicBezTo>
                    <a:pt x="334" y="776"/>
                    <a:pt x="351" y="492"/>
                    <a:pt x="501" y="275"/>
                  </a:cubicBezTo>
                  <a:cubicBezTo>
                    <a:pt x="618" y="141"/>
                    <a:pt x="785" y="41"/>
                    <a:pt x="952" y="24"/>
                  </a:cubicBezTo>
                  <a:lnTo>
                    <a:pt x="1153" y="24"/>
                  </a:lnTo>
                  <a:cubicBezTo>
                    <a:pt x="1136" y="24"/>
                    <a:pt x="1120" y="8"/>
                    <a:pt x="1103" y="8"/>
                  </a:cubicBezTo>
                  <a:cubicBezTo>
                    <a:pt x="1069" y="8"/>
                    <a:pt x="1036" y="0"/>
                    <a:pt x="1003" y="0"/>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90" name="Google Shape;3881;p60"/>
            <p:cNvSpPr/>
            <p:nvPr/>
          </p:nvSpPr>
          <p:spPr>
            <a:xfrm>
              <a:off x="2681108" y="1575929"/>
              <a:ext cx="50927" cy="127495"/>
            </a:xfrm>
            <a:custGeom>
              <a:avLst/>
              <a:gdLst/>
              <a:ahLst/>
              <a:cxnLst/>
              <a:rect l="l" t="t" r="r" b="b"/>
              <a:pathLst>
                <a:path w="1589" h="3978" extrusionOk="0">
                  <a:moveTo>
                    <a:pt x="51" y="1"/>
                  </a:moveTo>
                  <a:cubicBezTo>
                    <a:pt x="34" y="18"/>
                    <a:pt x="18" y="18"/>
                    <a:pt x="1" y="18"/>
                  </a:cubicBezTo>
                  <a:cubicBezTo>
                    <a:pt x="68" y="18"/>
                    <a:pt x="134" y="18"/>
                    <a:pt x="201" y="34"/>
                  </a:cubicBezTo>
                  <a:cubicBezTo>
                    <a:pt x="402" y="68"/>
                    <a:pt x="569" y="151"/>
                    <a:pt x="686" y="302"/>
                  </a:cubicBezTo>
                  <a:cubicBezTo>
                    <a:pt x="769" y="419"/>
                    <a:pt x="820" y="536"/>
                    <a:pt x="836" y="669"/>
                  </a:cubicBezTo>
                  <a:cubicBezTo>
                    <a:pt x="836" y="820"/>
                    <a:pt x="836" y="970"/>
                    <a:pt x="803" y="1120"/>
                  </a:cubicBezTo>
                  <a:cubicBezTo>
                    <a:pt x="769" y="1271"/>
                    <a:pt x="736" y="1438"/>
                    <a:pt x="719" y="1622"/>
                  </a:cubicBezTo>
                  <a:cubicBezTo>
                    <a:pt x="686" y="1805"/>
                    <a:pt x="719" y="2006"/>
                    <a:pt x="803" y="2173"/>
                  </a:cubicBezTo>
                  <a:cubicBezTo>
                    <a:pt x="903" y="2323"/>
                    <a:pt x="1037" y="2457"/>
                    <a:pt x="1187" y="2574"/>
                  </a:cubicBezTo>
                  <a:cubicBezTo>
                    <a:pt x="1321" y="2674"/>
                    <a:pt x="1404" y="2825"/>
                    <a:pt x="1438" y="2975"/>
                  </a:cubicBezTo>
                  <a:cubicBezTo>
                    <a:pt x="1521" y="3259"/>
                    <a:pt x="1438" y="3543"/>
                    <a:pt x="1237" y="3744"/>
                  </a:cubicBezTo>
                  <a:cubicBezTo>
                    <a:pt x="1087" y="3877"/>
                    <a:pt x="903" y="3944"/>
                    <a:pt x="719" y="3961"/>
                  </a:cubicBezTo>
                  <a:cubicBezTo>
                    <a:pt x="636" y="3961"/>
                    <a:pt x="569" y="3961"/>
                    <a:pt x="502" y="3944"/>
                  </a:cubicBezTo>
                  <a:lnTo>
                    <a:pt x="502" y="3944"/>
                  </a:lnTo>
                  <a:cubicBezTo>
                    <a:pt x="519" y="3961"/>
                    <a:pt x="535" y="3961"/>
                    <a:pt x="552" y="3961"/>
                  </a:cubicBezTo>
                  <a:cubicBezTo>
                    <a:pt x="602" y="3978"/>
                    <a:pt x="669" y="3978"/>
                    <a:pt x="719" y="3978"/>
                  </a:cubicBezTo>
                  <a:cubicBezTo>
                    <a:pt x="920" y="3978"/>
                    <a:pt x="1104" y="3911"/>
                    <a:pt x="1254" y="3777"/>
                  </a:cubicBezTo>
                  <a:cubicBezTo>
                    <a:pt x="1488" y="3577"/>
                    <a:pt x="1588" y="3259"/>
                    <a:pt x="1505" y="2958"/>
                  </a:cubicBezTo>
                  <a:cubicBezTo>
                    <a:pt x="1471" y="2791"/>
                    <a:pt x="1371" y="2641"/>
                    <a:pt x="1237" y="2524"/>
                  </a:cubicBezTo>
                  <a:cubicBezTo>
                    <a:pt x="1087" y="2407"/>
                    <a:pt x="970" y="2290"/>
                    <a:pt x="853" y="2140"/>
                  </a:cubicBezTo>
                  <a:cubicBezTo>
                    <a:pt x="786" y="1972"/>
                    <a:pt x="753" y="1805"/>
                    <a:pt x="786" y="1622"/>
                  </a:cubicBezTo>
                  <a:cubicBezTo>
                    <a:pt x="803" y="1455"/>
                    <a:pt x="836" y="1287"/>
                    <a:pt x="870" y="1120"/>
                  </a:cubicBezTo>
                  <a:cubicBezTo>
                    <a:pt x="903" y="970"/>
                    <a:pt x="903" y="820"/>
                    <a:pt x="886" y="653"/>
                  </a:cubicBezTo>
                  <a:cubicBezTo>
                    <a:pt x="870" y="519"/>
                    <a:pt x="820" y="385"/>
                    <a:pt x="719" y="285"/>
                  </a:cubicBezTo>
                  <a:cubicBezTo>
                    <a:pt x="602" y="118"/>
                    <a:pt x="419" y="18"/>
                    <a:pt x="218" y="1"/>
                  </a:cubicBezTo>
                  <a:close/>
                </a:path>
              </a:pathLst>
            </a:custGeom>
            <a:solidFill>
              <a:srgbClr val="FFFF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91" name="Google Shape;3882;p60"/>
            <p:cNvSpPr/>
            <p:nvPr/>
          </p:nvSpPr>
          <p:spPr>
            <a:xfrm>
              <a:off x="2659154" y="1319401"/>
              <a:ext cx="237266" cy="196114"/>
            </a:xfrm>
            <a:custGeom>
              <a:avLst/>
              <a:gdLst/>
              <a:ahLst/>
              <a:cxnLst/>
              <a:rect l="l" t="t" r="r" b="b"/>
              <a:pathLst>
                <a:path w="7403" h="6119" extrusionOk="0">
                  <a:moveTo>
                    <a:pt x="4751" y="1"/>
                  </a:moveTo>
                  <a:cubicBezTo>
                    <a:pt x="4645" y="1"/>
                    <a:pt x="4537" y="12"/>
                    <a:pt x="4429" y="35"/>
                  </a:cubicBezTo>
                  <a:lnTo>
                    <a:pt x="2006" y="453"/>
                  </a:lnTo>
                  <a:cubicBezTo>
                    <a:pt x="1722" y="586"/>
                    <a:pt x="1354" y="1104"/>
                    <a:pt x="1237" y="1388"/>
                  </a:cubicBezTo>
                  <a:cubicBezTo>
                    <a:pt x="1170" y="1606"/>
                    <a:pt x="1070" y="2057"/>
                    <a:pt x="970" y="2257"/>
                  </a:cubicBezTo>
                  <a:cubicBezTo>
                    <a:pt x="853" y="2491"/>
                    <a:pt x="619" y="2658"/>
                    <a:pt x="452" y="2859"/>
                  </a:cubicBezTo>
                  <a:cubicBezTo>
                    <a:pt x="1" y="3443"/>
                    <a:pt x="218" y="4312"/>
                    <a:pt x="886" y="4613"/>
                  </a:cubicBezTo>
                  <a:cubicBezTo>
                    <a:pt x="652" y="4964"/>
                    <a:pt x="686" y="5448"/>
                    <a:pt x="1003" y="5766"/>
                  </a:cubicBezTo>
                  <a:cubicBezTo>
                    <a:pt x="1233" y="5996"/>
                    <a:pt x="1551" y="6119"/>
                    <a:pt x="1875" y="6119"/>
                  </a:cubicBezTo>
                  <a:cubicBezTo>
                    <a:pt x="1975" y="6119"/>
                    <a:pt x="2075" y="6107"/>
                    <a:pt x="2173" y="6083"/>
                  </a:cubicBezTo>
                  <a:cubicBezTo>
                    <a:pt x="2591" y="5983"/>
                    <a:pt x="2958" y="5766"/>
                    <a:pt x="3259" y="5465"/>
                  </a:cubicBezTo>
                  <a:cubicBezTo>
                    <a:pt x="3459" y="5281"/>
                    <a:pt x="3660" y="5064"/>
                    <a:pt x="3927" y="5031"/>
                  </a:cubicBezTo>
                  <a:cubicBezTo>
                    <a:pt x="4004" y="5019"/>
                    <a:pt x="4104" y="5007"/>
                    <a:pt x="4201" y="5007"/>
                  </a:cubicBezTo>
                  <a:cubicBezTo>
                    <a:pt x="4380" y="5007"/>
                    <a:pt x="4551" y="5047"/>
                    <a:pt x="4562" y="5198"/>
                  </a:cubicBezTo>
                  <a:cubicBezTo>
                    <a:pt x="4618" y="5767"/>
                    <a:pt x="5100" y="6013"/>
                    <a:pt x="5635" y="6013"/>
                  </a:cubicBezTo>
                  <a:cubicBezTo>
                    <a:pt x="5744" y="6013"/>
                    <a:pt x="5855" y="6003"/>
                    <a:pt x="5966" y="5983"/>
                  </a:cubicBezTo>
                  <a:cubicBezTo>
                    <a:pt x="6450" y="5900"/>
                    <a:pt x="7319" y="5749"/>
                    <a:pt x="6968" y="4496"/>
                  </a:cubicBezTo>
                  <a:cubicBezTo>
                    <a:pt x="6918" y="4245"/>
                    <a:pt x="6952" y="3995"/>
                    <a:pt x="7052" y="3761"/>
                  </a:cubicBezTo>
                  <a:cubicBezTo>
                    <a:pt x="7102" y="3611"/>
                    <a:pt x="7219" y="3477"/>
                    <a:pt x="7286" y="3310"/>
                  </a:cubicBezTo>
                  <a:cubicBezTo>
                    <a:pt x="7403" y="2992"/>
                    <a:pt x="7269" y="2625"/>
                    <a:pt x="6968" y="2458"/>
                  </a:cubicBezTo>
                  <a:cubicBezTo>
                    <a:pt x="6801" y="2391"/>
                    <a:pt x="6634" y="2324"/>
                    <a:pt x="6484" y="2224"/>
                  </a:cubicBezTo>
                  <a:cubicBezTo>
                    <a:pt x="6317" y="2040"/>
                    <a:pt x="6350" y="1739"/>
                    <a:pt x="6333" y="1489"/>
                  </a:cubicBezTo>
                  <a:cubicBezTo>
                    <a:pt x="6274" y="647"/>
                    <a:pt x="5562" y="1"/>
                    <a:pt x="4751" y="1"/>
                  </a:cubicBezTo>
                  <a:close/>
                </a:path>
              </a:pathLst>
            </a:custGeom>
            <a:solidFill>
              <a:srgbClr val="52187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92" name="Google Shape;3883;p60"/>
            <p:cNvSpPr/>
            <p:nvPr/>
          </p:nvSpPr>
          <p:spPr>
            <a:xfrm>
              <a:off x="2714312" y="1338534"/>
              <a:ext cx="124290" cy="201018"/>
            </a:xfrm>
            <a:custGeom>
              <a:avLst/>
              <a:gdLst/>
              <a:ahLst/>
              <a:cxnLst/>
              <a:rect l="l" t="t" r="r" b="b"/>
              <a:pathLst>
                <a:path w="3878" h="6272" extrusionOk="0">
                  <a:moveTo>
                    <a:pt x="1714" y="1"/>
                  </a:moveTo>
                  <a:cubicBezTo>
                    <a:pt x="1123" y="1"/>
                    <a:pt x="532" y="147"/>
                    <a:pt x="1" y="440"/>
                  </a:cubicBezTo>
                  <a:cubicBezTo>
                    <a:pt x="1" y="440"/>
                    <a:pt x="51" y="2780"/>
                    <a:pt x="151" y="3799"/>
                  </a:cubicBezTo>
                  <a:cubicBezTo>
                    <a:pt x="251" y="4818"/>
                    <a:pt x="1287" y="4885"/>
                    <a:pt x="1287" y="4885"/>
                  </a:cubicBezTo>
                  <a:cubicBezTo>
                    <a:pt x="1287" y="4885"/>
                    <a:pt x="1371" y="5988"/>
                    <a:pt x="1421" y="6272"/>
                  </a:cubicBezTo>
                  <a:lnTo>
                    <a:pt x="3877" y="6238"/>
                  </a:lnTo>
                  <a:lnTo>
                    <a:pt x="3760" y="641"/>
                  </a:lnTo>
                  <a:lnTo>
                    <a:pt x="3593" y="541"/>
                  </a:lnTo>
                  <a:cubicBezTo>
                    <a:pt x="3022" y="181"/>
                    <a:pt x="2368" y="1"/>
                    <a:pt x="1714" y="1"/>
                  </a:cubicBezTo>
                  <a:close/>
                </a:path>
              </a:pathLst>
            </a:custGeom>
            <a:solidFill>
              <a:srgbClr val="D893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93" name="Google Shape;3884;p60"/>
            <p:cNvSpPr/>
            <p:nvPr/>
          </p:nvSpPr>
          <p:spPr>
            <a:xfrm>
              <a:off x="2741105" y="1399750"/>
              <a:ext cx="11794" cy="40415"/>
            </a:xfrm>
            <a:custGeom>
              <a:avLst/>
              <a:gdLst/>
              <a:ahLst/>
              <a:cxnLst/>
              <a:rect l="l" t="t" r="r" b="b"/>
              <a:pathLst>
                <a:path w="368" h="1261" extrusionOk="0">
                  <a:moveTo>
                    <a:pt x="334" y="1"/>
                  </a:moveTo>
                  <a:lnTo>
                    <a:pt x="334" y="1"/>
                  </a:lnTo>
                  <a:cubicBezTo>
                    <a:pt x="234" y="251"/>
                    <a:pt x="151" y="502"/>
                    <a:pt x="100" y="753"/>
                  </a:cubicBezTo>
                  <a:cubicBezTo>
                    <a:pt x="67" y="853"/>
                    <a:pt x="34" y="953"/>
                    <a:pt x="17" y="1053"/>
                  </a:cubicBezTo>
                  <a:cubicBezTo>
                    <a:pt x="0" y="1104"/>
                    <a:pt x="0" y="1154"/>
                    <a:pt x="17" y="1204"/>
                  </a:cubicBezTo>
                  <a:cubicBezTo>
                    <a:pt x="17" y="1237"/>
                    <a:pt x="50" y="1254"/>
                    <a:pt x="84" y="1254"/>
                  </a:cubicBezTo>
                  <a:lnTo>
                    <a:pt x="134" y="1254"/>
                  </a:lnTo>
                  <a:cubicBezTo>
                    <a:pt x="158" y="1259"/>
                    <a:pt x="183" y="1261"/>
                    <a:pt x="207" y="1261"/>
                  </a:cubicBezTo>
                  <a:cubicBezTo>
                    <a:pt x="265" y="1261"/>
                    <a:pt x="321" y="1249"/>
                    <a:pt x="368" y="1237"/>
                  </a:cubicBezTo>
                  <a:cubicBezTo>
                    <a:pt x="301" y="1204"/>
                    <a:pt x="217" y="1204"/>
                    <a:pt x="134" y="1204"/>
                  </a:cubicBezTo>
                  <a:cubicBezTo>
                    <a:pt x="100" y="1204"/>
                    <a:pt x="67" y="1204"/>
                    <a:pt x="67" y="1170"/>
                  </a:cubicBezTo>
                  <a:cubicBezTo>
                    <a:pt x="67" y="1137"/>
                    <a:pt x="67" y="1104"/>
                    <a:pt x="84" y="1070"/>
                  </a:cubicBezTo>
                  <a:lnTo>
                    <a:pt x="167" y="769"/>
                  </a:lnTo>
                  <a:cubicBezTo>
                    <a:pt x="251" y="519"/>
                    <a:pt x="301" y="268"/>
                    <a:pt x="334"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94" name="Google Shape;3885;p60"/>
            <p:cNvSpPr/>
            <p:nvPr/>
          </p:nvSpPr>
          <p:spPr>
            <a:xfrm>
              <a:off x="2755560" y="1478465"/>
              <a:ext cx="41248" cy="24678"/>
            </a:xfrm>
            <a:custGeom>
              <a:avLst/>
              <a:gdLst/>
              <a:ahLst/>
              <a:cxnLst/>
              <a:rect l="l" t="t" r="r" b="b"/>
              <a:pathLst>
                <a:path w="1287" h="770" extrusionOk="0">
                  <a:moveTo>
                    <a:pt x="1287" y="1"/>
                  </a:moveTo>
                  <a:cubicBezTo>
                    <a:pt x="919" y="285"/>
                    <a:pt x="468" y="469"/>
                    <a:pt x="0" y="502"/>
                  </a:cubicBezTo>
                  <a:lnTo>
                    <a:pt x="17" y="770"/>
                  </a:lnTo>
                  <a:cubicBezTo>
                    <a:pt x="1053" y="753"/>
                    <a:pt x="1287" y="1"/>
                    <a:pt x="1287" y="1"/>
                  </a:cubicBezTo>
                  <a:close/>
                </a:path>
              </a:pathLst>
            </a:custGeom>
            <a:solidFill>
              <a:srgbClr val="BF7A6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95" name="Google Shape;3886;p60"/>
            <p:cNvSpPr/>
            <p:nvPr/>
          </p:nvSpPr>
          <p:spPr>
            <a:xfrm>
              <a:off x="2769470" y="1401352"/>
              <a:ext cx="8077" cy="8077"/>
            </a:xfrm>
            <a:custGeom>
              <a:avLst/>
              <a:gdLst/>
              <a:ahLst/>
              <a:cxnLst/>
              <a:rect l="l" t="t" r="r" b="b"/>
              <a:pathLst>
                <a:path w="252" h="252" extrusionOk="0">
                  <a:moveTo>
                    <a:pt x="118" y="1"/>
                  </a:moveTo>
                  <a:cubicBezTo>
                    <a:pt x="51" y="1"/>
                    <a:pt x="1" y="51"/>
                    <a:pt x="1" y="135"/>
                  </a:cubicBezTo>
                  <a:cubicBezTo>
                    <a:pt x="1" y="201"/>
                    <a:pt x="51" y="252"/>
                    <a:pt x="134" y="252"/>
                  </a:cubicBezTo>
                  <a:cubicBezTo>
                    <a:pt x="201" y="252"/>
                    <a:pt x="251" y="185"/>
                    <a:pt x="251" y="118"/>
                  </a:cubicBezTo>
                  <a:cubicBezTo>
                    <a:pt x="251" y="51"/>
                    <a:pt x="185" y="1"/>
                    <a:pt x="118"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96" name="Google Shape;3887;p60"/>
            <p:cNvSpPr/>
            <p:nvPr/>
          </p:nvSpPr>
          <p:spPr>
            <a:xfrm>
              <a:off x="2767867" y="1396000"/>
              <a:ext cx="16634" cy="4936"/>
            </a:xfrm>
            <a:custGeom>
              <a:avLst/>
              <a:gdLst/>
              <a:ahLst/>
              <a:cxnLst/>
              <a:rect l="l" t="t" r="r" b="b"/>
              <a:pathLst>
                <a:path w="519" h="154" extrusionOk="0">
                  <a:moveTo>
                    <a:pt x="268" y="1"/>
                  </a:moveTo>
                  <a:cubicBezTo>
                    <a:pt x="201" y="1"/>
                    <a:pt x="118" y="18"/>
                    <a:pt x="67" y="68"/>
                  </a:cubicBezTo>
                  <a:cubicBezTo>
                    <a:pt x="17" y="101"/>
                    <a:pt x="1" y="118"/>
                    <a:pt x="1" y="134"/>
                  </a:cubicBezTo>
                  <a:cubicBezTo>
                    <a:pt x="2" y="136"/>
                    <a:pt x="6" y="137"/>
                    <a:pt x="10" y="137"/>
                  </a:cubicBezTo>
                  <a:cubicBezTo>
                    <a:pt x="44" y="137"/>
                    <a:pt x="149" y="84"/>
                    <a:pt x="268" y="84"/>
                  </a:cubicBezTo>
                  <a:cubicBezTo>
                    <a:pt x="389" y="84"/>
                    <a:pt x="483" y="153"/>
                    <a:pt x="512" y="153"/>
                  </a:cubicBezTo>
                  <a:cubicBezTo>
                    <a:pt x="515" y="153"/>
                    <a:pt x="517" y="153"/>
                    <a:pt x="519" y="151"/>
                  </a:cubicBezTo>
                  <a:cubicBezTo>
                    <a:pt x="519" y="134"/>
                    <a:pt x="502" y="101"/>
                    <a:pt x="468" y="68"/>
                  </a:cubicBezTo>
                  <a:cubicBezTo>
                    <a:pt x="402" y="34"/>
                    <a:pt x="335" y="1"/>
                    <a:pt x="268"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97" name="Google Shape;3888;p60"/>
            <p:cNvSpPr/>
            <p:nvPr/>
          </p:nvSpPr>
          <p:spPr>
            <a:xfrm>
              <a:off x="2723959" y="1401288"/>
              <a:ext cx="8077" cy="7692"/>
            </a:xfrm>
            <a:custGeom>
              <a:avLst/>
              <a:gdLst/>
              <a:ahLst/>
              <a:cxnLst/>
              <a:rect l="l" t="t" r="r" b="b"/>
              <a:pathLst>
                <a:path w="252" h="240" extrusionOk="0">
                  <a:moveTo>
                    <a:pt x="139" y="0"/>
                  </a:moveTo>
                  <a:cubicBezTo>
                    <a:pt x="132" y="0"/>
                    <a:pt x="125" y="1"/>
                    <a:pt x="117" y="3"/>
                  </a:cubicBezTo>
                  <a:cubicBezTo>
                    <a:pt x="51" y="3"/>
                    <a:pt x="1" y="53"/>
                    <a:pt x="1" y="120"/>
                  </a:cubicBezTo>
                  <a:cubicBezTo>
                    <a:pt x="1" y="180"/>
                    <a:pt x="41" y="239"/>
                    <a:pt x="109" y="239"/>
                  </a:cubicBezTo>
                  <a:cubicBezTo>
                    <a:pt x="117" y="239"/>
                    <a:pt x="125" y="239"/>
                    <a:pt x="134" y="237"/>
                  </a:cubicBezTo>
                  <a:cubicBezTo>
                    <a:pt x="201" y="237"/>
                    <a:pt x="251" y="187"/>
                    <a:pt x="251" y="120"/>
                  </a:cubicBezTo>
                  <a:cubicBezTo>
                    <a:pt x="251" y="60"/>
                    <a:pt x="198" y="0"/>
                    <a:pt x="139"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98" name="Google Shape;3889;p60"/>
            <p:cNvSpPr/>
            <p:nvPr/>
          </p:nvSpPr>
          <p:spPr>
            <a:xfrm>
              <a:off x="2721266" y="1396545"/>
              <a:ext cx="17179" cy="4936"/>
            </a:xfrm>
            <a:custGeom>
              <a:avLst/>
              <a:gdLst/>
              <a:ahLst/>
              <a:cxnLst/>
              <a:rect l="l" t="t" r="r" b="b"/>
              <a:pathLst>
                <a:path w="536" h="154" extrusionOk="0">
                  <a:moveTo>
                    <a:pt x="268" y="1"/>
                  </a:moveTo>
                  <a:cubicBezTo>
                    <a:pt x="201" y="1"/>
                    <a:pt x="135" y="34"/>
                    <a:pt x="68" y="67"/>
                  </a:cubicBezTo>
                  <a:cubicBezTo>
                    <a:pt x="18" y="101"/>
                    <a:pt x="1" y="134"/>
                    <a:pt x="18" y="134"/>
                  </a:cubicBezTo>
                  <a:cubicBezTo>
                    <a:pt x="20" y="136"/>
                    <a:pt x="22" y="137"/>
                    <a:pt x="26" y="137"/>
                  </a:cubicBezTo>
                  <a:cubicBezTo>
                    <a:pt x="57" y="137"/>
                    <a:pt x="149" y="84"/>
                    <a:pt x="268" y="84"/>
                  </a:cubicBezTo>
                  <a:cubicBezTo>
                    <a:pt x="390" y="84"/>
                    <a:pt x="484" y="153"/>
                    <a:pt x="512" y="153"/>
                  </a:cubicBezTo>
                  <a:cubicBezTo>
                    <a:pt x="515" y="153"/>
                    <a:pt x="517" y="152"/>
                    <a:pt x="519" y="151"/>
                  </a:cubicBezTo>
                  <a:cubicBezTo>
                    <a:pt x="536" y="134"/>
                    <a:pt x="519" y="117"/>
                    <a:pt x="469" y="84"/>
                  </a:cubicBezTo>
                  <a:cubicBezTo>
                    <a:pt x="419" y="34"/>
                    <a:pt x="352" y="17"/>
                    <a:pt x="268"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99" name="Google Shape;3890;p60"/>
            <p:cNvSpPr/>
            <p:nvPr/>
          </p:nvSpPr>
          <p:spPr>
            <a:xfrm>
              <a:off x="2759823" y="1439396"/>
              <a:ext cx="15576" cy="13397"/>
            </a:xfrm>
            <a:custGeom>
              <a:avLst/>
              <a:gdLst/>
              <a:ahLst/>
              <a:cxnLst/>
              <a:rect l="l" t="t" r="r" b="b"/>
              <a:pathLst>
                <a:path w="486" h="418" extrusionOk="0">
                  <a:moveTo>
                    <a:pt x="302" y="0"/>
                  </a:moveTo>
                  <a:cubicBezTo>
                    <a:pt x="252" y="0"/>
                    <a:pt x="201" y="17"/>
                    <a:pt x="168" y="50"/>
                  </a:cubicBezTo>
                  <a:cubicBezTo>
                    <a:pt x="151" y="84"/>
                    <a:pt x="151" y="134"/>
                    <a:pt x="135" y="151"/>
                  </a:cubicBezTo>
                  <a:cubicBezTo>
                    <a:pt x="118" y="159"/>
                    <a:pt x="105" y="159"/>
                    <a:pt x="93" y="159"/>
                  </a:cubicBezTo>
                  <a:cubicBezTo>
                    <a:pt x="80" y="159"/>
                    <a:pt x="68" y="159"/>
                    <a:pt x="51" y="167"/>
                  </a:cubicBezTo>
                  <a:cubicBezTo>
                    <a:pt x="18" y="184"/>
                    <a:pt x="1" y="217"/>
                    <a:pt x="1" y="251"/>
                  </a:cubicBezTo>
                  <a:cubicBezTo>
                    <a:pt x="1" y="284"/>
                    <a:pt x="1" y="318"/>
                    <a:pt x="18" y="351"/>
                  </a:cubicBezTo>
                  <a:lnTo>
                    <a:pt x="18" y="368"/>
                  </a:lnTo>
                  <a:cubicBezTo>
                    <a:pt x="18" y="385"/>
                    <a:pt x="18" y="401"/>
                    <a:pt x="34" y="401"/>
                  </a:cubicBezTo>
                  <a:cubicBezTo>
                    <a:pt x="51" y="401"/>
                    <a:pt x="68" y="418"/>
                    <a:pt x="85" y="418"/>
                  </a:cubicBezTo>
                  <a:cubicBezTo>
                    <a:pt x="151" y="418"/>
                    <a:pt x="201" y="418"/>
                    <a:pt x="268" y="401"/>
                  </a:cubicBezTo>
                  <a:cubicBezTo>
                    <a:pt x="318" y="401"/>
                    <a:pt x="369" y="385"/>
                    <a:pt x="419" y="351"/>
                  </a:cubicBezTo>
                  <a:cubicBezTo>
                    <a:pt x="452" y="318"/>
                    <a:pt x="486" y="268"/>
                    <a:pt x="486" y="217"/>
                  </a:cubicBezTo>
                  <a:cubicBezTo>
                    <a:pt x="486" y="167"/>
                    <a:pt x="452" y="117"/>
                    <a:pt x="419" y="84"/>
                  </a:cubicBezTo>
                  <a:cubicBezTo>
                    <a:pt x="385" y="50"/>
                    <a:pt x="335" y="17"/>
                    <a:pt x="302" y="0"/>
                  </a:cubicBezTo>
                  <a:close/>
                </a:path>
              </a:pathLst>
            </a:custGeom>
            <a:solidFill>
              <a:srgbClr val="BF7A6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00" name="Google Shape;3891;p60"/>
            <p:cNvSpPr/>
            <p:nvPr/>
          </p:nvSpPr>
          <p:spPr>
            <a:xfrm>
              <a:off x="2757162" y="1438851"/>
              <a:ext cx="17179" cy="12339"/>
            </a:xfrm>
            <a:custGeom>
              <a:avLst/>
              <a:gdLst/>
              <a:ahLst/>
              <a:cxnLst/>
              <a:rect l="l" t="t" r="r" b="b"/>
              <a:pathLst>
                <a:path w="536" h="385" extrusionOk="0">
                  <a:moveTo>
                    <a:pt x="535" y="1"/>
                  </a:moveTo>
                  <a:lnTo>
                    <a:pt x="0" y="385"/>
                  </a:lnTo>
                  <a:cubicBezTo>
                    <a:pt x="234" y="368"/>
                    <a:pt x="435" y="218"/>
                    <a:pt x="535" y="1"/>
                  </a:cubicBezTo>
                  <a:close/>
                </a:path>
              </a:pathLst>
            </a:custGeom>
            <a:solidFill>
              <a:srgbClr val="BF7A6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01" name="Google Shape;3892;p60"/>
            <p:cNvSpPr/>
            <p:nvPr/>
          </p:nvSpPr>
          <p:spPr>
            <a:xfrm>
              <a:off x="2757162" y="1438819"/>
              <a:ext cx="17179" cy="12403"/>
            </a:xfrm>
            <a:custGeom>
              <a:avLst/>
              <a:gdLst/>
              <a:ahLst/>
              <a:cxnLst/>
              <a:rect l="l" t="t" r="r" b="b"/>
              <a:pathLst>
                <a:path w="536" h="387" extrusionOk="0">
                  <a:moveTo>
                    <a:pt x="532" y="0"/>
                  </a:moveTo>
                  <a:cubicBezTo>
                    <a:pt x="511" y="0"/>
                    <a:pt x="444" y="140"/>
                    <a:pt x="301" y="235"/>
                  </a:cubicBezTo>
                  <a:cubicBezTo>
                    <a:pt x="201" y="286"/>
                    <a:pt x="101" y="352"/>
                    <a:pt x="0" y="386"/>
                  </a:cubicBezTo>
                  <a:cubicBezTo>
                    <a:pt x="12" y="387"/>
                    <a:pt x="24" y="387"/>
                    <a:pt x="35" y="387"/>
                  </a:cubicBezTo>
                  <a:cubicBezTo>
                    <a:pt x="272" y="387"/>
                    <a:pt x="487" y="225"/>
                    <a:pt x="535" y="2"/>
                  </a:cubicBezTo>
                  <a:cubicBezTo>
                    <a:pt x="534" y="1"/>
                    <a:pt x="533" y="0"/>
                    <a:pt x="532"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02" name="Google Shape;3893;p60"/>
            <p:cNvSpPr/>
            <p:nvPr/>
          </p:nvSpPr>
          <p:spPr>
            <a:xfrm>
              <a:off x="2721811" y="1387411"/>
              <a:ext cx="12339" cy="1667"/>
            </a:xfrm>
            <a:custGeom>
              <a:avLst/>
              <a:gdLst/>
              <a:ahLst/>
              <a:cxnLst/>
              <a:rect l="l" t="t" r="r" b="b"/>
              <a:pathLst>
                <a:path w="385" h="52" extrusionOk="0">
                  <a:moveTo>
                    <a:pt x="244" y="1"/>
                  </a:moveTo>
                  <a:cubicBezTo>
                    <a:pt x="159" y="1"/>
                    <a:pt x="76" y="19"/>
                    <a:pt x="1" y="52"/>
                  </a:cubicBezTo>
                  <a:lnTo>
                    <a:pt x="385" y="18"/>
                  </a:lnTo>
                  <a:cubicBezTo>
                    <a:pt x="338" y="6"/>
                    <a:pt x="290" y="1"/>
                    <a:pt x="244" y="1"/>
                  </a:cubicBezTo>
                  <a:close/>
                </a:path>
              </a:pathLst>
            </a:custGeom>
            <a:solidFill>
              <a:srgbClr val="BF7A6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03" name="Google Shape;3894;p60"/>
            <p:cNvSpPr/>
            <p:nvPr/>
          </p:nvSpPr>
          <p:spPr>
            <a:xfrm>
              <a:off x="2721266" y="1385231"/>
              <a:ext cx="12884" cy="4743"/>
            </a:xfrm>
            <a:custGeom>
              <a:avLst/>
              <a:gdLst/>
              <a:ahLst/>
              <a:cxnLst/>
              <a:rect l="l" t="t" r="r" b="b"/>
              <a:pathLst>
                <a:path w="402" h="148" extrusionOk="0">
                  <a:moveTo>
                    <a:pt x="238" y="0"/>
                  </a:moveTo>
                  <a:cubicBezTo>
                    <a:pt x="226" y="0"/>
                    <a:pt x="214" y="1"/>
                    <a:pt x="201" y="3"/>
                  </a:cubicBezTo>
                  <a:cubicBezTo>
                    <a:pt x="68" y="19"/>
                    <a:pt x="1" y="86"/>
                    <a:pt x="18" y="120"/>
                  </a:cubicBezTo>
                  <a:cubicBezTo>
                    <a:pt x="27" y="139"/>
                    <a:pt x="60" y="147"/>
                    <a:pt x="106" y="147"/>
                  </a:cubicBezTo>
                  <a:cubicBezTo>
                    <a:pt x="138" y="147"/>
                    <a:pt x="177" y="143"/>
                    <a:pt x="218" y="136"/>
                  </a:cubicBezTo>
                  <a:cubicBezTo>
                    <a:pt x="302" y="136"/>
                    <a:pt x="385" y="120"/>
                    <a:pt x="402" y="86"/>
                  </a:cubicBezTo>
                  <a:cubicBezTo>
                    <a:pt x="402" y="56"/>
                    <a:pt x="336" y="0"/>
                    <a:pt x="238"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04" name="Google Shape;3895;p60"/>
            <p:cNvSpPr/>
            <p:nvPr/>
          </p:nvSpPr>
          <p:spPr>
            <a:xfrm>
              <a:off x="2767867" y="1388276"/>
              <a:ext cx="17179" cy="2404"/>
            </a:xfrm>
            <a:custGeom>
              <a:avLst/>
              <a:gdLst/>
              <a:ahLst/>
              <a:cxnLst/>
              <a:rect l="l" t="t" r="r" b="b"/>
              <a:pathLst>
                <a:path w="536" h="75" extrusionOk="0">
                  <a:moveTo>
                    <a:pt x="222" y="0"/>
                  </a:moveTo>
                  <a:cubicBezTo>
                    <a:pt x="146" y="0"/>
                    <a:pt x="70" y="13"/>
                    <a:pt x="1" y="41"/>
                  </a:cubicBezTo>
                  <a:lnTo>
                    <a:pt x="535" y="75"/>
                  </a:lnTo>
                  <a:cubicBezTo>
                    <a:pt x="438" y="26"/>
                    <a:pt x="329" y="0"/>
                    <a:pt x="222" y="0"/>
                  </a:cubicBezTo>
                  <a:close/>
                </a:path>
              </a:pathLst>
            </a:custGeom>
            <a:solidFill>
              <a:srgbClr val="BF7A62"/>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05" name="Google Shape;3896;p60"/>
            <p:cNvSpPr/>
            <p:nvPr/>
          </p:nvSpPr>
          <p:spPr>
            <a:xfrm>
              <a:off x="2767386" y="1386289"/>
              <a:ext cx="18172" cy="4872"/>
            </a:xfrm>
            <a:custGeom>
              <a:avLst/>
              <a:gdLst/>
              <a:ahLst/>
              <a:cxnLst/>
              <a:rect l="l" t="t" r="r" b="b"/>
              <a:pathLst>
                <a:path w="567" h="152" extrusionOk="0">
                  <a:moveTo>
                    <a:pt x="239" y="1"/>
                  </a:moveTo>
                  <a:cubicBezTo>
                    <a:pt x="96" y="1"/>
                    <a:pt x="0" y="73"/>
                    <a:pt x="16" y="103"/>
                  </a:cubicBezTo>
                  <a:cubicBezTo>
                    <a:pt x="16" y="137"/>
                    <a:pt x="133" y="137"/>
                    <a:pt x="283" y="137"/>
                  </a:cubicBezTo>
                  <a:cubicBezTo>
                    <a:pt x="372" y="137"/>
                    <a:pt x="454" y="152"/>
                    <a:pt x="503" y="152"/>
                  </a:cubicBezTo>
                  <a:cubicBezTo>
                    <a:pt x="528" y="152"/>
                    <a:pt x="545" y="148"/>
                    <a:pt x="550" y="137"/>
                  </a:cubicBezTo>
                  <a:cubicBezTo>
                    <a:pt x="567" y="103"/>
                    <a:pt x="450" y="3"/>
                    <a:pt x="283" y="3"/>
                  </a:cubicBezTo>
                  <a:cubicBezTo>
                    <a:pt x="268" y="2"/>
                    <a:pt x="254" y="1"/>
                    <a:pt x="239"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06" name="Google Shape;3897;p60"/>
            <p:cNvSpPr/>
            <p:nvPr/>
          </p:nvSpPr>
          <p:spPr>
            <a:xfrm>
              <a:off x="2700402" y="1310555"/>
              <a:ext cx="134963" cy="74580"/>
            </a:xfrm>
            <a:custGeom>
              <a:avLst/>
              <a:gdLst/>
              <a:ahLst/>
              <a:cxnLst/>
              <a:rect l="l" t="t" r="r" b="b"/>
              <a:pathLst>
                <a:path w="4211" h="2327" extrusionOk="0">
                  <a:moveTo>
                    <a:pt x="1887" y="1"/>
                  </a:moveTo>
                  <a:cubicBezTo>
                    <a:pt x="1283" y="1"/>
                    <a:pt x="699" y="295"/>
                    <a:pt x="335" y="795"/>
                  </a:cubicBezTo>
                  <a:cubicBezTo>
                    <a:pt x="117" y="1113"/>
                    <a:pt x="0" y="1564"/>
                    <a:pt x="201" y="1898"/>
                  </a:cubicBezTo>
                  <a:cubicBezTo>
                    <a:pt x="340" y="2118"/>
                    <a:pt x="565" y="2222"/>
                    <a:pt x="789" y="2222"/>
                  </a:cubicBezTo>
                  <a:cubicBezTo>
                    <a:pt x="1076" y="2222"/>
                    <a:pt x="1360" y="2050"/>
                    <a:pt x="1454" y="1731"/>
                  </a:cubicBezTo>
                  <a:cubicBezTo>
                    <a:pt x="1454" y="2111"/>
                    <a:pt x="1736" y="2296"/>
                    <a:pt x="2019" y="2296"/>
                  </a:cubicBezTo>
                  <a:cubicBezTo>
                    <a:pt x="2321" y="2296"/>
                    <a:pt x="2625" y="2086"/>
                    <a:pt x="2590" y="1681"/>
                  </a:cubicBezTo>
                  <a:lnTo>
                    <a:pt x="2590" y="1681"/>
                  </a:lnTo>
                  <a:cubicBezTo>
                    <a:pt x="2657" y="1882"/>
                    <a:pt x="2791" y="2065"/>
                    <a:pt x="2958" y="2199"/>
                  </a:cubicBezTo>
                  <a:cubicBezTo>
                    <a:pt x="3028" y="2250"/>
                    <a:pt x="3109" y="2275"/>
                    <a:pt x="3188" y="2275"/>
                  </a:cubicBezTo>
                  <a:cubicBezTo>
                    <a:pt x="3317" y="2275"/>
                    <a:pt x="3443" y="2212"/>
                    <a:pt x="3526" y="2099"/>
                  </a:cubicBezTo>
                  <a:cubicBezTo>
                    <a:pt x="3626" y="2213"/>
                    <a:pt x="3750" y="2327"/>
                    <a:pt x="3898" y="2327"/>
                  </a:cubicBezTo>
                  <a:cubicBezTo>
                    <a:pt x="3924" y="2327"/>
                    <a:pt x="3950" y="2323"/>
                    <a:pt x="3977" y="2316"/>
                  </a:cubicBezTo>
                  <a:cubicBezTo>
                    <a:pt x="4127" y="2266"/>
                    <a:pt x="4211" y="2132"/>
                    <a:pt x="4211" y="1965"/>
                  </a:cubicBezTo>
                  <a:cubicBezTo>
                    <a:pt x="4194" y="1815"/>
                    <a:pt x="4144" y="1681"/>
                    <a:pt x="4061" y="1547"/>
                  </a:cubicBezTo>
                  <a:cubicBezTo>
                    <a:pt x="3739" y="985"/>
                    <a:pt x="3263" y="468"/>
                    <a:pt x="2647" y="266"/>
                  </a:cubicBezTo>
                  <a:lnTo>
                    <a:pt x="2647" y="266"/>
                  </a:lnTo>
                  <a:cubicBezTo>
                    <a:pt x="2498" y="106"/>
                    <a:pt x="2301" y="10"/>
                    <a:pt x="2072" y="10"/>
                  </a:cubicBezTo>
                  <a:cubicBezTo>
                    <a:pt x="2011" y="4"/>
                    <a:pt x="1949" y="1"/>
                    <a:pt x="1887" y="1"/>
                  </a:cubicBezTo>
                  <a:close/>
                </a:path>
              </a:pathLst>
            </a:custGeom>
            <a:solidFill>
              <a:srgbClr val="52187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07" name="Google Shape;3898;p60"/>
            <p:cNvSpPr/>
            <p:nvPr/>
          </p:nvSpPr>
          <p:spPr>
            <a:xfrm>
              <a:off x="2800013" y="1345137"/>
              <a:ext cx="71792" cy="167942"/>
            </a:xfrm>
            <a:custGeom>
              <a:avLst/>
              <a:gdLst/>
              <a:ahLst/>
              <a:cxnLst/>
              <a:rect l="l" t="t" r="r" b="b"/>
              <a:pathLst>
                <a:path w="2240" h="5240" extrusionOk="0">
                  <a:moveTo>
                    <a:pt x="1103" y="1"/>
                  </a:moveTo>
                  <a:lnTo>
                    <a:pt x="334" y="585"/>
                  </a:lnTo>
                  <a:cubicBezTo>
                    <a:pt x="652" y="1137"/>
                    <a:pt x="652" y="1805"/>
                    <a:pt x="351" y="2373"/>
                  </a:cubicBezTo>
                  <a:cubicBezTo>
                    <a:pt x="234" y="2523"/>
                    <a:pt x="151" y="2707"/>
                    <a:pt x="67" y="2874"/>
                  </a:cubicBezTo>
                  <a:cubicBezTo>
                    <a:pt x="0" y="3058"/>
                    <a:pt x="50" y="3275"/>
                    <a:pt x="184" y="3409"/>
                  </a:cubicBezTo>
                  <a:cubicBezTo>
                    <a:pt x="284" y="3493"/>
                    <a:pt x="435" y="3526"/>
                    <a:pt x="451" y="3643"/>
                  </a:cubicBezTo>
                  <a:cubicBezTo>
                    <a:pt x="451" y="3693"/>
                    <a:pt x="451" y="3760"/>
                    <a:pt x="418" y="3810"/>
                  </a:cubicBezTo>
                  <a:cubicBezTo>
                    <a:pt x="334" y="4044"/>
                    <a:pt x="318" y="4311"/>
                    <a:pt x="384" y="4545"/>
                  </a:cubicBezTo>
                  <a:cubicBezTo>
                    <a:pt x="418" y="4796"/>
                    <a:pt x="585" y="4996"/>
                    <a:pt x="819" y="5080"/>
                  </a:cubicBezTo>
                  <a:cubicBezTo>
                    <a:pt x="967" y="5142"/>
                    <a:pt x="1060" y="5240"/>
                    <a:pt x="1261" y="5240"/>
                  </a:cubicBezTo>
                  <a:cubicBezTo>
                    <a:pt x="1331" y="5240"/>
                    <a:pt x="1416" y="5227"/>
                    <a:pt x="1521" y="5197"/>
                  </a:cubicBezTo>
                  <a:cubicBezTo>
                    <a:pt x="2239" y="5013"/>
                    <a:pt x="1988" y="3409"/>
                    <a:pt x="1922" y="2674"/>
                  </a:cubicBezTo>
                  <a:cubicBezTo>
                    <a:pt x="1855" y="1939"/>
                    <a:pt x="1504" y="619"/>
                    <a:pt x="1103" y="1"/>
                  </a:cubicBezTo>
                  <a:close/>
                </a:path>
              </a:pathLst>
            </a:custGeom>
            <a:solidFill>
              <a:srgbClr val="52187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08" name="Google Shape;3899;p60"/>
            <p:cNvSpPr/>
            <p:nvPr/>
          </p:nvSpPr>
          <p:spPr>
            <a:xfrm>
              <a:off x="2736298" y="1510066"/>
              <a:ext cx="102304" cy="96470"/>
            </a:xfrm>
            <a:custGeom>
              <a:avLst/>
              <a:gdLst/>
              <a:ahLst/>
              <a:cxnLst/>
              <a:rect l="l" t="t" r="r" b="b"/>
              <a:pathLst>
                <a:path w="3192" h="3010" extrusionOk="0">
                  <a:moveTo>
                    <a:pt x="2022" y="1"/>
                  </a:moveTo>
                  <a:lnTo>
                    <a:pt x="685" y="485"/>
                  </a:lnTo>
                  <a:cubicBezTo>
                    <a:pt x="685" y="485"/>
                    <a:pt x="1" y="3010"/>
                    <a:pt x="358" y="3010"/>
                  </a:cubicBezTo>
                  <a:cubicBezTo>
                    <a:pt x="376" y="3010"/>
                    <a:pt x="395" y="3004"/>
                    <a:pt x="418" y="2992"/>
                  </a:cubicBezTo>
                  <a:cubicBezTo>
                    <a:pt x="885" y="2708"/>
                    <a:pt x="3191" y="886"/>
                    <a:pt x="3191" y="886"/>
                  </a:cubicBezTo>
                  <a:lnTo>
                    <a:pt x="2022" y="1"/>
                  </a:lnTo>
                  <a:close/>
                </a:path>
              </a:pathLst>
            </a:custGeom>
            <a:solidFill>
              <a:srgbClr val="D893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09" name="Google Shape;3900;p60"/>
            <p:cNvSpPr/>
            <p:nvPr/>
          </p:nvSpPr>
          <p:spPr>
            <a:xfrm>
              <a:off x="2497974" y="1619741"/>
              <a:ext cx="390946" cy="174576"/>
            </a:xfrm>
            <a:custGeom>
              <a:avLst/>
              <a:gdLst/>
              <a:ahLst/>
              <a:cxnLst/>
              <a:rect l="l" t="t" r="r" b="b"/>
              <a:pathLst>
                <a:path w="12198" h="5447" extrusionOk="0">
                  <a:moveTo>
                    <a:pt x="2740" y="1"/>
                  </a:moveTo>
                  <a:cubicBezTo>
                    <a:pt x="2706" y="1"/>
                    <a:pt x="2671" y="12"/>
                    <a:pt x="2640" y="37"/>
                  </a:cubicBezTo>
                  <a:cubicBezTo>
                    <a:pt x="2540" y="121"/>
                    <a:pt x="2457" y="472"/>
                    <a:pt x="2540" y="906"/>
                  </a:cubicBezTo>
                  <a:cubicBezTo>
                    <a:pt x="2540" y="923"/>
                    <a:pt x="2540" y="923"/>
                    <a:pt x="2540" y="923"/>
                  </a:cubicBezTo>
                  <a:cubicBezTo>
                    <a:pt x="2560" y="1059"/>
                    <a:pt x="2529" y="1110"/>
                    <a:pt x="2469" y="1110"/>
                  </a:cubicBezTo>
                  <a:cubicBezTo>
                    <a:pt x="2332" y="1110"/>
                    <a:pt x="2045" y="839"/>
                    <a:pt x="1905" y="722"/>
                  </a:cubicBezTo>
                  <a:cubicBezTo>
                    <a:pt x="1724" y="558"/>
                    <a:pt x="1140" y="70"/>
                    <a:pt x="1025" y="70"/>
                  </a:cubicBezTo>
                  <a:cubicBezTo>
                    <a:pt x="1023" y="70"/>
                    <a:pt x="1021" y="71"/>
                    <a:pt x="1020" y="71"/>
                  </a:cubicBezTo>
                  <a:cubicBezTo>
                    <a:pt x="886" y="104"/>
                    <a:pt x="886" y="255"/>
                    <a:pt x="1070" y="422"/>
                  </a:cubicBezTo>
                  <a:cubicBezTo>
                    <a:pt x="1270" y="589"/>
                    <a:pt x="1805" y="1123"/>
                    <a:pt x="1705" y="1224"/>
                  </a:cubicBezTo>
                  <a:cubicBezTo>
                    <a:pt x="1700" y="1229"/>
                    <a:pt x="1693" y="1232"/>
                    <a:pt x="1684" y="1232"/>
                  </a:cubicBezTo>
                  <a:cubicBezTo>
                    <a:pt x="1524" y="1232"/>
                    <a:pt x="686" y="438"/>
                    <a:pt x="686" y="438"/>
                  </a:cubicBezTo>
                  <a:cubicBezTo>
                    <a:pt x="686" y="438"/>
                    <a:pt x="571" y="304"/>
                    <a:pt x="474" y="304"/>
                  </a:cubicBezTo>
                  <a:cubicBezTo>
                    <a:pt x="448" y="304"/>
                    <a:pt x="423" y="313"/>
                    <a:pt x="401" y="338"/>
                  </a:cubicBezTo>
                  <a:cubicBezTo>
                    <a:pt x="201" y="522"/>
                    <a:pt x="1270" y="1391"/>
                    <a:pt x="1371" y="1458"/>
                  </a:cubicBezTo>
                  <a:cubicBezTo>
                    <a:pt x="1422" y="1509"/>
                    <a:pt x="1385" y="1580"/>
                    <a:pt x="1327" y="1580"/>
                  </a:cubicBezTo>
                  <a:cubicBezTo>
                    <a:pt x="1309" y="1580"/>
                    <a:pt x="1290" y="1573"/>
                    <a:pt x="1270" y="1558"/>
                  </a:cubicBezTo>
                  <a:cubicBezTo>
                    <a:pt x="1211" y="1513"/>
                    <a:pt x="524" y="842"/>
                    <a:pt x="236" y="842"/>
                  </a:cubicBezTo>
                  <a:cubicBezTo>
                    <a:pt x="201" y="842"/>
                    <a:pt x="172" y="851"/>
                    <a:pt x="151" y="873"/>
                  </a:cubicBezTo>
                  <a:cubicBezTo>
                    <a:pt x="0" y="1023"/>
                    <a:pt x="1020" y="1575"/>
                    <a:pt x="1103" y="1859"/>
                  </a:cubicBezTo>
                  <a:cubicBezTo>
                    <a:pt x="1116" y="1898"/>
                    <a:pt x="1108" y="1915"/>
                    <a:pt x="1086" y="1915"/>
                  </a:cubicBezTo>
                  <a:cubicBezTo>
                    <a:pt x="973" y="1915"/>
                    <a:pt x="468" y="1472"/>
                    <a:pt x="272" y="1472"/>
                  </a:cubicBezTo>
                  <a:cubicBezTo>
                    <a:pt x="250" y="1472"/>
                    <a:pt x="231" y="1478"/>
                    <a:pt x="218" y="1491"/>
                  </a:cubicBezTo>
                  <a:cubicBezTo>
                    <a:pt x="168" y="1558"/>
                    <a:pt x="134" y="1608"/>
                    <a:pt x="669" y="1976"/>
                  </a:cubicBezTo>
                  <a:cubicBezTo>
                    <a:pt x="1120" y="2260"/>
                    <a:pt x="1571" y="2527"/>
                    <a:pt x="2039" y="2761"/>
                  </a:cubicBezTo>
                  <a:lnTo>
                    <a:pt x="2106" y="2778"/>
                  </a:lnTo>
                  <a:cubicBezTo>
                    <a:pt x="2106" y="2778"/>
                    <a:pt x="5784" y="5447"/>
                    <a:pt x="8386" y="5447"/>
                  </a:cubicBezTo>
                  <a:cubicBezTo>
                    <a:pt x="9167" y="5447"/>
                    <a:pt x="9851" y="5207"/>
                    <a:pt x="10310" y="4582"/>
                  </a:cubicBezTo>
                  <a:cubicBezTo>
                    <a:pt x="11011" y="3646"/>
                    <a:pt x="11646" y="2661"/>
                    <a:pt x="12198" y="1625"/>
                  </a:cubicBezTo>
                  <a:lnTo>
                    <a:pt x="9842" y="505"/>
                  </a:lnTo>
                  <a:cubicBezTo>
                    <a:pt x="9842" y="505"/>
                    <a:pt x="8275" y="2978"/>
                    <a:pt x="7894" y="2978"/>
                  </a:cubicBezTo>
                  <a:cubicBezTo>
                    <a:pt x="7892" y="2978"/>
                    <a:pt x="7889" y="2978"/>
                    <a:pt x="7887" y="2978"/>
                  </a:cubicBezTo>
                  <a:cubicBezTo>
                    <a:pt x="5899" y="2828"/>
                    <a:pt x="3927" y="1809"/>
                    <a:pt x="3225" y="1424"/>
                  </a:cubicBezTo>
                  <a:cubicBezTo>
                    <a:pt x="3175" y="1341"/>
                    <a:pt x="3108" y="1224"/>
                    <a:pt x="3025" y="1073"/>
                  </a:cubicBezTo>
                  <a:cubicBezTo>
                    <a:pt x="2975" y="956"/>
                    <a:pt x="2924" y="823"/>
                    <a:pt x="2908" y="689"/>
                  </a:cubicBezTo>
                  <a:cubicBezTo>
                    <a:pt x="2874" y="555"/>
                    <a:pt x="2874" y="405"/>
                    <a:pt x="2874" y="255"/>
                  </a:cubicBezTo>
                  <a:cubicBezTo>
                    <a:pt x="2874" y="238"/>
                    <a:pt x="2874" y="221"/>
                    <a:pt x="2891" y="221"/>
                  </a:cubicBezTo>
                  <a:cubicBezTo>
                    <a:pt x="2891" y="188"/>
                    <a:pt x="2891" y="171"/>
                    <a:pt x="2891" y="154"/>
                  </a:cubicBezTo>
                  <a:cubicBezTo>
                    <a:pt x="2891" y="61"/>
                    <a:pt x="2818" y="1"/>
                    <a:pt x="2740" y="1"/>
                  </a:cubicBezTo>
                  <a:close/>
                </a:path>
              </a:pathLst>
            </a:custGeom>
            <a:solidFill>
              <a:srgbClr val="D8937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10" name="Google Shape;3901;p60"/>
            <p:cNvSpPr/>
            <p:nvPr/>
          </p:nvSpPr>
          <p:spPr>
            <a:xfrm>
              <a:off x="1321451" y="2568229"/>
              <a:ext cx="119995" cy="52883"/>
            </a:xfrm>
            <a:custGeom>
              <a:avLst/>
              <a:gdLst/>
              <a:ahLst/>
              <a:cxnLst/>
              <a:rect l="l" t="t" r="r" b="b"/>
              <a:pathLst>
                <a:path w="3744" h="1650" extrusionOk="0">
                  <a:moveTo>
                    <a:pt x="2006" y="1"/>
                  </a:moveTo>
                  <a:lnTo>
                    <a:pt x="1" y="17"/>
                  </a:lnTo>
                  <a:lnTo>
                    <a:pt x="1" y="1588"/>
                  </a:lnTo>
                  <a:lnTo>
                    <a:pt x="118" y="1605"/>
                  </a:lnTo>
                  <a:cubicBezTo>
                    <a:pt x="451" y="1615"/>
                    <a:pt x="1416" y="1649"/>
                    <a:pt x="2211" y="1649"/>
                  </a:cubicBezTo>
                  <a:cubicBezTo>
                    <a:pt x="2732" y="1649"/>
                    <a:pt x="3180" y="1634"/>
                    <a:pt x="3326" y="1588"/>
                  </a:cubicBezTo>
                  <a:cubicBezTo>
                    <a:pt x="3743" y="1454"/>
                    <a:pt x="2022" y="1087"/>
                    <a:pt x="2022" y="1087"/>
                  </a:cubicBezTo>
                  <a:lnTo>
                    <a:pt x="2006" y="1"/>
                  </a:lnTo>
                  <a:close/>
                </a:path>
              </a:pathLst>
            </a:custGeom>
            <a:solidFill>
              <a:srgbClr val="52187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11" name="Google Shape;3902;p60"/>
            <p:cNvSpPr/>
            <p:nvPr/>
          </p:nvSpPr>
          <p:spPr>
            <a:xfrm>
              <a:off x="1320393" y="2616977"/>
              <a:ext cx="109803" cy="2179"/>
            </a:xfrm>
            <a:custGeom>
              <a:avLst/>
              <a:gdLst/>
              <a:ahLst/>
              <a:cxnLst/>
              <a:rect l="l" t="t" r="r" b="b"/>
              <a:pathLst>
                <a:path w="3426" h="68" extrusionOk="0">
                  <a:moveTo>
                    <a:pt x="3392" y="0"/>
                  </a:moveTo>
                  <a:lnTo>
                    <a:pt x="3292" y="17"/>
                  </a:lnTo>
                  <a:lnTo>
                    <a:pt x="3392" y="17"/>
                  </a:lnTo>
                  <a:cubicBezTo>
                    <a:pt x="3392" y="17"/>
                    <a:pt x="3409" y="17"/>
                    <a:pt x="3426" y="0"/>
                  </a:cubicBezTo>
                  <a:close/>
                  <a:moveTo>
                    <a:pt x="0" y="17"/>
                  </a:moveTo>
                  <a:cubicBezTo>
                    <a:pt x="17" y="17"/>
                    <a:pt x="17" y="17"/>
                    <a:pt x="34" y="34"/>
                  </a:cubicBezTo>
                  <a:lnTo>
                    <a:pt x="134" y="34"/>
                  </a:lnTo>
                  <a:lnTo>
                    <a:pt x="502" y="50"/>
                  </a:lnTo>
                  <a:cubicBezTo>
                    <a:pt x="802" y="50"/>
                    <a:pt x="1237" y="67"/>
                    <a:pt x="1705" y="67"/>
                  </a:cubicBezTo>
                  <a:cubicBezTo>
                    <a:pt x="2189" y="67"/>
                    <a:pt x="2607" y="50"/>
                    <a:pt x="2924" y="34"/>
                  </a:cubicBezTo>
                  <a:lnTo>
                    <a:pt x="3292" y="17"/>
                  </a:lnTo>
                  <a:lnTo>
                    <a:pt x="2924" y="17"/>
                  </a:lnTo>
                  <a:cubicBezTo>
                    <a:pt x="2607" y="34"/>
                    <a:pt x="2189" y="34"/>
                    <a:pt x="1705" y="34"/>
                  </a:cubicBezTo>
                  <a:lnTo>
                    <a:pt x="502" y="34"/>
                  </a:lnTo>
                  <a:lnTo>
                    <a:pt x="134" y="17"/>
                  </a:ln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12" name="Google Shape;3903;p60"/>
            <p:cNvSpPr/>
            <p:nvPr/>
          </p:nvSpPr>
          <p:spPr>
            <a:xfrm>
              <a:off x="1407152" y="2608932"/>
              <a:ext cx="6442" cy="10224"/>
            </a:xfrm>
            <a:custGeom>
              <a:avLst/>
              <a:gdLst/>
              <a:ahLst/>
              <a:cxnLst/>
              <a:rect l="l" t="t" r="r" b="b"/>
              <a:pathLst>
                <a:path w="201" h="319" extrusionOk="0">
                  <a:moveTo>
                    <a:pt x="201" y="1"/>
                  </a:moveTo>
                  <a:cubicBezTo>
                    <a:pt x="84" y="51"/>
                    <a:pt x="0" y="184"/>
                    <a:pt x="0" y="318"/>
                  </a:cubicBezTo>
                  <a:cubicBezTo>
                    <a:pt x="17" y="251"/>
                    <a:pt x="50" y="201"/>
                    <a:pt x="67" y="134"/>
                  </a:cubicBezTo>
                  <a:cubicBezTo>
                    <a:pt x="117" y="84"/>
                    <a:pt x="151" y="34"/>
                    <a:pt x="201"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13" name="Google Shape;3904;p60"/>
            <p:cNvSpPr/>
            <p:nvPr/>
          </p:nvSpPr>
          <p:spPr>
            <a:xfrm>
              <a:off x="1387858" y="2604125"/>
              <a:ext cx="3782" cy="5384"/>
            </a:xfrm>
            <a:custGeom>
              <a:avLst/>
              <a:gdLst/>
              <a:ahLst/>
              <a:cxnLst/>
              <a:rect l="l" t="t" r="r" b="b"/>
              <a:pathLst>
                <a:path w="118" h="168" extrusionOk="0">
                  <a:moveTo>
                    <a:pt x="118" y="0"/>
                  </a:moveTo>
                  <a:cubicBezTo>
                    <a:pt x="118" y="0"/>
                    <a:pt x="84" y="34"/>
                    <a:pt x="51" y="84"/>
                  </a:cubicBezTo>
                  <a:cubicBezTo>
                    <a:pt x="34" y="117"/>
                    <a:pt x="1" y="167"/>
                    <a:pt x="17" y="167"/>
                  </a:cubicBezTo>
                  <a:cubicBezTo>
                    <a:pt x="17" y="167"/>
                    <a:pt x="51" y="134"/>
                    <a:pt x="84" y="84"/>
                  </a:cubicBezTo>
                  <a:cubicBezTo>
                    <a:pt x="101" y="50"/>
                    <a:pt x="118" y="0"/>
                    <a:pt x="118"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14" name="Google Shape;3905;p60"/>
            <p:cNvSpPr/>
            <p:nvPr/>
          </p:nvSpPr>
          <p:spPr>
            <a:xfrm>
              <a:off x="1383051" y="2603035"/>
              <a:ext cx="4295" cy="3782"/>
            </a:xfrm>
            <a:custGeom>
              <a:avLst/>
              <a:gdLst/>
              <a:ahLst/>
              <a:cxnLst/>
              <a:rect l="l" t="t" r="r" b="b"/>
              <a:pathLst>
                <a:path w="134" h="118" extrusionOk="0">
                  <a:moveTo>
                    <a:pt x="117" y="1"/>
                  </a:moveTo>
                  <a:cubicBezTo>
                    <a:pt x="117" y="1"/>
                    <a:pt x="84" y="18"/>
                    <a:pt x="50" y="51"/>
                  </a:cubicBezTo>
                  <a:cubicBezTo>
                    <a:pt x="17" y="84"/>
                    <a:pt x="0" y="118"/>
                    <a:pt x="0" y="118"/>
                  </a:cubicBezTo>
                  <a:cubicBezTo>
                    <a:pt x="0" y="118"/>
                    <a:pt x="34" y="101"/>
                    <a:pt x="67" y="68"/>
                  </a:cubicBezTo>
                  <a:cubicBezTo>
                    <a:pt x="100" y="34"/>
                    <a:pt x="134" y="1"/>
                    <a:pt x="117"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15" name="Google Shape;3906;p60"/>
            <p:cNvSpPr/>
            <p:nvPr/>
          </p:nvSpPr>
          <p:spPr>
            <a:xfrm>
              <a:off x="1378756" y="2596080"/>
              <a:ext cx="7532" cy="1314"/>
            </a:xfrm>
            <a:custGeom>
              <a:avLst/>
              <a:gdLst/>
              <a:ahLst/>
              <a:cxnLst/>
              <a:rect l="l" t="t" r="r" b="b"/>
              <a:pathLst>
                <a:path w="235" h="41" extrusionOk="0">
                  <a:moveTo>
                    <a:pt x="1" y="1"/>
                  </a:moveTo>
                  <a:cubicBezTo>
                    <a:pt x="37" y="28"/>
                    <a:pt x="79" y="41"/>
                    <a:pt x="123" y="41"/>
                  </a:cubicBezTo>
                  <a:cubicBezTo>
                    <a:pt x="159" y="41"/>
                    <a:pt x="197" y="32"/>
                    <a:pt x="234" y="17"/>
                  </a:cubicBezTo>
                  <a:cubicBezTo>
                    <a:pt x="151" y="17"/>
                    <a:pt x="67" y="17"/>
                    <a:pt x="1"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16" name="Google Shape;3907;p60"/>
            <p:cNvSpPr/>
            <p:nvPr/>
          </p:nvSpPr>
          <p:spPr>
            <a:xfrm>
              <a:off x="1390550" y="2598003"/>
              <a:ext cx="12339" cy="7211"/>
            </a:xfrm>
            <a:custGeom>
              <a:avLst/>
              <a:gdLst/>
              <a:ahLst/>
              <a:cxnLst/>
              <a:rect l="l" t="t" r="r" b="b"/>
              <a:pathLst>
                <a:path w="385" h="225" extrusionOk="0">
                  <a:moveTo>
                    <a:pt x="259" y="28"/>
                  </a:moveTo>
                  <a:cubicBezTo>
                    <a:pt x="284" y="28"/>
                    <a:pt x="309" y="33"/>
                    <a:pt x="334" y="41"/>
                  </a:cubicBezTo>
                  <a:cubicBezTo>
                    <a:pt x="368" y="58"/>
                    <a:pt x="351" y="74"/>
                    <a:pt x="334" y="91"/>
                  </a:cubicBezTo>
                  <a:cubicBezTo>
                    <a:pt x="301" y="108"/>
                    <a:pt x="284" y="124"/>
                    <a:pt x="251" y="124"/>
                  </a:cubicBezTo>
                  <a:cubicBezTo>
                    <a:pt x="217" y="141"/>
                    <a:pt x="167" y="158"/>
                    <a:pt x="117" y="158"/>
                  </a:cubicBezTo>
                  <a:cubicBezTo>
                    <a:pt x="85" y="166"/>
                    <a:pt x="57" y="170"/>
                    <a:pt x="37" y="172"/>
                  </a:cubicBezTo>
                  <a:lnTo>
                    <a:pt x="37" y="172"/>
                  </a:lnTo>
                  <a:cubicBezTo>
                    <a:pt x="47" y="148"/>
                    <a:pt x="57" y="128"/>
                    <a:pt x="67" y="108"/>
                  </a:cubicBezTo>
                  <a:cubicBezTo>
                    <a:pt x="100" y="74"/>
                    <a:pt x="151" y="41"/>
                    <a:pt x="184" y="41"/>
                  </a:cubicBezTo>
                  <a:cubicBezTo>
                    <a:pt x="209" y="33"/>
                    <a:pt x="234" y="28"/>
                    <a:pt x="259" y="28"/>
                  </a:cubicBezTo>
                  <a:close/>
                  <a:moveTo>
                    <a:pt x="252" y="1"/>
                  </a:moveTo>
                  <a:cubicBezTo>
                    <a:pt x="181" y="1"/>
                    <a:pt x="112" y="34"/>
                    <a:pt x="67" y="91"/>
                  </a:cubicBezTo>
                  <a:cubicBezTo>
                    <a:pt x="34" y="124"/>
                    <a:pt x="34" y="157"/>
                    <a:pt x="18" y="174"/>
                  </a:cubicBezTo>
                  <a:lnTo>
                    <a:pt x="18" y="174"/>
                  </a:lnTo>
                  <a:cubicBezTo>
                    <a:pt x="6" y="175"/>
                    <a:pt x="0" y="175"/>
                    <a:pt x="0" y="175"/>
                  </a:cubicBezTo>
                  <a:cubicBezTo>
                    <a:pt x="5" y="177"/>
                    <a:pt x="11" y="179"/>
                    <a:pt x="17" y="181"/>
                  </a:cubicBezTo>
                  <a:lnTo>
                    <a:pt x="17" y="181"/>
                  </a:lnTo>
                  <a:cubicBezTo>
                    <a:pt x="17" y="196"/>
                    <a:pt x="17" y="210"/>
                    <a:pt x="17" y="225"/>
                  </a:cubicBezTo>
                  <a:cubicBezTo>
                    <a:pt x="22" y="210"/>
                    <a:pt x="27" y="197"/>
                    <a:pt x="32" y="185"/>
                  </a:cubicBezTo>
                  <a:lnTo>
                    <a:pt x="32" y="185"/>
                  </a:lnTo>
                  <a:cubicBezTo>
                    <a:pt x="41" y="186"/>
                    <a:pt x="51" y="187"/>
                    <a:pt x="61" y="187"/>
                  </a:cubicBezTo>
                  <a:cubicBezTo>
                    <a:pt x="84" y="187"/>
                    <a:pt x="109" y="183"/>
                    <a:pt x="134" y="175"/>
                  </a:cubicBezTo>
                  <a:cubicBezTo>
                    <a:pt x="167" y="175"/>
                    <a:pt x="217" y="158"/>
                    <a:pt x="268" y="141"/>
                  </a:cubicBezTo>
                  <a:cubicBezTo>
                    <a:pt x="284" y="141"/>
                    <a:pt x="318" y="124"/>
                    <a:pt x="351" y="124"/>
                  </a:cubicBezTo>
                  <a:cubicBezTo>
                    <a:pt x="351" y="108"/>
                    <a:pt x="368" y="91"/>
                    <a:pt x="368" y="74"/>
                  </a:cubicBezTo>
                  <a:cubicBezTo>
                    <a:pt x="384" y="58"/>
                    <a:pt x="368" y="41"/>
                    <a:pt x="351" y="24"/>
                  </a:cubicBezTo>
                  <a:cubicBezTo>
                    <a:pt x="319" y="8"/>
                    <a:pt x="285" y="1"/>
                    <a:pt x="252"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17" name="Google Shape;3908;p60"/>
            <p:cNvSpPr/>
            <p:nvPr/>
          </p:nvSpPr>
          <p:spPr>
            <a:xfrm>
              <a:off x="1385711" y="2596080"/>
              <a:ext cx="6474" cy="8077"/>
            </a:xfrm>
            <a:custGeom>
              <a:avLst/>
              <a:gdLst/>
              <a:ahLst/>
              <a:cxnLst/>
              <a:rect l="l" t="t" r="r" b="b"/>
              <a:pathLst>
                <a:path w="202" h="252" extrusionOk="0">
                  <a:moveTo>
                    <a:pt x="51" y="1"/>
                  </a:moveTo>
                  <a:cubicBezTo>
                    <a:pt x="17" y="1"/>
                    <a:pt x="1" y="34"/>
                    <a:pt x="17" y="51"/>
                  </a:cubicBezTo>
                  <a:cubicBezTo>
                    <a:pt x="17" y="84"/>
                    <a:pt x="17" y="101"/>
                    <a:pt x="34" y="118"/>
                  </a:cubicBezTo>
                  <a:cubicBezTo>
                    <a:pt x="51" y="151"/>
                    <a:pt x="68" y="168"/>
                    <a:pt x="101" y="201"/>
                  </a:cubicBezTo>
                  <a:cubicBezTo>
                    <a:pt x="118" y="218"/>
                    <a:pt x="134" y="235"/>
                    <a:pt x="168" y="251"/>
                  </a:cubicBezTo>
                  <a:cubicBezTo>
                    <a:pt x="168" y="235"/>
                    <a:pt x="151" y="218"/>
                    <a:pt x="101" y="184"/>
                  </a:cubicBezTo>
                  <a:cubicBezTo>
                    <a:pt x="84" y="151"/>
                    <a:pt x="68" y="134"/>
                    <a:pt x="51" y="101"/>
                  </a:cubicBezTo>
                  <a:cubicBezTo>
                    <a:pt x="34" y="84"/>
                    <a:pt x="17" y="34"/>
                    <a:pt x="51" y="17"/>
                  </a:cubicBezTo>
                  <a:cubicBezTo>
                    <a:pt x="84" y="17"/>
                    <a:pt x="118" y="51"/>
                    <a:pt x="134" y="84"/>
                  </a:cubicBezTo>
                  <a:cubicBezTo>
                    <a:pt x="151" y="101"/>
                    <a:pt x="168" y="134"/>
                    <a:pt x="185" y="168"/>
                  </a:cubicBezTo>
                  <a:cubicBezTo>
                    <a:pt x="185" y="184"/>
                    <a:pt x="185" y="218"/>
                    <a:pt x="185" y="251"/>
                  </a:cubicBezTo>
                  <a:cubicBezTo>
                    <a:pt x="201" y="218"/>
                    <a:pt x="201" y="184"/>
                    <a:pt x="201" y="151"/>
                  </a:cubicBezTo>
                  <a:cubicBezTo>
                    <a:pt x="185" y="118"/>
                    <a:pt x="185" y="84"/>
                    <a:pt x="151" y="67"/>
                  </a:cubicBezTo>
                  <a:cubicBezTo>
                    <a:pt x="134" y="17"/>
                    <a:pt x="101" y="1"/>
                    <a:pt x="51"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18" name="Google Shape;3909;p60"/>
            <p:cNvSpPr/>
            <p:nvPr/>
          </p:nvSpPr>
          <p:spPr>
            <a:xfrm>
              <a:off x="1321451" y="2599285"/>
              <a:ext cx="23076" cy="18781"/>
            </a:xfrm>
            <a:custGeom>
              <a:avLst/>
              <a:gdLst/>
              <a:ahLst/>
              <a:cxnLst/>
              <a:rect l="l" t="t" r="r" b="b"/>
              <a:pathLst>
                <a:path w="720" h="586" extrusionOk="0">
                  <a:moveTo>
                    <a:pt x="151" y="1"/>
                  </a:moveTo>
                  <a:cubicBezTo>
                    <a:pt x="118" y="1"/>
                    <a:pt x="84" y="1"/>
                    <a:pt x="51" y="18"/>
                  </a:cubicBezTo>
                  <a:lnTo>
                    <a:pt x="1" y="18"/>
                  </a:lnTo>
                  <a:cubicBezTo>
                    <a:pt x="1" y="26"/>
                    <a:pt x="17" y="26"/>
                    <a:pt x="45" y="26"/>
                  </a:cubicBezTo>
                  <a:cubicBezTo>
                    <a:pt x="72" y="26"/>
                    <a:pt x="109" y="26"/>
                    <a:pt x="151" y="34"/>
                  </a:cubicBezTo>
                  <a:cubicBezTo>
                    <a:pt x="402" y="51"/>
                    <a:pt x="602" y="218"/>
                    <a:pt x="686" y="452"/>
                  </a:cubicBezTo>
                  <a:cubicBezTo>
                    <a:pt x="719" y="536"/>
                    <a:pt x="719" y="586"/>
                    <a:pt x="719" y="586"/>
                  </a:cubicBezTo>
                  <a:cubicBezTo>
                    <a:pt x="719" y="569"/>
                    <a:pt x="719" y="552"/>
                    <a:pt x="719" y="552"/>
                  </a:cubicBezTo>
                  <a:cubicBezTo>
                    <a:pt x="719" y="502"/>
                    <a:pt x="703" y="469"/>
                    <a:pt x="703" y="435"/>
                  </a:cubicBezTo>
                  <a:cubicBezTo>
                    <a:pt x="619" y="201"/>
                    <a:pt x="402" y="18"/>
                    <a:pt x="151"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19" name="Google Shape;3910;p60"/>
            <p:cNvSpPr/>
            <p:nvPr/>
          </p:nvSpPr>
          <p:spPr>
            <a:xfrm>
              <a:off x="1327348" y="2573068"/>
              <a:ext cx="1090" cy="26794"/>
            </a:xfrm>
            <a:custGeom>
              <a:avLst/>
              <a:gdLst/>
              <a:ahLst/>
              <a:cxnLst/>
              <a:rect l="l" t="t" r="r" b="b"/>
              <a:pathLst>
                <a:path w="34" h="836" extrusionOk="0">
                  <a:moveTo>
                    <a:pt x="17" y="0"/>
                  </a:moveTo>
                  <a:cubicBezTo>
                    <a:pt x="17" y="134"/>
                    <a:pt x="1" y="284"/>
                    <a:pt x="17" y="418"/>
                  </a:cubicBezTo>
                  <a:cubicBezTo>
                    <a:pt x="1" y="552"/>
                    <a:pt x="1" y="685"/>
                    <a:pt x="17" y="836"/>
                  </a:cubicBezTo>
                  <a:cubicBezTo>
                    <a:pt x="34" y="552"/>
                    <a:pt x="34" y="284"/>
                    <a:pt x="17"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20" name="Google Shape;3911;p60"/>
            <p:cNvSpPr/>
            <p:nvPr/>
          </p:nvSpPr>
          <p:spPr>
            <a:xfrm>
              <a:off x="1352507" y="2612137"/>
              <a:ext cx="19326" cy="833"/>
            </a:xfrm>
            <a:custGeom>
              <a:avLst/>
              <a:gdLst/>
              <a:ahLst/>
              <a:cxnLst/>
              <a:rect l="l" t="t" r="r" b="b"/>
              <a:pathLst>
                <a:path w="603" h="26" extrusionOk="0">
                  <a:moveTo>
                    <a:pt x="1" y="1"/>
                  </a:moveTo>
                  <a:cubicBezTo>
                    <a:pt x="101" y="18"/>
                    <a:pt x="201" y="26"/>
                    <a:pt x="302" y="26"/>
                  </a:cubicBezTo>
                  <a:cubicBezTo>
                    <a:pt x="402" y="26"/>
                    <a:pt x="502" y="18"/>
                    <a:pt x="602"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21" name="Google Shape;3912;p60"/>
            <p:cNvSpPr/>
            <p:nvPr/>
          </p:nvSpPr>
          <p:spPr>
            <a:xfrm>
              <a:off x="1340200" y="2612137"/>
              <a:ext cx="2179" cy="3782"/>
            </a:xfrm>
            <a:custGeom>
              <a:avLst/>
              <a:gdLst/>
              <a:ahLst/>
              <a:cxnLst/>
              <a:rect l="l" t="t" r="r" b="b"/>
              <a:pathLst>
                <a:path w="68" h="118" extrusionOk="0">
                  <a:moveTo>
                    <a:pt x="1" y="1"/>
                  </a:moveTo>
                  <a:cubicBezTo>
                    <a:pt x="1" y="1"/>
                    <a:pt x="1" y="34"/>
                    <a:pt x="17" y="68"/>
                  </a:cubicBezTo>
                  <a:cubicBezTo>
                    <a:pt x="34" y="84"/>
                    <a:pt x="51" y="118"/>
                    <a:pt x="51" y="118"/>
                  </a:cubicBezTo>
                  <a:cubicBezTo>
                    <a:pt x="51" y="118"/>
                    <a:pt x="67" y="84"/>
                    <a:pt x="51" y="51"/>
                  </a:cubicBezTo>
                  <a:cubicBezTo>
                    <a:pt x="34" y="18"/>
                    <a:pt x="1" y="1"/>
                    <a:pt x="1"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22" name="Google Shape;3913;p60"/>
            <p:cNvSpPr/>
            <p:nvPr/>
          </p:nvSpPr>
          <p:spPr>
            <a:xfrm>
              <a:off x="1335392" y="2606272"/>
              <a:ext cx="2692" cy="2692"/>
            </a:xfrm>
            <a:custGeom>
              <a:avLst/>
              <a:gdLst/>
              <a:ahLst/>
              <a:cxnLst/>
              <a:rect l="l" t="t" r="r" b="b"/>
              <a:pathLst>
                <a:path w="84" h="84" extrusionOk="0">
                  <a:moveTo>
                    <a:pt x="0" y="0"/>
                  </a:moveTo>
                  <a:cubicBezTo>
                    <a:pt x="0" y="0"/>
                    <a:pt x="0" y="33"/>
                    <a:pt x="34" y="50"/>
                  </a:cubicBezTo>
                  <a:cubicBezTo>
                    <a:pt x="50" y="67"/>
                    <a:pt x="67" y="84"/>
                    <a:pt x="67" y="84"/>
                  </a:cubicBezTo>
                  <a:cubicBezTo>
                    <a:pt x="84" y="67"/>
                    <a:pt x="67" y="50"/>
                    <a:pt x="50" y="33"/>
                  </a:cubicBezTo>
                  <a:cubicBezTo>
                    <a:pt x="17" y="17"/>
                    <a:pt x="0" y="0"/>
                    <a:pt x="0"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23" name="Google Shape;3914;p60"/>
            <p:cNvSpPr/>
            <p:nvPr/>
          </p:nvSpPr>
          <p:spPr>
            <a:xfrm>
              <a:off x="1328406" y="2603356"/>
              <a:ext cx="3782" cy="1538"/>
            </a:xfrm>
            <a:custGeom>
              <a:avLst/>
              <a:gdLst/>
              <a:ahLst/>
              <a:cxnLst/>
              <a:rect l="l" t="t" r="r" b="b"/>
              <a:pathLst>
                <a:path w="118" h="48" extrusionOk="0">
                  <a:moveTo>
                    <a:pt x="36" y="0"/>
                  </a:moveTo>
                  <a:cubicBezTo>
                    <a:pt x="16" y="0"/>
                    <a:pt x="1" y="8"/>
                    <a:pt x="1" y="8"/>
                  </a:cubicBezTo>
                  <a:cubicBezTo>
                    <a:pt x="1" y="8"/>
                    <a:pt x="34" y="8"/>
                    <a:pt x="68" y="24"/>
                  </a:cubicBezTo>
                  <a:cubicBezTo>
                    <a:pt x="80" y="36"/>
                    <a:pt x="100" y="48"/>
                    <a:pt x="111" y="48"/>
                  </a:cubicBezTo>
                  <a:cubicBezTo>
                    <a:pt x="115" y="48"/>
                    <a:pt x="118" y="46"/>
                    <a:pt x="118" y="41"/>
                  </a:cubicBezTo>
                  <a:cubicBezTo>
                    <a:pt x="118" y="41"/>
                    <a:pt x="101" y="8"/>
                    <a:pt x="68" y="8"/>
                  </a:cubicBezTo>
                  <a:cubicBezTo>
                    <a:pt x="57" y="2"/>
                    <a:pt x="46" y="0"/>
                    <a:pt x="36"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24" name="Google Shape;3915;p60"/>
            <p:cNvSpPr/>
            <p:nvPr/>
          </p:nvSpPr>
          <p:spPr>
            <a:xfrm>
              <a:off x="1323598" y="2602106"/>
              <a:ext cx="2179" cy="962"/>
            </a:xfrm>
            <a:custGeom>
              <a:avLst/>
              <a:gdLst/>
              <a:ahLst/>
              <a:cxnLst/>
              <a:rect l="l" t="t" r="r" b="b"/>
              <a:pathLst>
                <a:path w="68" h="30" extrusionOk="0">
                  <a:moveTo>
                    <a:pt x="11" y="1"/>
                  </a:moveTo>
                  <a:cubicBezTo>
                    <a:pt x="5" y="1"/>
                    <a:pt x="1" y="5"/>
                    <a:pt x="1" y="13"/>
                  </a:cubicBezTo>
                  <a:cubicBezTo>
                    <a:pt x="1" y="13"/>
                    <a:pt x="17" y="30"/>
                    <a:pt x="34" y="30"/>
                  </a:cubicBezTo>
                  <a:lnTo>
                    <a:pt x="67" y="30"/>
                  </a:lnTo>
                  <a:cubicBezTo>
                    <a:pt x="67" y="30"/>
                    <a:pt x="51" y="13"/>
                    <a:pt x="34" y="13"/>
                  </a:cubicBezTo>
                  <a:cubicBezTo>
                    <a:pt x="26" y="5"/>
                    <a:pt x="17" y="1"/>
                    <a:pt x="11"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25" name="Google Shape;3916;p60"/>
            <p:cNvSpPr/>
            <p:nvPr/>
          </p:nvSpPr>
          <p:spPr>
            <a:xfrm>
              <a:off x="946594" y="2489514"/>
              <a:ext cx="99900" cy="99900"/>
            </a:xfrm>
            <a:custGeom>
              <a:avLst/>
              <a:gdLst/>
              <a:ahLst/>
              <a:cxnLst/>
              <a:rect l="l" t="t" r="r" b="b"/>
              <a:pathLst>
                <a:path w="3117" h="3117" extrusionOk="0">
                  <a:moveTo>
                    <a:pt x="853" y="1"/>
                  </a:moveTo>
                  <a:lnTo>
                    <a:pt x="1" y="1321"/>
                  </a:lnTo>
                  <a:lnTo>
                    <a:pt x="101" y="1387"/>
                  </a:lnTo>
                  <a:cubicBezTo>
                    <a:pt x="552" y="1722"/>
                    <a:pt x="2424" y="3008"/>
                    <a:pt x="2808" y="3108"/>
                  </a:cubicBezTo>
                  <a:cubicBezTo>
                    <a:pt x="2827" y="3114"/>
                    <a:pt x="2842" y="3116"/>
                    <a:pt x="2855" y="3116"/>
                  </a:cubicBezTo>
                  <a:cubicBezTo>
                    <a:pt x="3116" y="3116"/>
                    <a:pt x="1989" y="1989"/>
                    <a:pt x="1989" y="1989"/>
                  </a:cubicBezTo>
                  <a:lnTo>
                    <a:pt x="2557" y="1070"/>
                  </a:lnTo>
                  <a:lnTo>
                    <a:pt x="853" y="1"/>
                  </a:lnTo>
                  <a:close/>
                </a:path>
              </a:pathLst>
            </a:custGeom>
            <a:solidFill>
              <a:srgbClr val="52187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26" name="Google Shape;3917;p60"/>
            <p:cNvSpPr/>
            <p:nvPr/>
          </p:nvSpPr>
          <p:spPr>
            <a:xfrm>
              <a:off x="946594" y="2530218"/>
              <a:ext cx="92689" cy="58395"/>
            </a:xfrm>
            <a:custGeom>
              <a:avLst/>
              <a:gdLst/>
              <a:ahLst/>
              <a:cxnLst/>
              <a:rect l="l" t="t" r="r" b="b"/>
              <a:pathLst>
                <a:path w="2892" h="1822" extrusionOk="0">
                  <a:moveTo>
                    <a:pt x="1" y="0"/>
                  </a:moveTo>
                  <a:cubicBezTo>
                    <a:pt x="17" y="0"/>
                    <a:pt x="17" y="17"/>
                    <a:pt x="34" y="17"/>
                  </a:cubicBezTo>
                  <a:cubicBezTo>
                    <a:pt x="17" y="0"/>
                    <a:pt x="17" y="0"/>
                    <a:pt x="1" y="0"/>
                  </a:cubicBezTo>
                  <a:close/>
                  <a:moveTo>
                    <a:pt x="34" y="17"/>
                  </a:moveTo>
                  <a:lnTo>
                    <a:pt x="101" y="67"/>
                  </a:lnTo>
                  <a:lnTo>
                    <a:pt x="418" y="285"/>
                  </a:lnTo>
                  <a:cubicBezTo>
                    <a:pt x="669" y="452"/>
                    <a:pt x="1020" y="702"/>
                    <a:pt x="1421" y="953"/>
                  </a:cubicBezTo>
                  <a:cubicBezTo>
                    <a:pt x="1822" y="1203"/>
                    <a:pt x="2190" y="1421"/>
                    <a:pt x="2457" y="1588"/>
                  </a:cubicBezTo>
                  <a:lnTo>
                    <a:pt x="2774" y="1772"/>
                  </a:lnTo>
                  <a:lnTo>
                    <a:pt x="2858" y="1805"/>
                  </a:lnTo>
                  <a:lnTo>
                    <a:pt x="2774" y="1755"/>
                  </a:lnTo>
                  <a:lnTo>
                    <a:pt x="2457" y="1571"/>
                  </a:lnTo>
                  <a:cubicBezTo>
                    <a:pt x="2190" y="1404"/>
                    <a:pt x="1839" y="1187"/>
                    <a:pt x="1438" y="936"/>
                  </a:cubicBezTo>
                  <a:cubicBezTo>
                    <a:pt x="1037" y="669"/>
                    <a:pt x="686" y="435"/>
                    <a:pt x="418" y="268"/>
                  </a:cubicBezTo>
                  <a:lnTo>
                    <a:pt x="118" y="67"/>
                  </a:lnTo>
                  <a:lnTo>
                    <a:pt x="34" y="17"/>
                  </a:lnTo>
                  <a:close/>
                  <a:moveTo>
                    <a:pt x="2858" y="1805"/>
                  </a:moveTo>
                  <a:cubicBezTo>
                    <a:pt x="2875" y="1822"/>
                    <a:pt x="2875" y="1822"/>
                    <a:pt x="2891" y="1822"/>
                  </a:cubicBezTo>
                  <a:cubicBezTo>
                    <a:pt x="2875" y="1822"/>
                    <a:pt x="2875" y="1805"/>
                    <a:pt x="2858" y="1805"/>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27" name="Google Shape;3918;p60"/>
            <p:cNvSpPr/>
            <p:nvPr/>
          </p:nvSpPr>
          <p:spPr>
            <a:xfrm>
              <a:off x="1019444" y="2572972"/>
              <a:ext cx="10192" cy="5481"/>
            </a:xfrm>
            <a:custGeom>
              <a:avLst/>
              <a:gdLst/>
              <a:ahLst/>
              <a:cxnLst/>
              <a:rect l="l" t="t" r="r" b="b"/>
              <a:pathLst>
                <a:path w="318" h="171" extrusionOk="0">
                  <a:moveTo>
                    <a:pt x="268" y="0"/>
                  </a:moveTo>
                  <a:cubicBezTo>
                    <a:pt x="152" y="0"/>
                    <a:pt x="44" y="53"/>
                    <a:pt x="0" y="170"/>
                  </a:cubicBezTo>
                  <a:cubicBezTo>
                    <a:pt x="84" y="70"/>
                    <a:pt x="201" y="20"/>
                    <a:pt x="318" y="3"/>
                  </a:cubicBezTo>
                  <a:cubicBezTo>
                    <a:pt x="301" y="1"/>
                    <a:pt x="285" y="0"/>
                    <a:pt x="268"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28" name="Google Shape;3919;p60"/>
            <p:cNvSpPr/>
            <p:nvPr/>
          </p:nvSpPr>
          <p:spPr>
            <a:xfrm>
              <a:off x="1008194" y="2556979"/>
              <a:ext cx="5929" cy="2724"/>
            </a:xfrm>
            <a:custGeom>
              <a:avLst/>
              <a:gdLst/>
              <a:ahLst/>
              <a:cxnLst/>
              <a:rect l="l" t="t" r="r" b="b"/>
              <a:pathLst>
                <a:path w="185" h="85" extrusionOk="0">
                  <a:moveTo>
                    <a:pt x="184" y="1"/>
                  </a:moveTo>
                  <a:cubicBezTo>
                    <a:pt x="184" y="1"/>
                    <a:pt x="134" y="18"/>
                    <a:pt x="84" y="34"/>
                  </a:cubicBezTo>
                  <a:cubicBezTo>
                    <a:pt x="34" y="51"/>
                    <a:pt x="0" y="84"/>
                    <a:pt x="0" y="84"/>
                  </a:cubicBezTo>
                  <a:cubicBezTo>
                    <a:pt x="34" y="84"/>
                    <a:pt x="67" y="68"/>
                    <a:pt x="100" y="51"/>
                  </a:cubicBezTo>
                  <a:cubicBezTo>
                    <a:pt x="151" y="34"/>
                    <a:pt x="184" y="18"/>
                    <a:pt x="184"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29" name="Google Shape;3920;p60"/>
            <p:cNvSpPr/>
            <p:nvPr/>
          </p:nvSpPr>
          <p:spPr>
            <a:xfrm>
              <a:off x="1005502" y="2553774"/>
              <a:ext cx="5384" cy="1122"/>
            </a:xfrm>
            <a:custGeom>
              <a:avLst/>
              <a:gdLst/>
              <a:ahLst/>
              <a:cxnLst/>
              <a:rect l="l" t="t" r="r" b="b"/>
              <a:pathLst>
                <a:path w="168" h="35" extrusionOk="0">
                  <a:moveTo>
                    <a:pt x="68" y="1"/>
                  </a:moveTo>
                  <a:cubicBezTo>
                    <a:pt x="34" y="17"/>
                    <a:pt x="1" y="17"/>
                    <a:pt x="1" y="34"/>
                  </a:cubicBezTo>
                  <a:cubicBezTo>
                    <a:pt x="1" y="34"/>
                    <a:pt x="34" y="34"/>
                    <a:pt x="84" y="17"/>
                  </a:cubicBezTo>
                  <a:cubicBezTo>
                    <a:pt x="134" y="17"/>
                    <a:pt x="168" y="1"/>
                    <a:pt x="168"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30" name="Google Shape;3921;p60"/>
            <p:cNvSpPr/>
            <p:nvPr/>
          </p:nvSpPr>
          <p:spPr>
            <a:xfrm>
              <a:off x="1005502" y="2547749"/>
              <a:ext cx="5929" cy="3910"/>
            </a:xfrm>
            <a:custGeom>
              <a:avLst/>
              <a:gdLst/>
              <a:ahLst/>
              <a:cxnLst/>
              <a:rect l="l" t="t" r="r" b="b"/>
              <a:pathLst>
                <a:path w="185" h="122" extrusionOk="0">
                  <a:moveTo>
                    <a:pt x="21" y="0"/>
                  </a:moveTo>
                  <a:cubicBezTo>
                    <a:pt x="19" y="0"/>
                    <a:pt x="17" y="2"/>
                    <a:pt x="17" y="5"/>
                  </a:cubicBezTo>
                  <a:cubicBezTo>
                    <a:pt x="1" y="5"/>
                    <a:pt x="34" y="38"/>
                    <a:pt x="84" y="72"/>
                  </a:cubicBezTo>
                  <a:cubicBezTo>
                    <a:pt x="134" y="105"/>
                    <a:pt x="184" y="122"/>
                    <a:pt x="184" y="122"/>
                  </a:cubicBezTo>
                  <a:cubicBezTo>
                    <a:pt x="184" y="105"/>
                    <a:pt x="151" y="72"/>
                    <a:pt x="101" y="55"/>
                  </a:cubicBezTo>
                  <a:cubicBezTo>
                    <a:pt x="60" y="28"/>
                    <a:pt x="30" y="0"/>
                    <a:pt x="21"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31" name="Google Shape;3922;p60"/>
            <p:cNvSpPr/>
            <p:nvPr/>
          </p:nvSpPr>
          <p:spPr>
            <a:xfrm>
              <a:off x="1007104" y="2543614"/>
              <a:ext cx="6474" cy="4295"/>
            </a:xfrm>
            <a:custGeom>
              <a:avLst/>
              <a:gdLst/>
              <a:ahLst/>
              <a:cxnLst/>
              <a:rect l="l" t="t" r="r" b="b"/>
              <a:pathLst>
                <a:path w="202" h="134" extrusionOk="0">
                  <a:moveTo>
                    <a:pt x="1" y="0"/>
                  </a:moveTo>
                  <a:cubicBezTo>
                    <a:pt x="1" y="0"/>
                    <a:pt x="34" y="50"/>
                    <a:pt x="84" y="84"/>
                  </a:cubicBezTo>
                  <a:cubicBezTo>
                    <a:pt x="118" y="117"/>
                    <a:pt x="151" y="134"/>
                    <a:pt x="185" y="134"/>
                  </a:cubicBezTo>
                  <a:cubicBezTo>
                    <a:pt x="201" y="134"/>
                    <a:pt x="151" y="100"/>
                    <a:pt x="101" y="67"/>
                  </a:cubicBezTo>
                  <a:cubicBezTo>
                    <a:pt x="51" y="34"/>
                    <a:pt x="1" y="0"/>
                    <a:pt x="1"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32" name="Google Shape;3923;p60"/>
            <p:cNvSpPr/>
            <p:nvPr/>
          </p:nvSpPr>
          <p:spPr>
            <a:xfrm>
              <a:off x="1013001" y="2554447"/>
              <a:ext cx="12884" cy="5801"/>
            </a:xfrm>
            <a:custGeom>
              <a:avLst/>
              <a:gdLst/>
              <a:ahLst/>
              <a:cxnLst/>
              <a:rect l="l" t="t" r="r" b="b"/>
              <a:pathLst>
                <a:path w="402" h="181" extrusionOk="0">
                  <a:moveTo>
                    <a:pt x="176" y="17"/>
                  </a:moveTo>
                  <a:cubicBezTo>
                    <a:pt x="197" y="17"/>
                    <a:pt x="218" y="21"/>
                    <a:pt x="235" y="30"/>
                  </a:cubicBezTo>
                  <a:cubicBezTo>
                    <a:pt x="301" y="46"/>
                    <a:pt x="335" y="80"/>
                    <a:pt x="368" y="130"/>
                  </a:cubicBezTo>
                  <a:cubicBezTo>
                    <a:pt x="385" y="147"/>
                    <a:pt x="352" y="163"/>
                    <a:pt x="335" y="163"/>
                  </a:cubicBezTo>
                  <a:cubicBezTo>
                    <a:pt x="301" y="163"/>
                    <a:pt x="285" y="163"/>
                    <a:pt x="251" y="147"/>
                  </a:cubicBezTo>
                  <a:cubicBezTo>
                    <a:pt x="201" y="130"/>
                    <a:pt x="168" y="130"/>
                    <a:pt x="118" y="113"/>
                  </a:cubicBezTo>
                  <a:cubicBezTo>
                    <a:pt x="85" y="97"/>
                    <a:pt x="56" y="80"/>
                    <a:pt x="35" y="68"/>
                  </a:cubicBezTo>
                  <a:lnTo>
                    <a:pt x="35" y="68"/>
                  </a:lnTo>
                  <a:cubicBezTo>
                    <a:pt x="58" y="52"/>
                    <a:pt x="84" y="41"/>
                    <a:pt x="118" y="30"/>
                  </a:cubicBezTo>
                  <a:cubicBezTo>
                    <a:pt x="134" y="21"/>
                    <a:pt x="155" y="17"/>
                    <a:pt x="176" y="17"/>
                  </a:cubicBezTo>
                  <a:close/>
                  <a:moveTo>
                    <a:pt x="188" y="1"/>
                  </a:moveTo>
                  <a:cubicBezTo>
                    <a:pt x="159" y="1"/>
                    <a:pt x="130" y="5"/>
                    <a:pt x="101" y="13"/>
                  </a:cubicBezTo>
                  <a:cubicBezTo>
                    <a:pt x="69" y="29"/>
                    <a:pt x="53" y="45"/>
                    <a:pt x="23" y="60"/>
                  </a:cubicBezTo>
                  <a:lnTo>
                    <a:pt x="23" y="60"/>
                  </a:lnTo>
                  <a:cubicBezTo>
                    <a:pt x="9" y="52"/>
                    <a:pt x="1" y="46"/>
                    <a:pt x="1" y="46"/>
                  </a:cubicBezTo>
                  <a:lnTo>
                    <a:pt x="1" y="63"/>
                  </a:lnTo>
                  <a:cubicBezTo>
                    <a:pt x="4" y="65"/>
                    <a:pt x="8" y="67"/>
                    <a:pt x="12" y="69"/>
                  </a:cubicBezTo>
                  <a:lnTo>
                    <a:pt x="12" y="69"/>
                  </a:lnTo>
                  <a:cubicBezTo>
                    <a:pt x="1" y="84"/>
                    <a:pt x="1" y="97"/>
                    <a:pt x="1" y="97"/>
                  </a:cubicBezTo>
                  <a:cubicBezTo>
                    <a:pt x="8" y="89"/>
                    <a:pt x="16" y="82"/>
                    <a:pt x="23" y="77"/>
                  </a:cubicBezTo>
                  <a:lnTo>
                    <a:pt x="23" y="77"/>
                  </a:lnTo>
                  <a:cubicBezTo>
                    <a:pt x="50" y="94"/>
                    <a:pt x="79" y="117"/>
                    <a:pt x="118" y="130"/>
                  </a:cubicBezTo>
                  <a:cubicBezTo>
                    <a:pt x="151" y="147"/>
                    <a:pt x="201" y="163"/>
                    <a:pt x="251" y="163"/>
                  </a:cubicBezTo>
                  <a:cubicBezTo>
                    <a:pt x="268" y="180"/>
                    <a:pt x="301" y="180"/>
                    <a:pt x="335" y="180"/>
                  </a:cubicBezTo>
                  <a:cubicBezTo>
                    <a:pt x="352" y="180"/>
                    <a:pt x="368" y="180"/>
                    <a:pt x="385" y="163"/>
                  </a:cubicBezTo>
                  <a:cubicBezTo>
                    <a:pt x="385" y="147"/>
                    <a:pt x="402" y="130"/>
                    <a:pt x="385" y="113"/>
                  </a:cubicBezTo>
                  <a:cubicBezTo>
                    <a:pt x="347" y="38"/>
                    <a:pt x="272" y="1"/>
                    <a:pt x="188"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33" name="Google Shape;3924;p60"/>
            <p:cNvSpPr/>
            <p:nvPr/>
          </p:nvSpPr>
          <p:spPr>
            <a:xfrm>
              <a:off x="1012457" y="2547877"/>
              <a:ext cx="4327" cy="9134"/>
            </a:xfrm>
            <a:custGeom>
              <a:avLst/>
              <a:gdLst/>
              <a:ahLst/>
              <a:cxnLst/>
              <a:rect l="l" t="t" r="r" b="b"/>
              <a:pathLst>
                <a:path w="135" h="285" extrusionOk="0">
                  <a:moveTo>
                    <a:pt x="68" y="1"/>
                  </a:moveTo>
                  <a:cubicBezTo>
                    <a:pt x="51" y="1"/>
                    <a:pt x="18" y="1"/>
                    <a:pt x="1" y="34"/>
                  </a:cubicBezTo>
                  <a:cubicBezTo>
                    <a:pt x="1" y="51"/>
                    <a:pt x="1" y="68"/>
                    <a:pt x="1" y="101"/>
                  </a:cubicBezTo>
                  <a:cubicBezTo>
                    <a:pt x="1" y="118"/>
                    <a:pt x="1" y="151"/>
                    <a:pt x="1" y="185"/>
                  </a:cubicBezTo>
                  <a:cubicBezTo>
                    <a:pt x="1" y="218"/>
                    <a:pt x="18" y="251"/>
                    <a:pt x="34" y="268"/>
                  </a:cubicBezTo>
                  <a:cubicBezTo>
                    <a:pt x="34" y="268"/>
                    <a:pt x="34" y="235"/>
                    <a:pt x="18" y="185"/>
                  </a:cubicBezTo>
                  <a:cubicBezTo>
                    <a:pt x="18" y="151"/>
                    <a:pt x="18" y="118"/>
                    <a:pt x="18" y="101"/>
                  </a:cubicBezTo>
                  <a:cubicBezTo>
                    <a:pt x="18" y="68"/>
                    <a:pt x="34" y="18"/>
                    <a:pt x="68" y="18"/>
                  </a:cubicBezTo>
                  <a:cubicBezTo>
                    <a:pt x="101" y="34"/>
                    <a:pt x="101" y="84"/>
                    <a:pt x="101" y="118"/>
                  </a:cubicBezTo>
                  <a:cubicBezTo>
                    <a:pt x="101" y="151"/>
                    <a:pt x="101" y="185"/>
                    <a:pt x="84" y="201"/>
                  </a:cubicBezTo>
                  <a:cubicBezTo>
                    <a:pt x="84" y="235"/>
                    <a:pt x="68" y="251"/>
                    <a:pt x="51" y="285"/>
                  </a:cubicBezTo>
                  <a:cubicBezTo>
                    <a:pt x="51" y="285"/>
                    <a:pt x="84" y="268"/>
                    <a:pt x="101" y="218"/>
                  </a:cubicBezTo>
                  <a:cubicBezTo>
                    <a:pt x="118" y="185"/>
                    <a:pt x="135" y="151"/>
                    <a:pt x="135" y="118"/>
                  </a:cubicBezTo>
                  <a:cubicBezTo>
                    <a:pt x="135" y="68"/>
                    <a:pt x="118" y="34"/>
                    <a:pt x="68"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34" name="Google Shape;3925;p60"/>
            <p:cNvSpPr/>
            <p:nvPr/>
          </p:nvSpPr>
          <p:spPr>
            <a:xfrm>
              <a:off x="957299" y="2515763"/>
              <a:ext cx="13429" cy="27883"/>
            </a:xfrm>
            <a:custGeom>
              <a:avLst/>
              <a:gdLst/>
              <a:ahLst/>
              <a:cxnLst/>
              <a:rect l="l" t="t" r="r" b="b"/>
              <a:pathLst>
                <a:path w="419" h="870" extrusionOk="0">
                  <a:moveTo>
                    <a:pt x="1" y="0"/>
                  </a:moveTo>
                  <a:cubicBezTo>
                    <a:pt x="1" y="0"/>
                    <a:pt x="51" y="34"/>
                    <a:pt x="118" y="84"/>
                  </a:cubicBezTo>
                  <a:cubicBezTo>
                    <a:pt x="318" y="234"/>
                    <a:pt x="402" y="485"/>
                    <a:pt x="335" y="719"/>
                  </a:cubicBezTo>
                  <a:cubicBezTo>
                    <a:pt x="318" y="819"/>
                    <a:pt x="285" y="869"/>
                    <a:pt x="302" y="869"/>
                  </a:cubicBezTo>
                  <a:cubicBezTo>
                    <a:pt x="302" y="852"/>
                    <a:pt x="318" y="852"/>
                    <a:pt x="318" y="836"/>
                  </a:cubicBezTo>
                  <a:cubicBezTo>
                    <a:pt x="335" y="802"/>
                    <a:pt x="352" y="769"/>
                    <a:pt x="352" y="736"/>
                  </a:cubicBezTo>
                  <a:cubicBezTo>
                    <a:pt x="419" y="485"/>
                    <a:pt x="335" y="218"/>
                    <a:pt x="135" y="67"/>
                  </a:cubicBezTo>
                  <a:cubicBezTo>
                    <a:pt x="101" y="50"/>
                    <a:pt x="68" y="34"/>
                    <a:pt x="34" y="17"/>
                  </a:cubicBezTo>
                  <a:cubicBezTo>
                    <a:pt x="18" y="17"/>
                    <a:pt x="18" y="0"/>
                    <a:pt x="1"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35" name="Google Shape;3926;p60"/>
            <p:cNvSpPr/>
            <p:nvPr/>
          </p:nvSpPr>
          <p:spPr>
            <a:xfrm>
              <a:off x="962683" y="2496469"/>
              <a:ext cx="14487" cy="22531"/>
            </a:xfrm>
            <a:custGeom>
              <a:avLst/>
              <a:gdLst/>
              <a:ahLst/>
              <a:cxnLst/>
              <a:rect l="l" t="t" r="r" b="b"/>
              <a:pathLst>
                <a:path w="452" h="703" extrusionOk="0">
                  <a:moveTo>
                    <a:pt x="451" y="1"/>
                  </a:moveTo>
                  <a:cubicBezTo>
                    <a:pt x="284" y="235"/>
                    <a:pt x="134" y="469"/>
                    <a:pt x="0" y="703"/>
                  </a:cubicBezTo>
                  <a:cubicBezTo>
                    <a:pt x="84" y="602"/>
                    <a:pt x="167" y="485"/>
                    <a:pt x="234" y="368"/>
                  </a:cubicBezTo>
                  <a:cubicBezTo>
                    <a:pt x="317" y="251"/>
                    <a:pt x="384" y="134"/>
                    <a:pt x="451"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36" name="Google Shape;3927;p60"/>
            <p:cNvSpPr/>
            <p:nvPr/>
          </p:nvSpPr>
          <p:spPr>
            <a:xfrm>
              <a:off x="977138" y="2543005"/>
              <a:ext cx="15544" cy="10256"/>
            </a:xfrm>
            <a:custGeom>
              <a:avLst/>
              <a:gdLst/>
              <a:ahLst/>
              <a:cxnLst/>
              <a:rect l="l" t="t" r="r" b="b"/>
              <a:pathLst>
                <a:path w="485" h="320" extrusionOk="0">
                  <a:moveTo>
                    <a:pt x="2" y="0"/>
                  </a:moveTo>
                  <a:cubicBezTo>
                    <a:pt x="1" y="0"/>
                    <a:pt x="0" y="1"/>
                    <a:pt x="0" y="2"/>
                  </a:cubicBezTo>
                  <a:cubicBezTo>
                    <a:pt x="67" y="69"/>
                    <a:pt x="134" y="136"/>
                    <a:pt x="217" y="186"/>
                  </a:cubicBezTo>
                  <a:cubicBezTo>
                    <a:pt x="301" y="236"/>
                    <a:pt x="401" y="287"/>
                    <a:pt x="485" y="320"/>
                  </a:cubicBezTo>
                  <a:cubicBezTo>
                    <a:pt x="485" y="320"/>
                    <a:pt x="368" y="253"/>
                    <a:pt x="234" y="153"/>
                  </a:cubicBezTo>
                  <a:cubicBezTo>
                    <a:pt x="112" y="77"/>
                    <a:pt x="18" y="0"/>
                    <a:pt x="2"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37" name="Google Shape;3928;p60"/>
            <p:cNvSpPr/>
            <p:nvPr/>
          </p:nvSpPr>
          <p:spPr>
            <a:xfrm>
              <a:off x="965343" y="2536115"/>
              <a:ext cx="1635" cy="4295"/>
            </a:xfrm>
            <a:custGeom>
              <a:avLst/>
              <a:gdLst/>
              <a:ahLst/>
              <a:cxnLst/>
              <a:rect l="l" t="t" r="r" b="b"/>
              <a:pathLst>
                <a:path w="51" h="134" extrusionOk="0">
                  <a:moveTo>
                    <a:pt x="34" y="0"/>
                  </a:moveTo>
                  <a:cubicBezTo>
                    <a:pt x="17" y="0"/>
                    <a:pt x="17" y="34"/>
                    <a:pt x="17" y="67"/>
                  </a:cubicBezTo>
                  <a:cubicBezTo>
                    <a:pt x="17" y="101"/>
                    <a:pt x="1" y="117"/>
                    <a:pt x="17" y="134"/>
                  </a:cubicBezTo>
                  <a:cubicBezTo>
                    <a:pt x="17" y="134"/>
                    <a:pt x="34" y="101"/>
                    <a:pt x="34" y="67"/>
                  </a:cubicBezTo>
                  <a:cubicBezTo>
                    <a:pt x="51" y="34"/>
                    <a:pt x="34" y="0"/>
                    <a:pt x="34"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38" name="Google Shape;3929;p60"/>
            <p:cNvSpPr/>
            <p:nvPr/>
          </p:nvSpPr>
          <p:spPr>
            <a:xfrm>
              <a:off x="965343" y="2528615"/>
              <a:ext cx="1090" cy="3237"/>
            </a:xfrm>
            <a:custGeom>
              <a:avLst/>
              <a:gdLst/>
              <a:ahLst/>
              <a:cxnLst/>
              <a:rect l="l" t="t" r="r" b="b"/>
              <a:pathLst>
                <a:path w="34" h="101" extrusionOk="0">
                  <a:moveTo>
                    <a:pt x="1" y="0"/>
                  </a:moveTo>
                  <a:cubicBezTo>
                    <a:pt x="1" y="0"/>
                    <a:pt x="1" y="34"/>
                    <a:pt x="1" y="50"/>
                  </a:cubicBezTo>
                  <a:cubicBezTo>
                    <a:pt x="1" y="84"/>
                    <a:pt x="17" y="101"/>
                    <a:pt x="17" y="101"/>
                  </a:cubicBezTo>
                  <a:cubicBezTo>
                    <a:pt x="34" y="101"/>
                    <a:pt x="34" y="84"/>
                    <a:pt x="17" y="50"/>
                  </a:cubicBezTo>
                  <a:cubicBezTo>
                    <a:pt x="17" y="17"/>
                    <a:pt x="1" y="0"/>
                    <a:pt x="1"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39" name="Google Shape;3930;p60"/>
            <p:cNvSpPr/>
            <p:nvPr/>
          </p:nvSpPr>
          <p:spPr>
            <a:xfrm>
              <a:off x="961048" y="2522718"/>
              <a:ext cx="2724" cy="2852"/>
            </a:xfrm>
            <a:custGeom>
              <a:avLst/>
              <a:gdLst/>
              <a:ahLst/>
              <a:cxnLst/>
              <a:rect l="l" t="t" r="r" b="b"/>
              <a:pathLst>
                <a:path w="85" h="89" extrusionOk="0">
                  <a:moveTo>
                    <a:pt x="1" y="1"/>
                  </a:moveTo>
                  <a:cubicBezTo>
                    <a:pt x="1" y="1"/>
                    <a:pt x="18" y="17"/>
                    <a:pt x="34" y="51"/>
                  </a:cubicBezTo>
                  <a:cubicBezTo>
                    <a:pt x="48" y="64"/>
                    <a:pt x="61" y="89"/>
                    <a:pt x="66" y="89"/>
                  </a:cubicBezTo>
                  <a:cubicBezTo>
                    <a:pt x="67" y="89"/>
                    <a:pt x="68" y="87"/>
                    <a:pt x="68" y="84"/>
                  </a:cubicBezTo>
                  <a:cubicBezTo>
                    <a:pt x="84" y="84"/>
                    <a:pt x="84" y="51"/>
                    <a:pt x="51" y="34"/>
                  </a:cubicBezTo>
                  <a:cubicBezTo>
                    <a:pt x="34" y="1"/>
                    <a:pt x="1" y="1"/>
                    <a:pt x="1"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40" name="Google Shape;3931;p60"/>
            <p:cNvSpPr/>
            <p:nvPr/>
          </p:nvSpPr>
          <p:spPr>
            <a:xfrm>
              <a:off x="957299" y="2518968"/>
              <a:ext cx="1667" cy="1635"/>
            </a:xfrm>
            <a:custGeom>
              <a:avLst/>
              <a:gdLst/>
              <a:ahLst/>
              <a:cxnLst/>
              <a:rect l="l" t="t" r="r" b="b"/>
              <a:pathLst>
                <a:path w="52" h="51" extrusionOk="0">
                  <a:moveTo>
                    <a:pt x="18" y="1"/>
                  </a:moveTo>
                  <a:cubicBezTo>
                    <a:pt x="1" y="1"/>
                    <a:pt x="1" y="17"/>
                    <a:pt x="18" y="34"/>
                  </a:cubicBezTo>
                  <a:cubicBezTo>
                    <a:pt x="34" y="51"/>
                    <a:pt x="51" y="51"/>
                    <a:pt x="51" y="51"/>
                  </a:cubicBezTo>
                  <a:cubicBezTo>
                    <a:pt x="51" y="51"/>
                    <a:pt x="51" y="34"/>
                    <a:pt x="34" y="17"/>
                  </a:cubicBezTo>
                  <a:cubicBezTo>
                    <a:pt x="34" y="1"/>
                    <a:pt x="18" y="1"/>
                    <a:pt x="18"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41" name="Google Shape;3932;p60"/>
            <p:cNvSpPr/>
            <p:nvPr/>
          </p:nvSpPr>
          <p:spPr>
            <a:xfrm>
              <a:off x="948741" y="1854956"/>
              <a:ext cx="366332" cy="710100"/>
            </a:xfrm>
            <a:custGeom>
              <a:avLst/>
              <a:gdLst/>
              <a:ahLst/>
              <a:cxnLst/>
              <a:rect l="l" t="t" r="r" b="b"/>
              <a:pathLst>
                <a:path w="11430" h="22156" extrusionOk="0">
                  <a:moveTo>
                    <a:pt x="4278" y="0"/>
                  </a:moveTo>
                  <a:cubicBezTo>
                    <a:pt x="4278" y="0"/>
                    <a:pt x="6885" y="11011"/>
                    <a:pt x="6935" y="11211"/>
                  </a:cubicBezTo>
                  <a:cubicBezTo>
                    <a:pt x="6985" y="11429"/>
                    <a:pt x="1" y="20201"/>
                    <a:pt x="1" y="20201"/>
                  </a:cubicBezTo>
                  <a:lnTo>
                    <a:pt x="2958" y="22156"/>
                  </a:lnTo>
                  <a:cubicBezTo>
                    <a:pt x="2958" y="22156"/>
                    <a:pt x="10928" y="13367"/>
                    <a:pt x="11179" y="12832"/>
                  </a:cubicBezTo>
                  <a:cubicBezTo>
                    <a:pt x="11429" y="12281"/>
                    <a:pt x="9725" y="919"/>
                    <a:pt x="9725" y="919"/>
                  </a:cubicBezTo>
                  <a:lnTo>
                    <a:pt x="4278" y="0"/>
                  </a:lnTo>
                  <a:close/>
                </a:path>
              </a:pathLst>
            </a:custGeom>
            <a:solidFill>
              <a:srgbClr val="C875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42" name="Google Shape;3933;p60"/>
            <p:cNvSpPr/>
            <p:nvPr/>
          </p:nvSpPr>
          <p:spPr>
            <a:xfrm>
              <a:off x="1041911" y="1850117"/>
              <a:ext cx="368479" cy="744522"/>
            </a:xfrm>
            <a:custGeom>
              <a:avLst/>
              <a:gdLst/>
              <a:ahLst/>
              <a:cxnLst/>
              <a:rect l="l" t="t" r="r" b="b"/>
              <a:pathLst>
                <a:path w="11497" h="23230" extrusionOk="0">
                  <a:moveTo>
                    <a:pt x="402" y="1"/>
                  </a:moveTo>
                  <a:lnTo>
                    <a:pt x="302" y="418"/>
                  </a:lnTo>
                  <a:cubicBezTo>
                    <a:pt x="1" y="1655"/>
                    <a:pt x="185" y="2975"/>
                    <a:pt x="820" y="4078"/>
                  </a:cubicBezTo>
                  <a:lnTo>
                    <a:pt x="5465" y="12114"/>
                  </a:lnTo>
                  <a:cubicBezTo>
                    <a:pt x="5799" y="12682"/>
                    <a:pt x="6033" y="13301"/>
                    <a:pt x="6166" y="13952"/>
                  </a:cubicBezTo>
                  <a:lnTo>
                    <a:pt x="8272" y="23225"/>
                  </a:lnTo>
                  <a:lnTo>
                    <a:pt x="11495" y="23225"/>
                  </a:lnTo>
                  <a:cubicBezTo>
                    <a:pt x="11454" y="23033"/>
                    <a:pt x="10650" y="15524"/>
                    <a:pt x="10243" y="12983"/>
                  </a:cubicBezTo>
                  <a:cubicBezTo>
                    <a:pt x="9926" y="11012"/>
                    <a:pt x="7303" y="4913"/>
                    <a:pt x="6033" y="2039"/>
                  </a:cubicBezTo>
                  <a:lnTo>
                    <a:pt x="6818" y="1070"/>
                  </a:lnTo>
                  <a:lnTo>
                    <a:pt x="5448" y="836"/>
                  </a:lnTo>
                  <a:lnTo>
                    <a:pt x="402" y="1"/>
                  </a:lnTo>
                  <a:close/>
                  <a:moveTo>
                    <a:pt x="11495" y="23225"/>
                  </a:moveTo>
                  <a:cubicBezTo>
                    <a:pt x="11495" y="23228"/>
                    <a:pt x="11496" y="23229"/>
                    <a:pt x="11496" y="23229"/>
                  </a:cubicBezTo>
                  <a:cubicBezTo>
                    <a:pt x="11496" y="23229"/>
                    <a:pt x="11496" y="23228"/>
                    <a:pt x="11496" y="23225"/>
                  </a:cubicBezTo>
                  <a:close/>
                </a:path>
              </a:pathLst>
            </a:custGeom>
            <a:solidFill>
              <a:srgbClr val="C875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43" name="Google Shape;3934;p60"/>
            <p:cNvSpPr/>
            <p:nvPr/>
          </p:nvSpPr>
          <p:spPr>
            <a:xfrm>
              <a:off x="1237928" y="1914922"/>
              <a:ext cx="43396" cy="110348"/>
            </a:xfrm>
            <a:custGeom>
              <a:avLst/>
              <a:gdLst/>
              <a:ahLst/>
              <a:cxnLst/>
              <a:rect l="l" t="t" r="r" b="b"/>
              <a:pathLst>
                <a:path w="1354" h="3443" extrusionOk="0">
                  <a:moveTo>
                    <a:pt x="0" y="0"/>
                  </a:moveTo>
                  <a:cubicBezTo>
                    <a:pt x="17" y="34"/>
                    <a:pt x="34" y="84"/>
                    <a:pt x="50" y="134"/>
                  </a:cubicBezTo>
                  <a:lnTo>
                    <a:pt x="201" y="502"/>
                  </a:lnTo>
                  <a:cubicBezTo>
                    <a:pt x="334" y="802"/>
                    <a:pt x="501" y="1237"/>
                    <a:pt x="685" y="1721"/>
                  </a:cubicBezTo>
                  <a:cubicBezTo>
                    <a:pt x="886" y="2189"/>
                    <a:pt x="1036" y="2624"/>
                    <a:pt x="1153" y="2941"/>
                  </a:cubicBezTo>
                  <a:cubicBezTo>
                    <a:pt x="1203" y="3091"/>
                    <a:pt x="1253" y="3208"/>
                    <a:pt x="1287" y="3309"/>
                  </a:cubicBezTo>
                  <a:cubicBezTo>
                    <a:pt x="1303" y="3359"/>
                    <a:pt x="1320" y="3409"/>
                    <a:pt x="1354" y="3442"/>
                  </a:cubicBezTo>
                  <a:cubicBezTo>
                    <a:pt x="1354" y="3409"/>
                    <a:pt x="1337" y="3359"/>
                    <a:pt x="1320" y="3309"/>
                  </a:cubicBezTo>
                  <a:cubicBezTo>
                    <a:pt x="1287" y="3208"/>
                    <a:pt x="1253" y="3091"/>
                    <a:pt x="1203" y="2924"/>
                  </a:cubicBezTo>
                  <a:cubicBezTo>
                    <a:pt x="1103" y="2607"/>
                    <a:pt x="936" y="2172"/>
                    <a:pt x="752" y="1688"/>
                  </a:cubicBezTo>
                  <a:cubicBezTo>
                    <a:pt x="568" y="1220"/>
                    <a:pt x="385" y="786"/>
                    <a:pt x="251" y="485"/>
                  </a:cubicBezTo>
                  <a:cubicBezTo>
                    <a:pt x="184" y="335"/>
                    <a:pt x="117" y="201"/>
                    <a:pt x="84" y="117"/>
                  </a:cubicBezTo>
                  <a:cubicBezTo>
                    <a:pt x="67" y="67"/>
                    <a:pt x="34" y="34"/>
                    <a:pt x="17"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44" name="Google Shape;3935;p60"/>
            <p:cNvSpPr/>
            <p:nvPr/>
          </p:nvSpPr>
          <p:spPr>
            <a:xfrm>
              <a:off x="1128125" y="2084658"/>
              <a:ext cx="122143" cy="261913"/>
            </a:xfrm>
            <a:custGeom>
              <a:avLst/>
              <a:gdLst/>
              <a:ahLst/>
              <a:cxnLst/>
              <a:rect l="l" t="t" r="r" b="b"/>
              <a:pathLst>
                <a:path w="3811" h="8172" extrusionOk="0">
                  <a:moveTo>
                    <a:pt x="1" y="1"/>
                  </a:moveTo>
                  <a:cubicBezTo>
                    <a:pt x="18" y="34"/>
                    <a:pt x="34" y="51"/>
                    <a:pt x="51" y="85"/>
                  </a:cubicBezTo>
                  <a:lnTo>
                    <a:pt x="201" y="302"/>
                  </a:lnTo>
                  <a:lnTo>
                    <a:pt x="736" y="1120"/>
                  </a:lnTo>
                  <a:cubicBezTo>
                    <a:pt x="1321" y="2006"/>
                    <a:pt x="1872" y="2942"/>
                    <a:pt x="2374" y="3894"/>
                  </a:cubicBezTo>
                  <a:cubicBezTo>
                    <a:pt x="2641" y="4445"/>
                    <a:pt x="2892" y="4997"/>
                    <a:pt x="3092" y="5498"/>
                  </a:cubicBezTo>
                  <a:cubicBezTo>
                    <a:pt x="3176" y="5749"/>
                    <a:pt x="3276" y="5999"/>
                    <a:pt x="3343" y="6233"/>
                  </a:cubicBezTo>
                  <a:lnTo>
                    <a:pt x="3460" y="6567"/>
                  </a:lnTo>
                  <a:cubicBezTo>
                    <a:pt x="3476" y="6668"/>
                    <a:pt x="3510" y="6768"/>
                    <a:pt x="3543" y="6868"/>
                  </a:cubicBezTo>
                  <a:cubicBezTo>
                    <a:pt x="3593" y="7069"/>
                    <a:pt x="3627" y="7252"/>
                    <a:pt x="3660" y="7403"/>
                  </a:cubicBezTo>
                  <a:cubicBezTo>
                    <a:pt x="3677" y="7486"/>
                    <a:pt x="3694" y="7570"/>
                    <a:pt x="3710" y="7637"/>
                  </a:cubicBezTo>
                  <a:cubicBezTo>
                    <a:pt x="3727" y="7704"/>
                    <a:pt x="3744" y="7770"/>
                    <a:pt x="3744" y="7821"/>
                  </a:cubicBezTo>
                  <a:lnTo>
                    <a:pt x="3794" y="8088"/>
                  </a:lnTo>
                  <a:cubicBezTo>
                    <a:pt x="3794" y="8105"/>
                    <a:pt x="3811" y="8138"/>
                    <a:pt x="3811" y="8171"/>
                  </a:cubicBezTo>
                  <a:cubicBezTo>
                    <a:pt x="3811" y="8138"/>
                    <a:pt x="3811" y="8105"/>
                    <a:pt x="3811" y="8071"/>
                  </a:cubicBezTo>
                  <a:cubicBezTo>
                    <a:pt x="3794" y="8004"/>
                    <a:pt x="3794" y="7921"/>
                    <a:pt x="3777" y="7821"/>
                  </a:cubicBezTo>
                  <a:cubicBezTo>
                    <a:pt x="3760" y="7754"/>
                    <a:pt x="3760" y="7687"/>
                    <a:pt x="3744" y="7620"/>
                  </a:cubicBezTo>
                  <a:lnTo>
                    <a:pt x="3710" y="7403"/>
                  </a:lnTo>
                  <a:cubicBezTo>
                    <a:pt x="3677" y="7236"/>
                    <a:pt x="3643" y="7052"/>
                    <a:pt x="3577" y="6851"/>
                  </a:cubicBezTo>
                  <a:lnTo>
                    <a:pt x="3510" y="6551"/>
                  </a:lnTo>
                  <a:cubicBezTo>
                    <a:pt x="3476" y="6434"/>
                    <a:pt x="3443" y="6317"/>
                    <a:pt x="3410" y="6217"/>
                  </a:cubicBezTo>
                  <a:cubicBezTo>
                    <a:pt x="3326" y="5983"/>
                    <a:pt x="3242" y="5732"/>
                    <a:pt x="3142" y="5481"/>
                  </a:cubicBezTo>
                  <a:cubicBezTo>
                    <a:pt x="2958" y="4963"/>
                    <a:pt x="2708" y="4412"/>
                    <a:pt x="2424" y="3861"/>
                  </a:cubicBezTo>
                  <a:cubicBezTo>
                    <a:pt x="1939" y="2908"/>
                    <a:pt x="1388" y="1973"/>
                    <a:pt x="770" y="1087"/>
                  </a:cubicBezTo>
                  <a:cubicBezTo>
                    <a:pt x="552" y="753"/>
                    <a:pt x="352" y="469"/>
                    <a:pt x="218" y="285"/>
                  </a:cubicBezTo>
                  <a:lnTo>
                    <a:pt x="68" y="68"/>
                  </a:lnTo>
                  <a:cubicBezTo>
                    <a:pt x="51" y="51"/>
                    <a:pt x="34" y="18"/>
                    <a:pt x="1"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45" name="Google Shape;3936;p60"/>
            <p:cNvSpPr/>
            <p:nvPr/>
          </p:nvSpPr>
          <p:spPr>
            <a:xfrm>
              <a:off x="959991" y="2487912"/>
              <a:ext cx="97496" cy="62145"/>
            </a:xfrm>
            <a:custGeom>
              <a:avLst/>
              <a:gdLst/>
              <a:ahLst/>
              <a:cxnLst/>
              <a:rect l="l" t="t" r="r" b="b"/>
              <a:pathLst>
                <a:path w="3042" h="1939" extrusionOk="0">
                  <a:moveTo>
                    <a:pt x="17" y="0"/>
                  </a:moveTo>
                  <a:cubicBezTo>
                    <a:pt x="0" y="17"/>
                    <a:pt x="184" y="117"/>
                    <a:pt x="452" y="285"/>
                  </a:cubicBezTo>
                  <a:cubicBezTo>
                    <a:pt x="719" y="468"/>
                    <a:pt x="1087" y="736"/>
                    <a:pt x="1471" y="1036"/>
                  </a:cubicBezTo>
                  <a:cubicBezTo>
                    <a:pt x="1822" y="1287"/>
                    <a:pt x="2173" y="1521"/>
                    <a:pt x="2540" y="1738"/>
                  </a:cubicBezTo>
                  <a:cubicBezTo>
                    <a:pt x="2657" y="1788"/>
                    <a:pt x="2774" y="1838"/>
                    <a:pt x="2891" y="1889"/>
                  </a:cubicBezTo>
                  <a:cubicBezTo>
                    <a:pt x="2941" y="1905"/>
                    <a:pt x="2991" y="1922"/>
                    <a:pt x="3025" y="1939"/>
                  </a:cubicBezTo>
                  <a:cubicBezTo>
                    <a:pt x="3041" y="1922"/>
                    <a:pt x="2858" y="1855"/>
                    <a:pt x="2574" y="1688"/>
                  </a:cubicBezTo>
                  <a:cubicBezTo>
                    <a:pt x="2206" y="1471"/>
                    <a:pt x="1855" y="1237"/>
                    <a:pt x="1521" y="986"/>
                  </a:cubicBezTo>
                  <a:cubicBezTo>
                    <a:pt x="1120" y="686"/>
                    <a:pt x="752" y="418"/>
                    <a:pt x="485" y="251"/>
                  </a:cubicBezTo>
                  <a:cubicBezTo>
                    <a:pt x="335" y="168"/>
                    <a:pt x="218" y="101"/>
                    <a:pt x="151" y="67"/>
                  </a:cubicBezTo>
                  <a:cubicBezTo>
                    <a:pt x="101" y="34"/>
                    <a:pt x="67" y="17"/>
                    <a:pt x="17"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46" name="Google Shape;3937;p60"/>
            <p:cNvSpPr/>
            <p:nvPr/>
          </p:nvSpPr>
          <p:spPr>
            <a:xfrm>
              <a:off x="1301099" y="2576818"/>
              <a:ext cx="109291" cy="2692"/>
            </a:xfrm>
            <a:custGeom>
              <a:avLst/>
              <a:gdLst/>
              <a:ahLst/>
              <a:cxnLst/>
              <a:rect l="l" t="t" r="r" b="b"/>
              <a:pathLst>
                <a:path w="3410" h="84" extrusionOk="0">
                  <a:moveTo>
                    <a:pt x="1705" y="0"/>
                  </a:moveTo>
                  <a:cubicBezTo>
                    <a:pt x="1221" y="0"/>
                    <a:pt x="803" y="17"/>
                    <a:pt x="502" y="34"/>
                  </a:cubicBezTo>
                  <a:cubicBezTo>
                    <a:pt x="335" y="34"/>
                    <a:pt x="218" y="50"/>
                    <a:pt x="135" y="50"/>
                  </a:cubicBezTo>
                  <a:cubicBezTo>
                    <a:pt x="84" y="50"/>
                    <a:pt x="34" y="50"/>
                    <a:pt x="1" y="67"/>
                  </a:cubicBezTo>
                  <a:cubicBezTo>
                    <a:pt x="34" y="84"/>
                    <a:pt x="84" y="84"/>
                    <a:pt x="135" y="84"/>
                  </a:cubicBezTo>
                  <a:lnTo>
                    <a:pt x="502" y="84"/>
                  </a:lnTo>
                  <a:lnTo>
                    <a:pt x="1705" y="67"/>
                  </a:lnTo>
                  <a:lnTo>
                    <a:pt x="2908" y="84"/>
                  </a:lnTo>
                  <a:lnTo>
                    <a:pt x="3276" y="84"/>
                  </a:lnTo>
                  <a:cubicBezTo>
                    <a:pt x="3309" y="84"/>
                    <a:pt x="3359" y="84"/>
                    <a:pt x="3409" y="67"/>
                  </a:cubicBezTo>
                  <a:cubicBezTo>
                    <a:pt x="3359" y="67"/>
                    <a:pt x="3309" y="50"/>
                    <a:pt x="3276" y="50"/>
                  </a:cubicBezTo>
                  <a:cubicBezTo>
                    <a:pt x="3175" y="50"/>
                    <a:pt x="3059" y="34"/>
                    <a:pt x="2908" y="34"/>
                  </a:cubicBezTo>
                  <a:cubicBezTo>
                    <a:pt x="2591" y="17"/>
                    <a:pt x="2173" y="0"/>
                    <a:pt x="1705"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47" name="Google Shape;3938;p60"/>
            <p:cNvSpPr/>
            <p:nvPr/>
          </p:nvSpPr>
          <p:spPr>
            <a:xfrm>
              <a:off x="1070852" y="1310202"/>
              <a:ext cx="187973" cy="168647"/>
            </a:xfrm>
            <a:custGeom>
              <a:avLst/>
              <a:gdLst/>
              <a:ahLst/>
              <a:cxnLst/>
              <a:rect l="l" t="t" r="r" b="b"/>
              <a:pathLst>
                <a:path w="5865" h="5262" extrusionOk="0">
                  <a:moveTo>
                    <a:pt x="4309" y="0"/>
                  </a:moveTo>
                  <a:cubicBezTo>
                    <a:pt x="3907" y="0"/>
                    <a:pt x="3509" y="113"/>
                    <a:pt x="3158" y="339"/>
                  </a:cubicBezTo>
                  <a:cubicBezTo>
                    <a:pt x="3024" y="439"/>
                    <a:pt x="2874" y="522"/>
                    <a:pt x="2724" y="606"/>
                  </a:cubicBezTo>
                  <a:cubicBezTo>
                    <a:pt x="2523" y="639"/>
                    <a:pt x="2306" y="673"/>
                    <a:pt x="2105" y="673"/>
                  </a:cubicBezTo>
                  <a:cubicBezTo>
                    <a:pt x="1738" y="740"/>
                    <a:pt x="1420" y="974"/>
                    <a:pt x="1270" y="1324"/>
                  </a:cubicBezTo>
                  <a:cubicBezTo>
                    <a:pt x="1170" y="1558"/>
                    <a:pt x="1136" y="1826"/>
                    <a:pt x="969" y="2026"/>
                  </a:cubicBezTo>
                  <a:cubicBezTo>
                    <a:pt x="802" y="2160"/>
                    <a:pt x="618" y="2277"/>
                    <a:pt x="435" y="2377"/>
                  </a:cubicBezTo>
                  <a:cubicBezTo>
                    <a:pt x="100" y="2644"/>
                    <a:pt x="0" y="3112"/>
                    <a:pt x="184" y="3497"/>
                  </a:cubicBezTo>
                  <a:cubicBezTo>
                    <a:pt x="284" y="3630"/>
                    <a:pt x="368" y="3781"/>
                    <a:pt x="418" y="3948"/>
                  </a:cubicBezTo>
                  <a:cubicBezTo>
                    <a:pt x="418" y="4115"/>
                    <a:pt x="401" y="4282"/>
                    <a:pt x="368" y="4432"/>
                  </a:cubicBezTo>
                  <a:cubicBezTo>
                    <a:pt x="368" y="4733"/>
                    <a:pt x="535" y="5000"/>
                    <a:pt x="802" y="5117"/>
                  </a:cubicBezTo>
                  <a:cubicBezTo>
                    <a:pt x="1002" y="5210"/>
                    <a:pt x="1233" y="5261"/>
                    <a:pt x="1462" y="5261"/>
                  </a:cubicBezTo>
                  <a:cubicBezTo>
                    <a:pt x="1521" y="5261"/>
                    <a:pt x="1580" y="5258"/>
                    <a:pt x="1638" y="5251"/>
                  </a:cubicBezTo>
                  <a:lnTo>
                    <a:pt x="5096" y="2594"/>
                  </a:lnTo>
                  <a:cubicBezTo>
                    <a:pt x="5414" y="2527"/>
                    <a:pt x="5664" y="2277"/>
                    <a:pt x="5731" y="1976"/>
                  </a:cubicBezTo>
                  <a:cubicBezTo>
                    <a:pt x="5831" y="1659"/>
                    <a:pt x="5865" y="1324"/>
                    <a:pt x="5831" y="990"/>
                  </a:cubicBezTo>
                  <a:cubicBezTo>
                    <a:pt x="5765" y="740"/>
                    <a:pt x="5514" y="539"/>
                    <a:pt x="5330" y="355"/>
                  </a:cubicBezTo>
                  <a:cubicBezTo>
                    <a:pt x="5146" y="188"/>
                    <a:pt x="4929" y="88"/>
                    <a:pt x="4712" y="38"/>
                  </a:cubicBezTo>
                  <a:cubicBezTo>
                    <a:pt x="4578" y="13"/>
                    <a:pt x="4444" y="0"/>
                    <a:pt x="4309"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48" name="Google Shape;3939;p60"/>
            <p:cNvSpPr/>
            <p:nvPr/>
          </p:nvSpPr>
          <p:spPr>
            <a:xfrm>
              <a:off x="1121170" y="1352701"/>
              <a:ext cx="124290" cy="201306"/>
            </a:xfrm>
            <a:custGeom>
              <a:avLst/>
              <a:gdLst/>
              <a:ahLst/>
              <a:cxnLst/>
              <a:rect l="l" t="t" r="r" b="b"/>
              <a:pathLst>
                <a:path w="3878" h="6281" extrusionOk="0">
                  <a:moveTo>
                    <a:pt x="2181" y="1"/>
                  </a:moveTo>
                  <a:cubicBezTo>
                    <a:pt x="1521" y="1"/>
                    <a:pt x="863" y="185"/>
                    <a:pt x="285" y="550"/>
                  </a:cubicBezTo>
                  <a:lnTo>
                    <a:pt x="118" y="650"/>
                  </a:lnTo>
                  <a:lnTo>
                    <a:pt x="1" y="6231"/>
                  </a:lnTo>
                  <a:lnTo>
                    <a:pt x="2457" y="6281"/>
                  </a:lnTo>
                  <a:cubicBezTo>
                    <a:pt x="2507" y="5997"/>
                    <a:pt x="2591" y="4877"/>
                    <a:pt x="2591" y="4877"/>
                  </a:cubicBezTo>
                  <a:cubicBezTo>
                    <a:pt x="2591" y="4877"/>
                    <a:pt x="3610" y="4827"/>
                    <a:pt x="3727" y="3808"/>
                  </a:cubicBezTo>
                  <a:cubicBezTo>
                    <a:pt x="3827" y="2789"/>
                    <a:pt x="3877" y="433"/>
                    <a:pt x="3877" y="433"/>
                  </a:cubicBezTo>
                  <a:cubicBezTo>
                    <a:pt x="3345" y="144"/>
                    <a:pt x="2763" y="1"/>
                    <a:pt x="2181" y="1"/>
                  </a:cubicBezTo>
                  <a:close/>
                </a:path>
              </a:pathLst>
            </a:custGeom>
            <a:solidFill>
              <a:srgbClr val="FFBE9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49" name="Google Shape;3940;p60"/>
            <p:cNvSpPr/>
            <p:nvPr/>
          </p:nvSpPr>
          <p:spPr>
            <a:xfrm>
              <a:off x="1206872" y="1414204"/>
              <a:ext cx="11794" cy="40223"/>
            </a:xfrm>
            <a:custGeom>
              <a:avLst/>
              <a:gdLst/>
              <a:ahLst/>
              <a:cxnLst/>
              <a:rect l="l" t="t" r="r" b="b"/>
              <a:pathLst>
                <a:path w="368" h="1255" extrusionOk="0">
                  <a:moveTo>
                    <a:pt x="17" y="1"/>
                  </a:moveTo>
                  <a:lnTo>
                    <a:pt x="17" y="1"/>
                  </a:lnTo>
                  <a:cubicBezTo>
                    <a:pt x="50" y="268"/>
                    <a:pt x="117" y="519"/>
                    <a:pt x="201" y="770"/>
                  </a:cubicBezTo>
                  <a:cubicBezTo>
                    <a:pt x="217" y="870"/>
                    <a:pt x="251" y="970"/>
                    <a:pt x="284" y="1070"/>
                  </a:cubicBezTo>
                  <a:cubicBezTo>
                    <a:pt x="301" y="1104"/>
                    <a:pt x="301" y="1137"/>
                    <a:pt x="301" y="1171"/>
                  </a:cubicBezTo>
                  <a:cubicBezTo>
                    <a:pt x="284" y="1187"/>
                    <a:pt x="267" y="1204"/>
                    <a:pt x="217" y="1204"/>
                  </a:cubicBezTo>
                  <a:cubicBezTo>
                    <a:pt x="198" y="1199"/>
                    <a:pt x="177" y="1197"/>
                    <a:pt x="155" y="1197"/>
                  </a:cubicBezTo>
                  <a:cubicBezTo>
                    <a:pt x="103" y="1197"/>
                    <a:pt x="47" y="1209"/>
                    <a:pt x="0" y="1221"/>
                  </a:cubicBezTo>
                  <a:cubicBezTo>
                    <a:pt x="67" y="1254"/>
                    <a:pt x="151" y="1254"/>
                    <a:pt x="217" y="1254"/>
                  </a:cubicBezTo>
                  <a:lnTo>
                    <a:pt x="284" y="1254"/>
                  </a:lnTo>
                  <a:cubicBezTo>
                    <a:pt x="318" y="1254"/>
                    <a:pt x="334" y="1221"/>
                    <a:pt x="351" y="1204"/>
                  </a:cubicBezTo>
                  <a:cubicBezTo>
                    <a:pt x="368" y="1154"/>
                    <a:pt x="368" y="1087"/>
                    <a:pt x="351" y="1037"/>
                  </a:cubicBezTo>
                  <a:cubicBezTo>
                    <a:pt x="318" y="953"/>
                    <a:pt x="301" y="853"/>
                    <a:pt x="267" y="753"/>
                  </a:cubicBezTo>
                  <a:cubicBezTo>
                    <a:pt x="217" y="485"/>
                    <a:pt x="134" y="235"/>
                    <a:pt x="17"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50" name="Google Shape;3941;p60"/>
            <p:cNvSpPr/>
            <p:nvPr/>
          </p:nvSpPr>
          <p:spPr>
            <a:xfrm>
              <a:off x="1162963" y="1492406"/>
              <a:ext cx="41248" cy="24646"/>
            </a:xfrm>
            <a:custGeom>
              <a:avLst/>
              <a:gdLst/>
              <a:ahLst/>
              <a:cxnLst/>
              <a:rect l="l" t="t" r="r" b="b"/>
              <a:pathLst>
                <a:path w="1287" h="769" extrusionOk="0">
                  <a:moveTo>
                    <a:pt x="0" y="0"/>
                  </a:moveTo>
                  <a:cubicBezTo>
                    <a:pt x="0" y="0"/>
                    <a:pt x="234" y="769"/>
                    <a:pt x="1253" y="769"/>
                  </a:cubicBezTo>
                  <a:lnTo>
                    <a:pt x="1287" y="502"/>
                  </a:lnTo>
                  <a:cubicBezTo>
                    <a:pt x="819" y="468"/>
                    <a:pt x="368" y="301"/>
                    <a:pt x="0" y="0"/>
                  </a:cubicBezTo>
                  <a:close/>
                </a:path>
              </a:pathLst>
            </a:custGeom>
            <a:solidFill>
              <a:srgbClr val="EB996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51" name="Google Shape;3942;p60"/>
            <p:cNvSpPr/>
            <p:nvPr/>
          </p:nvSpPr>
          <p:spPr>
            <a:xfrm>
              <a:off x="1103318" y="1407602"/>
              <a:ext cx="28076" cy="39902"/>
            </a:xfrm>
            <a:custGeom>
              <a:avLst/>
              <a:gdLst/>
              <a:ahLst/>
              <a:cxnLst/>
              <a:rect l="l" t="t" r="r" b="b"/>
              <a:pathLst>
                <a:path w="876" h="1245" extrusionOk="0">
                  <a:moveTo>
                    <a:pt x="594" y="0"/>
                  </a:moveTo>
                  <a:cubicBezTo>
                    <a:pt x="403" y="0"/>
                    <a:pt x="1" y="71"/>
                    <a:pt x="40" y="691"/>
                  </a:cubicBezTo>
                  <a:cubicBezTo>
                    <a:pt x="59" y="1143"/>
                    <a:pt x="321" y="1245"/>
                    <a:pt x="547" y="1245"/>
                  </a:cubicBezTo>
                  <a:cubicBezTo>
                    <a:pt x="722" y="1245"/>
                    <a:pt x="875" y="1183"/>
                    <a:pt x="875" y="1176"/>
                  </a:cubicBezTo>
                  <a:cubicBezTo>
                    <a:pt x="875" y="1143"/>
                    <a:pt x="691" y="6"/>
                    <a:pt x="691" y="6"/>
                  </a:cubicBezTo>
                  <a:cubicBezTo>
                    <a:pt x="688" y="6"/>
                    <a:pt x="650" y="0"/>
                    <a:pt x="594" y="0"/>
                  </a:cubicBezTo>
                  <a:close/>
                </a:path>
              </a:pathLst>
            </a:custGeom>
            <a:solidFill>
              <a:srgbClr val="FFBE9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52" name="Google Shape;3943;p60"/>
            <p:cNvSpPr/>
            <p:nvPr/>
          </p:nvSpPr>
          <p:spPr>
            <a:xfrm>
              <a:off x="1110466" y="1416352"/>
              <a:ext cx="12339" cy="22531"/>
            </a:xfrm>
            <a:custGeom>
              <a:avLst/>
              <a:gdLst/>
              <a:ahLst/>
              <a:cxnLst/>
              <a:rect l="l" t="t" r="r" b="b"/>
              <a:pathLst>
                <a:path w="385" h="703" extrusionOk="0">
                  <a:moveTo>
                    <a:pt x="201" y="1"/>
                  </a:moveTo>
                  <a:cubicBezTo>
                    <a:pt x="134" y="17"/>
                    <a:pt x="67" y="68"/>
                    <a:pt x="51" y="134"/>
                  </a:cubicBezTo>
                  <a:cubicBezTo>
                    <a:pt x="17" y="201"/>
                    <a:pt x="1" y="285"/>
                    <a:pt x="17" y="352"/>
                  </a:cubicBezTo>
                  <a:cubicBezTo>
                    <a:pt x="17" y="502"/>
                    <a:pt x="101" y="636"/>
                    <a:pt x="235" y="703"/>
                  </a:cubicBezTo>
                  <a:cubicBezTo>
                    <a:pt x="285" y="703"/>
                    <a:pt x="335" y="703"/>
                    <a:pt x="368" y="669"/>
                  </a:cubicBezTo>
                  <a:cubicBezTo>
                    <a:pt x="385" y="652"/>
                    <a:pt x="385" y="636"/>
                    <a:pt x="385" y="619"/>
                  </a:cubicBezTo>
                  <a:lnTo>
                    <a:pt x="385" y="619"/>
                  </a:lnTo>
                  <a:cubicBezTo>
                    <a:pt x="385" y="619"/>
                    <a:pt x="368" y="636"/>
                    <a:pt x="351" y="652"/>
                  </a:cubicBezTo>
                  <a:cubicBezTo>
                    <a:pt x="335" y="661"/>
                    <a:pt x="318" y="665"/>
                    <a:pt x="301" y="665"/>
                  </a:cubicBezTo>
                  <a:cubicBezTo>
                    <a:pt x="285" y="665"/>
                    <a:pt x="268" y="661"/>
                    <a:pt x="251" y="652"/>
                  </a:cubicBezTo>
                  <a:cubicBezTo>
                    <a:pt x="134" y="586"/>
                    <a:pt x="67" y="485"/>
                    <a:pt x="67" y="352"/>
                  </a:cubicBezTo>
                  <a:cubicBezTo>
                    <a:pt x="67" y="285"/>
                    <a:pt x="84" y="218"/>
                    <a:pt x="101" y="151"/>
                  </a:cubicBezTo>
                  <a:cubicBezTo>
                    <a:pt x="118" y="101"/>
                    <a:pt x="151" y="51"/>
                    <a:pt x="201" y="34"/>
                  </a:cubicBezTo>
                  <a:cubicBezTo>
                    <a:pt x="235" y="34"/>
                    <a:pt x="268" y="34"/>
                    <a:pt x="285" y="68"/>
                  </a:cubicBezTo>
                  <a:cubicBezTo>
                    <a:pt x="301" y="84"/>
                    <a:pt x="285" y="118"/>
                    <a:pt x="301" y="118"/>
                  </a:cubicBezTo>
                  <a:cubicBezTo>
                    <a:pt x="301" y="118"/>
                    <a:pt x="318" y="101"/>
                    <a:pt x="301" y="68"/>
                  </a:cubicBezTo>
                  <a:cubicBezTo>
                    <a:pt x="301" y="51"/>
                    <a:pt x="285" y="34"/>
                    <a:pt x="268" y="17"/>
                  </a:cubicBezTo>
                  <a:cubicBezTo>
                    <a:pt x="251" y="1"/>
                    <a:pt x="218" y="1"/>
                    <a:pt x="201" y="1"/>
                  </a:cubicBezTo>
                  <a:close/>
                </a:path>
              </a:pathLst>
            </a:custGeom>
            <a:solidFill>
              <a:srgbClr val="EB996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53" name="Google Shape;3944;p60"/>
            <p:cNvSpPr/>
            <p:nvPr/>
          </p:nvSpPr>
          <p:spPr>
            <a:xfrm>
              <a:off x="1176873" y="1401481"/>
              <a:ext cx="20384" cy="6090"/>
            </a:xfrm>
            <a:custGeom>
              <a:avLst/>
              <a:gdLst/>
              <a:ahLst/>
              <a:cxnLst/>
              <a:rect l="l" t="t" r="r" b="b"/>
              <a:pathLst>
                <a:path w="636" h="190" extrusionOk="0">
                  <a:moveTo>
                    <a:pt x="335" y="0"/>
                  </a:moveTo>
                  <a:cubicBezTo>
                    <a:pt x="243" y="0"/>
                    <a:pt x="150" y="25"/>
                    <a:pt x="67" y="80"/>
                  </a:cubicBezTo>
                  <a:cubicBezTo>
                    <a:pt x="17" y="131"/>
                    <a:pt x="0" y="164"/>
                    <a:pt x="17" y="181"/>
                  </a:cubicBezTo>
                  <a:cubicBezTo>
                    <a:pt x="20" y="187"/>
                    <a:pt x="28" y="190"/>
                    <a:pt x="40" y="190"/>
                  </a:cubicBezTo>
                  <a:cubicBezTo>
                    <a:pt x="87" y="190"/>
                    <a:pt x="197" y="144"/>
                    <a:pt x="318" y="131"/>
                  </a:cubicBezTo>
                  <a:cubicBezTo>
                    <a:pt x="429" y="131"/>
                    <a:pt x="526" y="145"/>
                    <a:pt x="583" y="145"/>
                  </a:cubicBezTo>
                  <a:cubicBezTo>
                    <a:pt x="611" y="145"/>
                    <a:pt x="630" y="142"/>
                    <a:pt x="635" y="131"/>
                  </a:cubicBezTo>
                  <a:cubicBezTo>
                    <a:pt x="635" y="114"/>
                    <a:pt x="619" y="80"/>
                    <a:pt x="552" y="47"/>
                  </a:cubicBezTo>
                  <a:cubicBezTo>
                    <a:pt x="484" y="17"/>
                    <a:pt x="410" y="0"/>
                    <a:pt x="335"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54" name="Google Shape;3945;p60"/>
            <p:cNvSpPr/>
            <p:nvPr/>
          </p:nvSpPr>
          <p:spPr>
            <a:xfrm>
              <a:off x="1222929" y="1404589"/>
              <a:ext cx="16089" cy="4295"/>
            </a:xfrm>
            <a:custGeom>
              <a:avLst/>
              <a:gdLst/>
              <a:ahLst/>
              <a:cxnLst/>
              <a:rect l="l" t="t" r="r" b="b"/>
              <a:pathLst>
                <a:path w="502" h="134" extrusionOk="0">
                  <a:moveTo>
                    <a:pt x="251" y="0"/>
                  </a:moveTo>
                  <a:cubicBezTo>
                    <a:pt x="101" y="0"/>
                    <a:pt x="0" y="50"/>
                    <a:pt x="0" y="84"/>
                  </a:cubicBezTo>
                  <a:cubicBezTo>
                    <a:pt x="17" y="134"/>
                    <a:pt x="117" y="134"/>
                    <a:pt x="251" y="134"/>
                  </a:cubicBezTo>
                  <a:cubicBezTo>
                    <a:pt x="385" y="134"/>
                    <a:pt x="485" y="134"/>
                    <a:pt x="502" y="100"/>
                  </a:cubicBezTo>
                  <a:cubicBezTo>
                    <a:pt x="502" y="50"/>
                    <a:pt x="401" y="0"/>
                    <a:pt x="251"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55" name="Google Shape;3946;p60"/>
            <p:cNvSpPr/>
            <p:nvPr/>
          </p:nvSpPr>
          <p:spPr>
            <a:xfrm>
              <a:off x="1116908" y="1330586"/>
              <a:ext cx="137110" cy="88843"/>
            </a:xfrm>
            <a:custGeom>
              <a:avLst/>
              <a:gdLst/>
              <a:ahLst/>
              <a:cxnLst/>
              <a:rect l="l" t="t" r="r" b="b"/>
              <a:pathLst>
                <a:path w="4278" h="2772" extrusionOk="0">
                  <a:moveTo>
                    <a:pt x="2391" y="0"/>
                  </a:moveTo>
                  <a:cubicBezTo>
                    <a:pt x="2056" y="0"/>
                    <a:pt x="1722" y="48"/>
                    <a:pt x="1387" y="120"/>
                  </a:cubicBezTo>
                  <a:cubicBezTo>
                    <a:pt x="1003" y="204"/>
                    <a:pt x="668" y="404"/>
                    <a:pt x="401" y="688"/>
                  </a:cubicBezTo>
                  <a:cubicBezTo>
                    <a:pt x="134" y="972"/>
                    <a:pt x="0" y="1373"/>
                    <a:pt x="67" y="1758"/>
                  </a:cubicBezTo>
                  <a:lnTo>
                    <a:pt x="17" y="1591"/>
                  </a:lnTo>
                  <a:lnTo>
                    <a:pt x="134" y="2326"/>
                  </a:lnTo>
                  <a:cubicBezTo>
                    <a:pt x="134" y="2443"/>
                    <a:pt x="167" y="2560"/>
                    <a:pt x="251" y="2660"/>
                  </a:cubicBezTo>
                  <a:cubicBezTo>
                    <a:pt x="333" y="2734"/>
                    <a:pt x="436" y="2772"/>
                    <a:pt x="540" y="2772"/>
                  </a:cubicBezTo>
                  <a:cubicBezTo>
                    <a:pt x="625" y="2772"/>
                    <a:pt x="710" y="2746"/>
                    <a:pt x="785" y="2693"/>
                  </a:cubicBezTo>
                  <a:cubicBezTo>
                    <a:pt x="1019" y="2526"/>
                    <a:pt x="1186" y="2292"/>
                    <a:pt x="1270" y="2008"/>
                  </a:cubicBezTo>
                  <a:cubicBezTo>
                    <a:pt x="1337" y="1741"/>
                    <a:pt x="1487" y="1490"/>
                    <a:pt x="1654" y="1257"/>
                  </a:cubicBezTo>
                  <a:cubicBezTo>
                    <a:pt x="1849" y="1462"/>
                    <a:pt x="2108" y="1570"/>
                    <a:pt x="2370" y="1570"/>
                  </a:cubicBezTo>
                  <a:cubicBezTo>
                    <a:pt x="2512" y="1570"/>
                    <a:pt x="2655" y="1538"/>
                    <a:pt x="2790" y="1474"/>
                  </a:cubicBezTo>
                  <a:cubicBezTo>
                    <a:pt x="2958" y="1390"/>
                    <a:pt x="3091" y="1257"/>
                    <a:pt x="3242" y="1173"/>
                  </a:cubicBezTo>
                  <a:cubicBezTo>
                    <a:pt x="3340" y="1096"/>
                    <a:pt x="3461" y="1055"/>
                    <a:pt x="3584" y="1055"/>
                  </a:cubicBezTo>
                  <a:cubicBezTo>
                    <a:pt x="3648" y="1055"/>
                    <a:pt x="3713" y="1067"/>
                    <a:pt x="3776" y="1089"/>
                  </a:cubicBezTo>
                  <a:cubicBezTo>
                    <a:pt x="3852" y="1120"/>
                    <a:pt x="3928" y="1192"/>
                    <a:pt x="4017" y="1192"/>
                  </a:cubicBezTo>
                  <a:cubicBezTo>
                    <a:pt x="4026" y="1192"/>
                    <a:pt x="4035" y="1191"/>
                    <a:pt x="4044" y="1190"/>
                  </a:cubicBezTo>
                  <a:cubicBezTo>
                    <a:pt x="4127" y="1190"/>
                    <a:pt x="4194" y="1140"/>
                    <a:pt x="4227" y="1073"/>
                  </a:cubicBezTo>
                  <a:cubicBezTo>
                    <a:pt x="4261" y="1006"/>
                    <a:pt x="4277" y="922"/>
                    <a:pt x="4261" y="856"/>
                  </a:cubicBezTo>
                  <a:cubicBezTo>
                    <a:pt x="4211" y="555"/>
                    <a:pt x="4010" y="321"/>
                    <a:pt x="3743" y="204"/>
                  </a:cubicBezTo>
                  <a:cubicBezTo>
                    <a:pt x="3397" y="69"/>
                    <a:pt x="3038" y="1"/>
                    <a:pt x="2665" y="1"/>
                  </a:cubicBezTo>
                  <a:cubicBezTo>
                    <a:pt x="2623" y="1"/>
                    <a:pt x="2582" y="2"/>
                    <a:pt x="2540" y="3"/>
                  </a:cubicBezTo>
                  <a:cubicBezTo>
                    <a:pt x="2490" y="1"/>
                    <a:pt x="2441" y="0"/>
                    <a:pt x="2391"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56" name="Google Shape;3947;p60"/>
            <p:cNvSpPr/>
            <p:nvPr/>
          </p:nvSpPr>
          <p:spPr>
            <a:xfrm>
              <a:off x="1217577" y="1341932"/>
              <a:ext cx="37499" cy="40191"/>
            </a:xfrm>
            <a:custGeom>
              <a:avLst/>
              <a:gdLst/>
              <a:ahLst/>
              <a:cxnLst/>
              <a:rect l="l" t="t" r="r" b="b"/>
              <a:pathLst>
                <a:path w="1170" h="1254" extrusionOk="0">
                  <a:moveTo>
                    <a:pt x="418" y="0"/>
                  </a:moveTo>
                  <a:cubicBezTo>
                    <a:pt x="201" y="0"/>
                    <a:pt x="34" y="151"/>
                    <a:pt x="0" y="351"/>
                  </a:cubicBezTo>
                  <a:lnTo>
                    <a:pt x="84" y="418"/>
                  </a:lnTo>
                  <a:cubicBezTo>
                    <a:pt x="134" y="685"/>
                    <a:pt x="268" y="919"/>
                    <a:pt x="468" y="1086"/>
                  </a:cubicBezTo>
                  <a:cubicBezTo>
                    <a:pt x="552" y="1187"/>
                    <a:pt x="669" y="1237"/>
                    <a:pt x="802" y="1253"/>
                  </a:cubicBezTo>
                  <a:cubicBezTo>
                    <a:pt x="1020" y="1220"/>
                    <a:pt x="1170" y="1036"/>
                    <a:pt x="1170" y="819"/>
                  </a:cubicBezTo>
                  <a:cubicBezTo>
                    <a:pt x="1170" y="618"/>
                    <a:pt x="1070" y="418"/>
                    <a:pt x="919" y="268"/>
                  </a:cubicBezTo>
                  <a:cubicBezTo>
                    <a:pt x="802" y="117"/>
                    <a:pt x="619" y="17"/>
                    <a:pt x="418"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57" name="Google Shape;3948;p60"/>
            <p:cNvSpPr/>
            <p:nvPr/>
          </p:nvSpPr>
          <p:spPr>
            <a:xfrm>
              <a:off x="1182225" y="1415711"/>
              <a:ext cx="8077" cy="7724"/>
            </a:xfrm>
            <a:custGeom>
              <a:avLst/>
              <a:gdLst/>
              <a:ahLst/>
              <a:cxnLst/>
              <a:rect l="l" t="t" r="r" b="b"/>
              <a:pathLst>
                <a:path w="252" h="241" extrusionOk="0">
                  <a:moveTo>
                    <a:pt x="104" y="1"/>
                  </a:moveTo>
                  <a:cubicBezTo>
                    <a:pt x="39" y="1"/>
                    <a:pt x="1" y="48"/>
                    <a:pt x="1" y="121"/>
                  </a:cubicBezTo>
                  <a:cubicBezTo>
                    <a:pt x="1" y="188"/>
                    <a:pt x="51" y="238"/>
                    <a:pt x="117" y="238"/>
                  </a:cubicBezTo>
                  <a:cubicBezTo>
                    <a:pt x="125" y="240"/>
                    <a:pt x="132" y="241"/>
                    <a:pt x="139" y="241"/>
                  </a:cubicBezTo>
                  <a:cubicBezTo>
                    <a:pt x="198" y="241"/>
                    <a:pt x="251" y="181"/>
                    <a:pt x="251" y="121"/>
                  </a:cubicBezTo>
                  <a:cubicBezTo>
                    <a:pt x="251" y="54"/>
                    <a:pt x="201" y="4"/>
                    <a:pt x="134" y="4"/>
                  </a:cubicBezTo>
                  <a:cubicBezTo>
                    <a:pt x="123" y="2"/>
                    <a:pt x="113" y="1"/>
                    <a:pt x="104"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58" name="Google Shape;3949;p60"/>
            <p:cNvSpPr/>
            <p:nvPr/>
          </p:nvSpPr>
          <p:spPr>
            <a:xfrm>
              <a:off x="1174726" y="1410455"/>
              <a:ext cx="17179" cy="4423"/>
            </a:xfrm>
            <a:custGeom>
              <a:avLst/>
              <a:gdLst/>
              <a:ahLst/>
              <a:cxnLst/>
              <a:rect l="l" t="t" r="r" b="b"/>
              <a:pathLst>
                <a:path w="536" h="138" extrusionOk="0">
                  <a:moveTo>
                    <a:pt x="268" y="1"/>
                  </a:moveTo>
                  <a:cubicBezTo>
                    <a:pt x="184" y="1"/>
                    <a:pt x="118" y="18"/>
                    <a:pt x="67" y="68"/>
                  </a:cubicBezTo>
                  <a:cubicBezTo>
                    <a:pt x="17" y="101"/>
                    <a:pt x="1" y="135"/>
                    <a:pt x="17" y="135"/>
                  </a:cubicBezTo>
                  <a:cubicBezTo>
                    <a:pt x="19" y="136"/>
                    <a:pt x="22" y="137"/>
                    <a:pt x="26" y="137"/>
                  </a:cubicBezTo>
                  <a:cubicBezTo>
                    <a:pt x="57" y="137"/>
                    <a:pt x="149" y="84"/>
                    <a:pt x="268" y="84"/>
                  </a:cubicBezTo>
                  <a:cubicBezTo>
                    <a:pt x="387" y="84"/>
                    <a:pt x="479" y="137"/>
                    <a:pt x="510" y="137"/>
                  </a:cubicBezTo>
                  <a:cubicBezTo>
                    <a:pt x="514" y="137"/>
                    <a:pt x="517" y="136"/>
                    <a:pt x="519" y="135"/>
                  </a:cubicBezTo>
                  <a:cubicBezTo>
                    <a:pt x="535" y="118"/>
                    <a:pt x="519" y="84"/>
                    <a:pt x="468" y="51"/>
                  </a:cubicBezTo>
                  <a:cubicBezTo>
                    <a:pt x="402" y="18"/>
                    <a:pt x="335" y="1"/>
                    <a:pt x="268"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59" name="Google Shape;3950;p60"/>
            <p:cNvSpPr/>
            <p:nvPr/>
          </p:nvSpPr>
          <p:spPr>
            <a:xfrm>
              <a:off x="1227736" y="1415294"/>
              <a:ext cx="8077" cy="8045"/>
            </a:xfrm>
            <a:custGeom>
              <a:avLst/>
              <a:gdLst/>
              <a:ahLst/>
              <a:cxnLst/>
              <a:rect l="l" t="t" r="r" b="b"/>
              <a:pathLst>
                <a:path w="252" h="251" extrusionOk="0">
                  <a:moveTo>
                    <a:pt x="118" y="0"/>
                  </a:moveTo>
                  <a:cubicBezTo>
                    <a:pt x="51" y="0"/>
                    <a:pt x="1" y="50"/>
                    <a:pt x="1" y="117"/>
                  </a:cubicBezTo>
                  <a:cubicBezTo>
                    <a:pt x="1" y="201"/>
                    <a:pt x="51" y="251"/>
                    <a:pt x="118" y="251"/>
                  </a:cubicBezTo>
                  <a:cubicBezTo>
                    <a:pt x="185" y="251"/>
                    <a:pt x="251" y="201"/>
                    <a:pt x="251" y="134"/>
                  </a:cubicBezTo>
                  <a:cubicBezTo>
                    <a:pt x="251" y="67"/>
                    <a:pt x="201" y="0"/>
                    <a:pt x="118"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60" name="Google Shape;3951;p60"/>
            <p:cNvSpPr/>
            <p:nvPr/>
          </p:nvSpPr>
          <p:spPr>
            <a:xfrm>
              <a:off x="1221326" y="1410999"/>
              <a:ext cx="16634" cy="4936"/>
            </a:xfrm>
            <a:custGeom>
              <a:avLst/>
              <a:gdLst/>
              <a:ahLst/>
              <a:cxnLst/>
              <a:rect l="l" t="t" r="r" b="b"/>
              <a:pathLst>
                <a:path w="519" h="154" extrusionOk="0">
                  <a:moveTo>
                    <a:pt x="251" y="1"/>
                  </a:moveTo>
                  <a:cubicBezTo>
                    <a:pt x="184" y="1"/>
                    <a:pt x="117" y="34"/>
                    <a:pt x="50" y="67"/>
                  </a:cubicBezTo>
                  <a:cubicBezTo>
                    <a:pt x="17" y="101"/>
                    <a:pt x="0" y="134"/>
                    <a:pt x="17" y="151"/>
                  </a:cubicBezTo>
                  <a:cubicBezTo>
                    <a:pt x="18" y="153"/>
                    <a:pt x="21" y="153"/>
                    <a:pt x="23" y="153"/>
                  </a:cubicBezTo>
                  <a:cubicBezTo>
                    <a:pt x="49" y="153"/>
                    <a:pt x="131" y="84"/>
                    <a:pt x="268" y="84"/>
                  </a:cubicBezTo>
                  <a:cubicBezTo>
                    <a:pt x="386" y="84"/>
                    <a:pt x="479" y="137"/>
                    <a:pt x="510" y="137"/>
                  </a:cubicBezTo>
                  <a:cubicBezTo>
                    <a:pt x="513" y="137"/>
                    <a:pt x="516" y="136"/>
                    <a:pt x="518" y="134"/>
                  </a:cubicBezTo>
                  <a:cubicBezTo>
                    <a:pt x="518" y="118"/>
                    <a:pt x="502" y="101"/>
                    <a:pt x="468" y="67"/>
                  </a:cubicBezTo>
                  <a:cubicBezTo>
                    <a:pt x="401" y="17"/>
                    <a:pt x="334" y="1"/>
                    <a:pt x="251"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61" name="Google Shape;3952;p60"/>
            <p:cNvSpPr/>
            <p:nvPr/>
          </p:nvSpPr>
          <p:spPr>
            <a:xfrm>
              <a:off x="1192385" y="1453850"/>
              <a:ext cx="13429" cy="13429"/>
            </a:xfrm>
            <a:custGeom>
              <a:avLst/>
              <a:gdLst/>
              <a:ahLst/>
              <a:cxnLst/>
              <a:rect l="l" t="t" r="r" b="b"/>
              <a:pathLst>
                <a:path w="419" h="419" extrusionOk="0">
                  <a:moveTo>
                    <a:pt x="34" y="0"/>
                  </a:moveTo>
                  <a:cubicBezTo>
                    <a:pt x="18" y="0"/>
                    <a:pt x="1" y="34"/>
                    <a:pt x="1" y="101"/>
                  </a:cubicBezTo>
                  <a:cubicBezTo>
                    <a:pt x="18" y="268"/>
                    <a:pt x="151" y="401"/>
                    <a:pt x="318" y="418"/>
                  </a:cubicBezTo>
                  <a:cubicBezTo>
                    <a:pt x="369" y="418"/>
                    <a:pt x="419" y="401"/>
                    <a:pt x="419" y="401"/>
                  </a:cubicBezTo>
                  <a:cubicBezTo>
                    <a:pt x="419" y="385"/>
                    <a:pt x="268" y="385"/>
                    <a:pt x="151" y="268"/>
                  </a:cubicBezTo>
                  <a:cubicBezTo>
                    <a:pt x="34" y="151"/>
                    <a:pt x="51" y="0"/>
                    <a:pt x="34"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62" name="Google Shape;3953;p60"/>
            <p:cNvSpPr/>
            <p:nvPr/>
          </p:nvSpPr>
          <p:spPr>
            <a:xfrm>
              <a:off x="1213282" y="1612882"/>
              <a:ext cx="404888" cy="191883"/>
            </a:xfrm>
            <a:custGeom>
              <a:avLst/>
              <a:gdLst/>
              <a:ahLst/>
              <a:cxnLst/>
              <a:rect l="l" t="t" r="r" b="b"/>
              <a:pathLst>
                <a:path w="12633" h="5987" extrusionOk="0">
                  <a:moveTo>
                    <a:pt x="2273" y="1"/>
                  </a:moveTo>
                  <a:lnTo>
                    <a:pt x="218" y="686"/>
                  </a:lnTo>
                  <a:cubicBezTo>
                    <a:pt x="218" y="686"/>
                    <a:pt x="1" y="1371"/>
                    <a:pt x="1337" y="4612"/>
                  </a:cubicBezTo>
                  <a:cubicBezTo>
                    <a:pt x="1767" y="5640"/>
                    <a:pt x="2833" y="5986"/>
                    <a:pt x="4075" y="5986"/>
                  </a:cubicBezTo>
                  <a:cubicBezTo>
                    <a:pt x="6653" y="5986"/>
                    <a:pt x="9992" y="4495"/>
                    <a:pt x="9992" y="4495"/>
                  </a:cubicBezTo>
                  <a:lnTo>
                    <a:pt x="9992" y="4479"/>
                  </a:lnTo>
                  <a:cubicBezTo>
                    <a:pt x="10527" y="4378"/>
                    <a:pt x="11062" y="4245"/>
                    <a:pt x="11580" y="4078"/>
                  </a:cubicBezTo>
                  <a:cubicBezTo>
                    <a:pt x="12298" y="3827"/>
                    <a:pt x="12281" y="3760"/>
                    <a:pt x="12231" y="3677"/>
                  </a:cubicBezTo>
                  <a:cubicBezTo>
                    <a:pt x="12214" y="3647"/>
                    <a:pt x="12174" y="3635"/>
                    <a:pt x="12119" y="3635"/>
                  </a:cubicBezTo>
                  <a:cubicBezTo>
                    <a:pt x="11872" y="3635"/>
                    <a:pt x="11322" y="3880"/>
                    <a:pt x="11158" y="3880"/>
                  </a:cubicBezTo>
                  <a:cubicBezTo>
                    <a:pt x="11112" y="3880"/>
                    <a:pt x="11097" y="3861"/>
                    <a:pt x="11129" y="3810"/>
                  </a:cubicBezTo>
                  <a:cubicBezTo>
                    <a:pt x="11312" y="3526"/>
                    <a:pt x="12632" y="3226"/>
                    <a:pt x="12499" y="3008"/>
                  </a:cubicBezTo>
                  <a:cubicBezTo>
                    <a:pt x="12470" y="2959"/>
                    <a:pt x="12409" y="2938"/>
                    <a:pt x="12328" y="2938"/>
                  </a:cubicBezTo>
                  <a:cubicBezTo>
                    <a:pt x="11946" y="2938"/>
                    <a:pt x="11111" y="3401"/>
                    <a:pt x="11028" y="3443"/>
                  </a:cubicBezTo>
                  <a:cubicBezTo>
                    <a:pt x="11014" y="3450"/>
                    <a:pt x="11000" y="3453"/>
                    <a:pt x="10987" y="3453"/>
                  </a:cubicBezTo>
                  <a:cubicBezTo>
                    <a:pt x="10908" y="3453"/>
                    <a:pt x="10859" y="3338"/>
                    <a:pt x="10945" y="3309"/>
                  </a:cubicBezTo>
                  <a:cubicBezTo>
                    <a:pt x="11078" y="3242"/>
                    <a:pt x="12532" y="2624"/>
                    <a:pt x="12365" y="2340"/>
                  </a:cubicBezTo>
                  <a:cubicBezTo>
                    <a:pt x="12342" y="2299"/>
                    <a:pt x="12306" y="2284"/>
                    <a:pt x="12265" y="2284"/>
                  </a:cubicBezTo>
                  <a:cubicBezTo>
                    <a:pt x="12155" y="2284"/>
                    <a:pt x="12014" y="2390"/>
                    <a:pt x="12014" y="2390"/>
                  </a:cubicBezTo>
                  <a:cubicBezTo>
                    <a:pt x="12014" y="2390"/>
                    <a:pt x="10932" y="2959"/>
                    <a:pt x="10677" y="2959"/>
                  </a:cubicBezTo>
                  <a:cubicBezTo>
                    <a:pt x="10652" y="2959"/>
                    <a:pt x="10635" y="2953"/>
                    <a:pt x="10627" y="2941"/>
                  </a:cubicBezTo>
                  <a:cubicBezTo>
                    <a:pt x="10544" y="2808"/>
                    <a:pt x="11312" y="2373"/>
                    <a:pt x="11580" y="2240"/>
                  </a:cubicBezTo>
                  <a:cubicBezTo>
                    <a:pt x="11847" y="2123"/>
                    <a:pt x="11897" y="1939"/>
                    <a:pt x="11747" y="1872"/>
                  </a:cubicBezTo>
                  <a:cubicBezTo>
                    <a:pt x="11739" y="1869"/>
                    <a:pt x="11729" y="1867"/>
                    <a:pt x="11717" y="1867"/>
                  </a:cubicBezTo>
                  <a:cubicBezTo>
                    <a:pt x="11529" y="1867"/>
                    <a:pt x="10794" y="2198"/>
                    <a:pt x="10544" y="2323"/>
                  </a:cubicBezTo>
                  <a:cubicBezTo>
                    <a:pt x="10385" y="2408"/>
                    <a:pt x="10037" y="2587"/>
                    <a:pt x="9856" y="2587"/>
                  </a:cubicBezTo>
                  <a:cubicBezTo>
                    <a:pt x="9751" y="2587"/>
                    <a:pt x="9702" y="2528"/>
                    <a:pt x="9775" y="2357"/>
                  </a:cubicBezTo>
                  <a:cubicBezTo>
                    <a:pt x="9976" y="1889"/>
                    <a:pt x="9959" y="1454"/>
                    <a:pt x="9859" y="1337"/>
                  </a:cubicBezTo>
                  <a:cubicBezTo>
                    <a:pt x="9828" y="1307"/>
                    <a:pt x="9791" y="1294"/>
                    <a:pt x="9753" y="1294"/>
                  </a:cubicBezTo>
                  <a:cubicBezTo>
                    <a:pt x="9666" y="1294"/>
                    <a:pt x="9580" y="1366"/>
                    <a:pt x="9591" y="1471"/>
                  </a:cubicBezTo>
                  <a:cubicBezTo>
                    <a:pt x="9575" y="1638"/>
                    <a:pt x="9541" y="1805"/>
                    <a:pt x="9491" y="1972"/>
                  </a:cubicBezTo>
                  <a:cubicBezTo>
                    <a:pt x="9441" y="2106"/>
                    <a:pt x="9374" y="2223"/>
                    <a:pt x="9291" y="2340"/>
                  </a:cubicBezTo>
                  <a:cubicBezTo>
                    <a:pt x="9190" y="2457"/>
                    <a:pt x="9107" y="2574"/>
                    <a:pt x="9023" y="2657"/>
                  </a:cubicBezTo>
                  <a:cubicBezTo>
                    <a:pt x="8360" y="2893"/>
                    <a:pt x="6592" y="3441"/>
                    <a:pt x="4786" y="3441"/>
                  </a:cubicBezTo>
                  <a:cubicBezTo>
                    <a:pt x="4544" y="3441"/>
                    <a:pt x="4302" y="3431"/>
                    <a:pt x="4061" y="3409"/>
                  </a:cubicBezTo>
                  <a:cubicBezTo>
                    <a:pt x="3693" y="3376"/>
                    <a:pt x="2273" y="1"/>
                    <a:pt x="2273" y="1"/>
                  </a:cubicBezTo>
                  <a:close/>
                </a:path>
              </a:pathLst>
            </a:custGeom>
            <a:solidFill>
              <a:srgbClr val="EB996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63" name="Google Shape;3954;p60"/>
            <p:cNvSpPr/>
            <p:nvPr/>
          </p:nvSpPr>
          <p:spPr>
            <a:xfrm>
              <a:off x="1029603" y="1530418"/>
              <a:ext cx="307968" cy="353992"/>
            </a:xfrm>
            <a:custGeom>
              <a:avLst/>
              <a:gdLst/>
              <a:ahLst/>
              <a:cxnLst/>
              <a:rect l="l" t="t" r="r" b="b"/>
              <a:pathLst>
                <a:path w="9609" h="11045" extrusionOk="0">
                  <a:moveTo>
                    <a:pt x="2808" y="1"/>
                  </a:moveTo>
                  <a:lnTo>
                    <a:pt x="2741" y="418"/>
                  </a:lnTo>
                  <a:lnTo>
                    <a:pt x="2340" y="402"/>
                  </a:lnTo>
                  <a:cubicBezTo>
                    <a:pt x="2340" y="402"/>
                    <a:pt x="1" y="636"/>
                    <a:pt x="1" y="3342"/>
                  </a:cubicBezTo>
                  <a:cubicBezTo>
                    <a:pt x="1" y="4612"/>
                    <a:pt x="686" y="5849"/>
                    <a:pt x="920" y="6450"/>
                  </a:cubicBezTo>
                  <a:cubicBezTo>
                    <a:pt x="1070" y="7720"/>
                    <a:pt x="535" y="10009"/>
                    <a:pt x="552" y="10577"/>
                  </a:cubicBezTo>
                  <a:lnTo>
                    <a:pt x="7202" y="11045"/>
                  </a:lnTo>
                  <a:lnTo>
                    <a:pt x="7486" y="6885"/>
                  </a:lnTo>
                  <a:lnTo>
                    <a:pt x="7419" y="6500"/>
                  </a:lnTo>
                  <a:lnTo>
                    <a:pt x="9608" y="5815"/>
                  </a:lnTo>
                  <a:lnTo>
                    <a:pt x="8689" y="3693"/>
                  </a:lnTo>
                  <a:cubicBezTo>
                    <a:pt x="7870" y="1772"/>
                    <a:pt x="6784" y="1020"/>
                    <a:pt x="6233" y="736"/>
                  </a:cubicBezTo>
                  <a:cubicBezTo>
                    <a:pt x="6032" y="652"/>
                    <a:pt x="5815" y="585"/>
                    <a:pt x="5598" y="585"/>
                  </a:cubicBezTo>
                  <a:lnTo>
                    <a:pt x="5514" y="251"/>
                  </a:lnTo>
                  <a:lnTo>
                    <a:pt x="2808" y="1"/>
                  </a:lnTo>
                  <a:close/>
                </a:path>
              </a:pathLst>
            </a:custGeom>
            <a:solidFill>
              <a:srgbClr val="EBEBE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64" name="Google Shape;3955;p60"/>
            <p:cNvSpPr/>
            <p:nvPr/>
          </p:nvSpPr>
          <p:spPr>
            <a:xfrm>
              <a:off x="1207930" y="1262223"/>
              <a:ext cx="643724" cy="715388"/>
            </a:xfrm>
            <a:custGeom>
              <a:avLst/>
              <a:gdLst/>
              <a:ahLst/>
              <a:cxnLst/>
              <a:rect l="l" t="t" r="r" b="b"/>
              <a:pathLst>
                <a:path w="20085" h="22321" extrusionOk="0">
                  <a:moveTo>
                    <a:pt x="11829" y="1278"/>
                  </a:moveTo>
                  <a:cubicBezTo>
                    <a:pt x="13730" y="1278"/>
                    <a:pt x="15596" y="2122"/>
                    <a:pt x="16859" y="3690"/>
                  </a:cubicBezTo>
                  <a:cubicBezTo>
                    <a:pt x="17929" y="5010"/>
                    <a:pt x="18430" y="6715"/>
                    <a:pt x="18246" y="8419"/>
                  </a:cubicBezTo>
                  <a:cubicBezTo>
                    <a:pt x="17929" y="11476"/>
                    <a:pt x="15473" y="13882"/>
                    <a:pt x="12415" y="14167"/>
                  </a:cubicBezTo>
                  <a:cubicBezTo>
                    <a:pt x="12224" y="14183"/>
                    <a:pt x="12034" y="14191"/>
                    <a:pt x="11846" y="14191"/>
                  </a:cubicBezTo>
                  <a:cubicBezTo>
                    <a:pt x="8998" y="14191"/>
                    <a:pt x="6463" y="12329"/>
                    <a:pt x="5648" y="9555"/>
                  </a:cubicBezTo>
                  <a:cubicBezTo>
                    <a:pt x="4779" y="6598"/>
                    <a:pt x="6116" y="3440"/>
                    <a:pt x="8839" y="2019"/>
                  </a:cubicBezTo>
                  <a:cubicBezTo>
                    <a:pt x="9788" y="1519"/>
                    <a:pt x="10813" y="1278"/>
                    <a:pt x="11829" y="1278"/>
                  </a:cubicBezTo>
                  <a:close/>
                  <a:moveTo>
                    <a:pt x="11831" y="0"/>
                  </a:moveTo>
                  <a:cubicBezTo>
                    <a:pt x="11107" y="0"/>
                    <a:pt x="10375" y="103"/>
                    <a:pt x="9658" y="315"/>
                  </a:cubicBezTo>
                  <a:cubicBezTo>
                    <a:pt x="6651" y="1201"/>
                    <a:pt x="4478" y="3807"/>
                    <a:pt x="4144" y="6915"/>
                  </a:cubicBezTo>
                  <a:cubicBezTo>
                    <a:pt x="3877" y="9421"/>
                    <a:pt x="4863" y="11894"/>
                    <a:pt x="6751" y="13565"/>
                  </a:cubicBezTo>
                  <a:lnTo>
                    <a:pt x="1" y="21502"/>
                  </a:lnTo>
                  <a:lnTo>
                    <a:pt x="970" y="22320"/>
                  </a:lnTo>
                  <a:lnTo>
                    <a:pt x="7787" y="14317"/>
                  </a:lnTo>
                  <a:cubicBezTo>
                    <a:pt x="8773" y="14918"/>
                    <a:pt x="9875" y="15303"/>
                    <a:pt x="11011" y="15420"/>
                  </a:cubicBezTo>
                  <a:cubicBezTo>
                    <a:pt x="11296" y="15453"/>
                    <a:pt x="11563" y="15470"/>
                    <a:pt x="11847" y="15470"/>
                  </a:cubicBezTo>
                  <a:cubicBezTo>
                    <a:pt x="14821" y="15453"/>
                    <a:pt x="17528" y="13749"/>
                    <a:pt x="18814" y="11059"/>
                  </a:cubicBezTo>
                  <a:cubicBezTo>
                    <a:pt x="20084" y="8385"/>
                    <a:pt x="19717" y="5194"/>
                    <a:pt x="17845" y="2888"/>
                  </a:cubicBezTo>
                  <a:cubicBezTo>
                    <a:pt x="16359" y="1034"/>
                    <a:pt x="14129" y="0"/>
                    <a:pt x="11831"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65" name="Google Shape;3956;p60"/>
            <p:cNvSpPr/>
            <p:nvPr/>
          </p:nvSpPr>
          <p:spPr>
            <a:xfrm>
              <a:off x="1187578" y="1244980"/>
              <a:ext cx="646929" cy="717632"/>
            </a:xfrm>
            <a:custGeom>
              <a:avLst/>
              <a:gdLst/>
              <a:ahLst/>
              <a:cxnLst/>
              <a:rect l="l" t="t" r="r" b="b"/>
              <a:pathLst>
                <a:path w="20185" h="22391" extrusionOk="0">
                  <a:moveTo>
                    <a:pt x="11913" y="1276"/>
                  </a:moveTo>
                  <a:cubicBezTo>
                    <a:pt x="13821" y="1276"/>
                    <a:pt x="15688" y="2117"/>
                    <a:pt x="16943" y="3677"/>
                  </a:cubicBezTo>
                  <a:cubicBezTo>
                    <a:pt x="18029" y="5014"/>
                    <a:pt x="18530" y="6718"/>
                    <a:pt x="18347" y="8422"/>
                  </a:cubicBezTo>
                  <a:cubicBezTo>
                    <a:pt x="18012" y="11480"/>
                    <a:pt x="15573" y="13886"/>
                    <a:pt x="12499" y="14153"/>
                  </a:cubicBezTo>
                  <a:cubicBezTo>
                    <a:pt x="12300" y="14172"/>
                    <a:pt x="12102" y="14181"/>
                    <a:pt x="11905" y="14181"/>
                  </a:cubicBezTo>
                  <a:cubicBezTo>
                    <a:pt x="9080" y="14181"/>
                    <a:pt x="6544" y="12308"/>
                    <a:pt x="5732" y="9558"/>
                  </a:cubicBezTo>
                  <a:cubicBezTo>
                    <a:pt x="4863" y="6601"/>
                    <a:pt x="6199" y="3443"/>
                    <a:pt x="8923" y="2006"/>
                  </a:cubicBezTo>
                  <a:cubicBezTo>
                    <a:pt x="9874" y="1513"/>
                    <a:pt x="10899" y="1276"/>
                    <a:pt x="11913" y="1276"/>
                  </a:cubicBezTo>
                  <a:close/>
                  <a:moveTo>
                    <a:pt x="11938" y="1"/>
                  </a:moveTo>
                  <a:cubicBezTo>
                    <a:pt x="11207" y="1"/>
                    <a:pt x="10468" y="105"/>
                    <a:pt x="9742" y="318"/>
                  </a:cubicBezTo>
                  <a:cubicBezTo>
                    <a:pt x="6751" y="1204"/>
                    <a:pt x="4579" y="3794"/>
                    <a:pt x="4245" y="6902"/>
                  </a:cubicBezTo>
                  <a:cubicBezTo>
                    <a:pt x="3977" y="9408"/>
                    <a:pt x="4946" y="11897"/>
                    <a:pt x="6851" y="13552"/>
                  </a:cubicBezTo>
                  <a:lnTo>
                    <a:pt x="1" y="21555"/>
                  </a:lnTo>
                  <a:lnTo>
                    <a:pt x="1037" y="22390"/>
                  </a:lnTo>
                  <a:lnTo>
                    <a:pt x="7870" y="14320"/>
                  </a:lnTo>
                  <a:cubicBezTo>
                    <a:pt x="8856" y="14922"/>
                    <a:pt x="9959" y="15289"/>
                    <a:pt x="11112" y="15406"/>
                  </a:cubicBezTo>
                  <a:cubicBezTo>
                    <a:pt x="11379" y="15440"/>
                    <a:pt x="11663" y="15456"/>
                    <a:pt x="11947" y="15456"/>
                  </a:cubicBezTo>
                  <a:cubicBezTo>
                    <a:pt x="14921" y="15456"/>
                    <a:pt x="17628" y="13735"/>
                    <a:pt x="18898" y="11062"/>
                  </a:cubicBezTo>
                  <a:cubicBezTo>
                    <a:pt x="20185" y="8372"/>
                    <a:pt x="19800" y="5197"/>
                    <a:pt x="17946" y="2875"/>
                  </a:cubicBezTo>
                  <a:cubicBezTo>
                    <a:pt x="16450" y="1025"/>
                    <a:pt x="14234" y="1"/>
                    <a:pt x="11938" y="1"/>
                  </a:cubicBezTo>
                  <a:close/>
                </a:path>
              </a:pathLst>
            </a:custGeom>
            <a:solidFill>
              <a:srgbClr val="52187E"/>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66" name="Google Shape;3957;p60"/>
            <p:cNvSpPr/>
            <p:nvPr/>
          </p:nvSpPr>
          <p:spPr>
            <a:xfrm>
              <a:off x="1405005" y="1400840"/>
              <a:ext cx="52498" cy="226017"/>
            </a:xfrm>
            <a:custGeom>
              <a:avLst/>
              <a:gdLst/>
              <a:ahLst/>
              <a:cxnLst/>
              <a:rect l="l" t="t" r="r" b="b"/>
              <a:pathLst>
                <a:path w="1638" h="7052" extrusionOk="0">
                  <a:moveTo>
                    <a:pt x="1036" y="0"/>
                  </a:moveTo>
                  <a:lnTo>
                    <a:pt x="1036" y="0"/>
                  </a:lnTo>
                  <a:cubicBezTo>
                    <a:pt x="1020" y="17"/>
                    <a:pt x="1003" y="34"/>
                    <a:pt x="1003" y="67"/>
                  </a:cubicBezTo>
                  <a:cubicBezTo>
                    <a:pt x="1020" y="50"/>
                    <a:pt x="1036" y="17"/>
                    <a:pt x="1036" y="0"/>
                  </a:cubicBezTo>
                  <a:close/>
                  <a:moveTo>
                    <a:pt x="1003" y="67"/>
                  </a:moveTo>
                  <a:cubicBezTo>
                    <a:pt x="969" y="100"/>
                    <a:pt x="936" y="167"/>
                    <a:pt x="886" y="251"/>
                  </a:cubicBezTo>
                  <a:cubicBezTo>
                    <a:pt x="769" y="501"/>
                    <a:pt x="669" y="735"/>
                    <a:pt x="585" y="1003"/>
                  </a:cubicBezTo>
                  <a:cubicBezTo>
                    <a:pt x="0" y="2690"/>
                    <a:pt x="151" y="4562"/>
                    <a:pt x="1020" y="6149"/>
                  </a:cubicBezTo>
                  <a:cubicBezTo>
                    <a:pt x="1153" y="6383"/>
                    <a:pt x="1287" y="6600"/>
                    <a:pt x="1454" y="6817"/>
                  </a:cubicBezTo>
                  <a:cubicBezTo>
                    <a:pt x="1504" y="6901"/>
                    <a:pt x="1554" y="6951"/>
                    <a:pt x="1588" y="7001"/>
                  </a:cubicBezTo>
                  <a:cubicBezTo>
                    <a:pt x="1604" y="7018"/>
                    <a:pt x="1621" y="7034"/>
                    <a:pt x="1638" y="7051"/>
                  </a:cubicBezTo>
                  <a:cubicBezTo>
                    <a:pt x="1621" y="7034"/>
                    <a:pt x="1604" y="7001"/>
                    <a:pt x="1588" y="6984"/>
                  </a:cubicBezTo>
                  <a:cubicBezTo>
                    <a:pt x="1571" y="6951"/>
                    <a:pt x="1521" y="6884"/>
                    <a:pt x="1471" y="6801"/>
                  </a:cubicBezTo>
                  <a:cubicBezTo>
                    <a:pt x="1320" y="6583"/>
                    <a:pt x="1187" y="6366"/>
                    <a:pt x="1070" y="6116"/>
                  </a:cubicBezTo>
                  <a:cubicBezTo>
                    <a:pt x="234" y="4545"/>
                    <a:pt x="67" y="2707"/>
                    <a:pt x="635" y="1019"/>
                  </a:cubicBezTo>
                  <a:cubicBezTo>
                    <a:pt x="702" y="752"/>
                    <a:pt x="802" y="501"/>
                    <a:pt x="919" y="268"/>
                  </a:cubicBezTo>
                  <a:cubicBezTo>
                    <a:pt x="953" y="184"/>
                    <a:pt x="986" y="117"/>
                    <a:pt x="1003" y="67"/>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67" name="Google Shape;3958;p60"/>
            <p:cNvSpPr/>
            <p:nvPr/>
          </p:nvSpPr>
          <p:spPr>
            <a:xfrm>
              <a:off x="1457471" y="1372347"/>
              <a:ext cx="10737" cy="12435"/>
            </a:xfrm>
            <a:custGeom>
              <a:avLst/>
              <a:gdLst/>
              <a:ahLst/>
              <a:cxnLst/>
              <a:rect l="l" t="t" r="r" b="b"/>
              <a:pathLst>
                <a:path w="335" h="388" extrusionOk="0">
                  <a:moveTo>
                    <a:pt x="313" y="1"/>
                  </a:moveTo>
                  <a:cubicBezTo>
                    <a:pt x="289" y="1"/>
                    <a:pt x="191" y="52"/>
                    <a:pt x="118" y="154"/>
                  </a:cubicBezTo>
                  <a:cubicBezTo>
                    <a:pt x="34" y="271"/>
                    <a:pt x="1" y="388"/>
                    <a:pt x="17" y="388"/>
                  </a:cubicBezTo>
                  <a:cubicBezTo>
                    <a:pt x="51" y="388"/>
                    <a:pt x="101" y="304"/>
                    <a:pt x="168" y="204"/>
                  </a:cubicBezTo>
                  <a:cubicBezTo>
                    <a:pt x="251" y="87"/>
                    <a:pt x="335" y="20"/>
                    <a:pt x="318" y="4"/>
                  </a:cubicBezTo>
                  <a:cubicBezTo>
                    <a:pt x="318" y="2"/>
                    <a:pt x="316" y="1"/>
                    <a:pt x="313"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68" name="Google Shape;3959;p60"/>
            <p:cNvSpPr/>
            <p:nvPr/>
          </p:nvSpPr>
          <p:spPr>
            <a:xfrm>
              <a:off x="1249691" y="1602178"/>
              <a:ext cx="18781" cy="151052"/>
            </a:xfrm>
            <a:custGeom>
              <a:avLst/>
              <a:gdLst/>
              <a:ahLst/>
              <a:cxnLst/>
              <a:rect l="l" t="t" r="r" b="b"/>
              <a:pathLst>
                <a:path w="586" h="4713" extrusionOk="0">
                  <a:moveTo>
                    <a:pt x="1" y="1"/>
                  </a:moveTo>
                  <a:cubicBezTo>
                    <a:pt x="1" y="67"/>
                    <a:pt x="18" y="118"/>
                    <a:pt x="18" y="184"/>
                  </a:cubicBezTo>
                  <a:cubicBezTo>
                    <a:pt x="51" y="318"/>
                    <a:pt x="68" y="485"/>
                    <a:pt x="101" y="686"/>
                  </a:cubicBezTo>
                  <a:cubicBezTo>
                    <a:pt x="168" y="1120"/>
                    <a:pt x="268" y="1705"/>
                    <a:pt x="335" y="2357"/>
                  </a:cubicBezTo>
                  <a:cubicBezTo>
                    <a:pt x="419" y="3008"/>
                    <a:pt x="485" y="3593"/>
                    <a:pt x="519" y="4027"/>
                  </a:cubicBezTo>
                  <a:lnTo>
                    <a:pt x="569" y="4529"/>
                  </a:lnTo>
                  <a:cubicBezTo>
                    <a:pt x="569" y="4595"/>
                    <a:pt x="569" y="4646"/>
                    <a:pt x="586" y="4712"/>
                  </a:cubicBezTo>
                  <a:cubicBezTo>
                    <a:pt x="586" y="4646"/>
                    <a:pt x="586" y="4595"/>
                    <a:pt x="586" y="4529"/>
                  </a:cubicBezTo>
                  <a:cubicBezTo>
                    <a:pt x="586" y="4412"/>
                    <a:pt x="569" y="4228"/>
                    <a:pt x="569" y="4011"/>
                  </a:cubicBezTo>
                  <a:cubicBezTo>
                    <a:pt x="535" y="3593"/>
                    <a:pt x="485" y="2991"/>
                    <a:pt x="402" y="2340"/>
                  </a:cubicBezTo>
                  <a:cubicBezTo>
                    <a:pt x="335" y="1688"/>
                    <a:pt x="235" y="1103"/>
                    <a:pt x="151" y="686"/>
                  </a:cubicBezTo>
                  <a:cubicBezTo>
                    <a:pt x="118" y="468"/>
                    <a:pt x="84" y="301"/>
                    <a:pt x="51" y="184"/>
                  </a:cubicBezTo>
                  <a:cubicBezTo>
                    <a:pt x="34" y="118"/>
                    <a:pt x="18" y="51"/>
                    <a:pt x="1"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69" name="Google Shape;3960;p60"/>
            <p:cNvSpPr/>
            <p:nvPr/>
          </p:nvSpPr>
          <p:spPr>
            <a:xfrm>
              <a:off x="1045148" y="1664835"/>
              <a:ext cx="367902" cy="191979"/>
            </a:xfrm>
            <a:custGeom>
              <a:avLst/>
              <a:gdLst/>
              <a:ahLst/>
              <a:cxnLst/>
              <a:rect l="l" t="t" r="r" b="b"/>
              <a:pathLst>
                <a:path w="11479" h="5990" extrusionOk="0">
                  <a:moveTo>
                    <a:pt x="2273" y="0"/>
                  </a:moveTo>
                  <a:lnTo>
                    <a:pt x="234" y="686"/>
                  </a:lnTo>
                  <a:cubicBezTo>
                    <a:pt x="234" y="686"/>
                    <a:pt x="0" y="1371"/>
                    <a:pt x="1354" y="4612"/>
                  </a:cubicBezTo>
                  <a:cubicBezTo>
                    <a:pt x="1782" y="5641"/>
                    <a:pt x="2842" y="5989"/>
                    <a:pt x="4079" y="5989"/>
                  </a:cubicBezTo>
                  <a:cubicBezTo>
                    <a:pt x="6659" y="5989"/>
                    <a:pt x="10009" y="4478"/>
                    <a:pt x="10009" y="4478"/>
                  </a:cubicBezTo>
                  <a:lnTo>
                    <a:pt x="10460" y="4311"/>
                  </a:lnTo>
                  <a:cubicBezTo>
                    <a:pt x="11028" y="4044"/>
                    <a:pt x="11212" y="3125"/>
                    <a:pt x="11195" y="2991"/>
                  </a:cubicBezTo>
                  <a:cubicBezTo>
                    <a:pt x="11187" y="2937"/>
                    <a:pt x="11063" y="2922"/>
                    <a:pt x="10933" y="2922"/>
                  </a:cubicBezTo>
                  <a:cubicBezTo>
                    <a:pt x="10784" y="2922"/>
                    <a:pt x="10627" y="2941"/>
                    <a:pt x="10627" y="2941"/>
                  </a:cubicBezTo>
                  <a:cubicBezTo>
                    <a:pt x="10777" y="2891"/>
                    <a:pt x="10928" y="2824"/>
                    <a:pt x="11078" y="2757"/>
                  </a:cubicBezTo>
                  <a:cubicBezTo>
                    <a:pt x="11295" y="2657"/>
                    <a:pt x="11446" y="2457"/>
                    <a:pt x="11479" y="2223"/>
                  </a:cubicBezTo>
                  <a:lnTo>
                    <a:pt x="11479" y="2223"/>
                  </a:lnTo>
                  <a:cubicBezTo>
                    <a:pt x="11479" y="2223"/>
                    <a:pt x="10894" y="2440"/>
                    <a:pt x="10577" y="2523"/>
                  </a:cubicBezTo>
                  <a:cubicBezTo>
                    <a:pt x="10427" y="2568"/>
                    <a:pt x="10160" y="2654"/>
                    <a:pt x="9971" y="2654"/>
                  </a:cubicBezTo>
                  <a:cubicBezTo>
                    <a:pt x="9803" y="2654"/>
                    <a:pt x="9697" y="2585"/>
                    <a:pt x="9791" y="2356"/>
                  </a:cubicBezTo>
                  <a:cubicBezTo>
                    <a:pt x="9908" y="2089"/>
                    <a:pt x="10075" y="1855"/>
                    <a:pt x="10293" y="1655"/>
                  </a:cubicBezTo>
                  <a:cubicBezTo>
                    <a:pt x="10346" y="1570"/>
                    <a:pt x="10291" y="1471"/>
                    <a:pt x="10192" y="1471"/>
                  </a:cubicBezTo>
                  <a:cubicBezTo>
                    <a:pt x="10135" y="1471"/>
                    <a:pt x="10065" y="1503"/>
                    <a:pt x="9992" y="1588"/>
                  </a:cubicBezTo>
                  <a:cubicBezTo>
                    <a:pt x="9825" y="1688"/>
                    <a:pt x="9691" y="1822"/>
                    <a:pt x="9557" y="1955"/>
                  </a:cubicBezTo>
                  <a:cubicBezTo>
                    <a:pt x="9474" y="2072"/>
                    <a:pt x="9390" y="2223"/>
                    <a:pt x="9307" y="2340"/>
                  </a:cubicBezTo>
                  <a:cubicBezTo>
                    <a:pt x="9207" y="2473"/>
                    <a:pt x="9106" y="2574"/>
                    <a:pt x="9039" y="2657"/>
                  </a:cubicBezTo>
                  <a:cubicBezTo>
                    <a:pt x="8362" y="2893"/>
                    <a:pt x="6592" y="3441"/>
                    <a:pt x="4786" y="3441"/>
                  </a:cubicBezTo>
                  <a:cubicBezTo>
                    <a:pt x="4544" y="3441"/>
                    <a:pt x="4301" y="3431"/>
                    <a:pt x="4060" y="3409"/>
                  </a:cubicBezTo>
                  <a:cubicBezTo>
                    <a:pt x="3709" y="3376"/>
                    <a:pt x="2273" y="0"/>
                    <a:pt x="2273" y="0"/>
                  </a:cubicBezTo>
                  <a:close/>
                </a:path>
              </a:pathLst>
            </a:custGeom>
            <a:solidFill>
              <a:srgbClr val="FFBE9D"/>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70" name="Google Shape;3961;p60"/>
            <p:cNvSpPr/>
            <p:nvPr/>
          </p:nvSpPr>
          <p:spPr>
            <a:xfrm>
              <a:off x="1004444" y="1571121"/>
              <a:ext cx="140860" cy="163904"/>
            </a:xfrm>
            <a:custGeom>
              <a:avLst/>
              <a:gdLst/>
              <a:ahLst/>
              <a:cxnLst/>
              <a:rect l="l" t="t" r="r" b="b"/>
              <a:pathLst>
                <a:path w="4395" h="5114" extrusionOk="0">
                  <a:moveTo>
                    <a:pt x="3075" y="1"/>
                  </a:moveTo>
                  <a:lnTo>
                    <a:pt x="1905" y="251"/>
                  </a:lnTo>
                  <a:cubicBezTo>
                    <a:pt x="0" y="1204"/>
                    <a:pt x="1504" y="5113"/>
                    <a:pt x="1504" y="5113"/>
                  </a:cubicBezTo>
                  <a:lnTo>
                    <a:pt x="4395" y="3977"/>
                  </a:lnTo>
                  <a:lnTo>
                    <a:pt x="3075" y="1"/>
                  </a:lnTo>
                  <a:close/>
                </a:path>
              </a:pathLst>
            </a:custGeom>
            <a:solidFill>
              <a:srgbClr val="EBEBEB"/>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71" name="Google Shape;3962;p60"/>
            <p:cNvSpPr/>
            <p:nvPr/>
          </p:nvSpPr>
          <p:spPr>
            <a:xfrm>
              <a:off x="1077807" y="1552308"/>
              <a:ext cx="73394" cy="141469"/>
            </a:xfrm>
            <a:custGeom>
              <a:avLst/>
              <a:gdLst/>
              <a:ahLst/>
              <a:cxnLst/>
              <a:rect l="l" t="t" r="r" b="b"/>
              <a:pathLst>
                <a:path w="2290" h="4414" extrusionOk="0">
                  <a:moveTo>
                    <a:pt x="251" y="1"/>
                  </a:moveTo>
                  <a:cubicBezTo>
                    <a:pt x="235" y="1"/>
                    <a:pt x="218" y="1"/>
                    <a:pt x="201" y="3"/>
                  </a:cubicBezTo>
                  <a:cubicBezTo>
                    <a:pt x="151" y="3"/>
                    <a:pt x="101" y="19"/>
                    <a:pt x="50" y="36"/>
                  </a:cubicBezTo>
                  <a:cubicBezTo>
                    <a:pt x="17" y="53"/>
                    <a:pt x="0" y="70"/>
                    <a:pt x="0" y="70"/>
                  </a:cubicBezTo>
                  <a:cubicBezTo>
                    <a:pt x="67" y="36"/>
                    <a:pt x="134" y="36"/>
                    <a:pt x="201" y="19"/>
                  </a:cubicBezTo>
                  <a:cubicBezTo>
                    <a:pt x="385" y="19"/>
                    <a:pt x="552" y="120"/>
                    <a:pt x="669" y="253"/>
                  </a:cubicBezTo>
                  <a:cubicBezTo>
                    <a:pt x="819" y="487"/>
                    <a:pt x="936" y="738"/>
                    <a:pt x="1003" y="1005"/>
                  </a:cubicBezTo>
                  <a:lnTo>
                    <a:pt x="1337" y="1974"/>
                  </a:lnTo>
                  <a:cubicBezTo>
                    <a:pt x="1571" y="2659"/>
                    <a:pt x="1788" y="3278"/>
                    <a:pt x="1955" y="3729"/>
                  </a:cubicBezTo>
                  <a:cubicBezTo>
                    <a:pt x="2005" y="3896"/>
                    <a:pt x="2089" y="4080"/>
                    <a:pt x="2156" y="4247"/>
                  </a:cubicBezTo>
                  <a:cubicBezTo>
                    <a:pt x="2189" y="4297"/>
                    <a:pt x="2223" y="4330"/>
                    <a:pt x="2256" y="4380"/>
                  </a:cubicBezTo>
                  <a:cubicBezTo>
                    <a:pt x="2273" y="4397"/>
                    <a:pt x="2289" y="4414"/>
                    <a:pt x="2289" y="4414"/>
                  </a:cubicBezTo>
                  <a:cubicBezTo>
                    <a:pt x="2289" y="4414"/>
                    <a:pt x="2239" y="4347"/>
                    <a:pt x="2189" y="4230"/>
                  </a:cubicBezTo>
                  <a:cubicBezTo>
                    <a:pt x="2122" y="4113"/>
                    <a:pt x="2072" y="3929"/>
                    <a:pt x="2005" y="3712"/>
                  </a:cubicBezTo>
                  <a:cubicBezTo>
                    <a:pt x="1855" y="3261"/>
                    <a:pt x="1638" y="2643"/>
                    <a:pt x="1404" y="1958"/>
                  </a:cubicBezTo>
                  <a:lnTo>
                    <a:pt x="1070" y="989"/>
                  </a:lnTo>
                  <a:cubicBezTo>
                    <a:pt x="986" y="721"/>
                    <a:pt x="869" y="454"/>
                    <a:pt x="702" y="220"/>
                  </a:cubicBezTo>
                  <a:cubicBezTo>
                    <a:pt x="595" y="82"/>
                    <a:pt x="432" y="1"/>
                    <a:pt x="251"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72" name="Google Shape;3963;p60"/>
            <p:cNvSpPr/>
            <p:nvPr/>
          </p:nvSpPr>
          <p:spPr>
            <a:xfrm>
              <a:off x="1052647" y="1695892"/>
              <a:ext cx="96406" cy="39133"/>
            </a:xfrm>
            <a:custGeom>
              <a:avLst/>
              <a:gdLst/>
              <a:ahLst/>
              <a:cxnLst/>
              <a:rect l="l" t="t" r="r" b="b"/>
              <a:pathLst>
                <a:path w="3008" h="1221" extrusionOk="0">
                  <a:moveTo>
                    <a:pt x="3008" y="1"/>
                  </a:moveTo>
                  <a:cubicBezTo>
                    <a:pt x="2857" y="51"/>
                    <a:pt x="2724" y="118"/>
                    <a:pt x="2573" y="184"/>
                  </a:cubicBezTo>
                  <a:cubicBezTo>
                    <a:pt x="2306" y="318"/>
                    <a:pt x="1938" y="468"/>
                    <a:pt x="1521" y="636"/>
                  </a:cubicBezTo>
                  <a:cubicBezTo>
                    <a:pt x="1103" y="803"/>
                    <a:pt x="719" y="953"/>
                    <a:pt x="434" y="1053"/>
                  </a:cubicBezTo>
                  <a:cubicBezTo>
                    <a:pt x="284" y="1103"/>
                    <a:pt x="134" y="1153"/>
                    <a:pt x="0" y="1220"/>
                  </a:cubicBezTo>
                  <a:cubicBezTo>
                    <a:pt x="33" y="1220"/>
                    <a:pt x="84" y="1204"/>
                    <a:pt x="117" y="1204"/>
                  </a:cubicBezTo>
                  <a:cubicBezTo>
                    <a:pt x="201" y="1170"/>
                    <a:pt x="318" y="1137"/>
                    <a:pt x="451" y="1103"/>
                  </a:cubicBezTo>
                  <a:cubicBezTo>
                    <a:pt x="735" y="1003"/>
                    <a:pt x="1120" y="869"/>
                    <a:pt x="1537" y="702"/>
                  </a:cubicBezTo>
                  <a:cubicBezTo>
                    <a:pt x="1955" y="535"/>
                    <a:pt x="2323" y="368"/>
                    <a:pt x="2590" y="235"/>
                  </a:cubicBezTo>
                  <a:cubicBezTo>
                    <a:pt x="2724" y="168"/>
                    <a:pt x="2824" y="118"/>
                    <a:pt x="2907" y="67"/>
                  </a:cubicBezTo>
                  <a:cubicBezTo>
                    <a:pt x="2941" y="51"/>
                    <a:pt x="2974" y="34"/>
                    <a:pt x="3008"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73" name="Google Shape;3964;p60"/>
            <p:cNvSpPr/>
            <p:nvPr/>
          </p:nvSpPr>
          <p:spPr>
            <a:xfrm>
              <a:off x="1060115" y="1711436"/>
              <a:ext cx="7532" cy="19294"/>
            </a:xfrm>
            <a:custGeom>
              <a:avLst/>
              <a:gdLst/>
              <a:ahLst/>
              <a:cxnLst/>
              <a:rect l="l" t="t" r="r" b="b"/>
              <a:pathLst>
                <a:path w="235" h="602" extrusionOk="0">
                  <a:moveTo>
                    <a:pt x="1" y="0"/>
                  </a:moveTo>
                  <a:lnTo>
                    <a:pt x="1" y="0"/>
                  </a:lnTo>
                  <a:cubicBezTo>
                    <a:pt x="34" y="217"/>
                    <a:pt x="118" y="418"/>
                    <a:pt x="235" y="602"/>
                  </a:cubicBezTo>
                  <a:cubicBezTo>
                    <a:pt x="201" y="384"/>
                    <a:pt x="118" y="184"/>
                    <a:pt x="1"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74" name="Google Shape;3965;p60"/>
            <p:cNvSpPr/>
            <p:nvPr/>
          </p:nvSpPr>
          <p:spPr>
            <a:xfrm>
              <a:off x="1080467" y="1704449"/>
              <a:ext cx="7019" cy="18301"/>
            </a:xfrm>
            <a:custGeom>
              <a:avLst/>
              <a:gdLst/>
              <a:ahLst/>
              <a:cxnLst/>
              <a:rect l="l" t="t" r="r" b="b"/>
              <a:pathLst>
                <a:path w="219" h="571" extrusionOk="0">
                  <a:moveTo>
                    <a:pt x="1" y="1"/>
                  </a:moveTo>
                  <a:cubicBezTo>
                    <a:pt x="1" y="101"/>
                    <a:pt x="18" y="218"/>
                    <a:pt x="51" y="302"/>
                  </a:cubicBezTo>
                  <a:cubicBezTo>
                    <a:pt x="114" y="458"/>
                    <a:pt x="191" y="571"/>
                    <a:pt x="214" y="571"/>
                  </a:cubicBezTo>
                  <a:cubicBezTo>
                    <a:pt x="216" y="571"/>
                    <a:pt x="217" y="570"/>
                    <a:pt x="218" y="569"/>
                  </a:cubicBezTo>
                  <a:cubicBezTo>
                    <a:pt x="168" y="385"/>
                    <a:pt x="101" y="185"/>
                    <a:pt x="1"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75" name="Google Shape;3966;p60"/>
            <p:cNvSpPr/>
            <p:nvPr/>
          </p:nvSpPr>
          <p:spPr>
            <a:xfrm>
              <a:off x="1100818" y="1695347"/>
              <a:ext cx="7019" cy="18781"/>
            </a:xfrm>
            <a:custGeom>
              <a:avLst/>
              <a:gdLst/>
              <a:ahLst/>
              <a:cxnLst/>
              <a:rect l="l" t="t" r="r" b="b"/>
              <a:pathLst>
                <a:path w="219" h="586" extrusionOk="0">
                  <a:moveTo>
                    <a:pt x="1" y="1"/>
                  </a:moveTo>
                  <a:cubicBezTo>
                    <a:pt x="1" y="218"/>
                    <a:pt x="68" y="419"/>
                    <a:pt x="218" y="586"/>
                  </a:cubicBezTo>
                  <a:cubicBezTo>
                    <a:pt x="151" y="385"/>
                    <a:pt x="84" y="185"/>
                    <a:pt x="1"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76" name="Google Shape;3967;p60"/>
            <p:cNvSpPr/>
            <p:nvPr/>
          </p:nvSpPr>
          <p:spPr>
            <a:xfrm>
              <a:off x="1123318" y="1685187"/>
              <a:ext cx="6474" cy="19839"/>
            </a:xfrm>
            <a:custGeom>
              <a:avLst/>
              <a:gdLst/>
              <a:ahLst/>
              <a:cxnLst/>
              <a:rect l="l" t="t" r="r" b="b"/>
              <a:pathLst>
                <a:path w="202" h="619" extrusionOk="0">
                  <a:moveTo>
                    <a:pt x="1" y="0"/>
                  </a:moveTo>
                  <a:cubicBezTo>
                    <a:pt x="17" y="218"/>
                    <a:pt x="84" y="435"/>
                    <a:pt x="201" y="619"/>
                  </a:cubicBezTo>
                  <a:cubicBezTo>
                    <a:pt x="184" y="401"/>
                    <a:pt x="118" y="184"/>
                    <a:pt x="1"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77" name="Google Shape;3968;p60"/>
            <p:cNvSpPr/>
            <p:nvPr/>
          </p:nvSpPr>
          <p:spPr>
            <a:xfrm>
              <a:off x="1267382" y="1715699"/>
              <a:ext cx="71792" cy="23076"/>
            </a:xfrm>
            <a:custGeom>
              <a:avLst/>
              <a:gdLst/>
              <a:ahLst/>
              <a:cxnLst/>
              <a:rect l="l" t="t" r="r" b="b"/>
              <a:pathLst>
                <a:path w="2240" h="720" extrusionOk="0">
                  <a:moveTo>
                    <a:pt x="2239" y="1"/>
                  </a:moveTo>
                  <a:lnTo>
                    <a:pt x="2239" y="1"/>
                  </a:lnTo>
                  <a:cubicBezTo>
                    <a:pt x="1855" y="84"/>
                    <a:pt x="1487" y="185"/>
                    <a:pt x="1103" y="318"/>
                  </a:cubicBezTo>
                  <a:cubicBezTo>
                    <a:pt x="735" y="435"/>
                    <a:pt x="368" y="552"/>
                    <a:pt x="0" y="719"/>
                  </a:cubicBezTo>
                  <a:cubicBezTo>
                    <a:pt x="384" y="619"/>
                    <a:pt x="752" y="519"/>
                    <a:pt x="1136" y="385"/>
                  </a:cubicBezTo>
                  <a:cubicBezTo>
                    <a:pt x="1504" y="285"/>
                    <a:pt x="1872" y="151"/>
                    <a:pt x="2239"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78" name="Google Shape;3969;p60"/>
            <p:cNvSpPr/>
            <p:nvPr/>
          </p:nvSpPr>
          <p:spPr>
            <a:xfrm>
              <a:off x="1275940" y="1715699"/>
              <a:ext cx="7532" cy="15031"/>
            </a:xfrm>
            <a:custGeom>
              <a:avLst/>
              <a:gdLst/>
              <a:ahLst/>
              <a:cxnLst/>
              <a:rect l="l" t="t" r="r" b="b"/>
              <a:pathLst>
                <a:path w="235" h="469" extrusionOk="0">
                  <a:moveTo>
                    <a:pt x="17" y="1"/>
                  </a:moveTo>
                  <a:cubicBezTo>
                    <a:pt x="1" y="18"/>
                    <a:pt x="34" y="118"/>
                    <a:pt x="84" y="251"/>
                  </a:cubicBezTo>
                  <a:cubicBezTo>
                    <a:pt x="134" y="368"/>
                    <a:pt x="201" y="469"/>
                    <a:pt x="218" y="469"/>
                  </a:cubicBezTo>
                  <a:cubicBezTo>
                    <a:pt x="234" y="452"/>
                    <a:pt x="201" y="352"/>
                    <a:pt x="151" y="218"/>
                  </a:cubicBezTo>
                  <a:cubicBezTo>
                    <a:pt x="101" y="84"/>
                    <a:pt x="34" y="1"/>
                    <a:pt x="17"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79" name="Google Shape;3970;p60"/>
            <p:cNvSpPr/>
            <p:nvPr/>
          </p:nvSpPr>
          <p:spPr>
            <a:xfrm>
              <a:off x="1295747" y="1708744"/>
              <a:ext cx="5384" cy="17692"/>
            </a:xfrm>
            <a:custGeom>
              <a:avLst/>
              <a:gdLst/>
              <a:ahLst/>
              <a:cxnLst/>
              <a:rect l="l" t="t" r="r" b="b"/>
              <a:pathLst>
                <a:path w="168" h="552" extrusionOk="0">
                  <a:moveTo>
                    <a:pt x="17" y="1"/>
                  </a:moveTo>
                  <a:cubicBezTo>
                    <a:pt x="1" y="101"/>
                    <a:pt x="1" y="201"/>
                    <a:pt x="34" y="285"/>
                  </a:cubicBezTo>
                  <a:cubicBezTo>
                    <a:pt x="84" y="435"/>
                    <a:pt x="151" y="552"/>
                    <a:pt x="168" y="552"/>
                  </a:cubicBezTo>
                  <a:cubicBezTo>
                    <a:pt x="168" y="452"/>
                    <a:pt x="134" y="351"/>
                    <a:pt x="101" y="268"/>
                  </a:cubicBezTo>
                  <a:cubicBezTo>
                    <a:pt x="68" y="118"/>
                    <a:pt x="34" y="1"/>
                    <a:pt x="17"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80" name="Google Shape;3971;p60"/>
            <p:cNvSpPr/>
            <p:nvPr/>
          </p:nvSpPr>
          <p:spPr>
            <a:xfrm>
              <a:off x="1316643" y="1702334"/>
              <a:ext cx="3782" cy="17692"/>
            </a:xfrm>
            <a:custGeom>
              <a:avLst/>
              <a:gdLst/>
              <a:ahLst/>
              <a:cxnLst/>
              <a:rect l="l" t="t" r="r" b="b"/>
              <a:pathLst>
                <a:path w="118" h="552" extrusionOk="0">
                  <a:moveTo>
                    <a:pt x="0" y="0"/>
                  </a:moveTo>
                  <a:cubicBezTo>
                    <a:pt x="0" y="184"/>
                    <a:pt x="34" y="384"/>
                    <a:pt x="117" y="551"/>
                  </a:cubicBezTo>
                  <a:cubicBezTo>
                    <a:pt x="117" y="368"/>
                    <a:pt x="84" y="167"/>
                    <a:pt x="0"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81" name="Google Shape;3972;p60"/>
            <p:cNvSpPr/>
            <p:nvPr/>
          </p:nvSpPr>
          <p:spPr>
            <a:xfrm>
              <a:off x="1127067" y="1532565"/>
              <a:ext cx="2724" cy="10192"/>
            </a:xfrm>
            <a:custGeom>
              <a:avLst/>
              <a:gdLst/>
              <a:ahLst/>
              <a:cxnLst/>
              <a:rect l="l" t="t" r="r" b="b"/>
              <a:pathLst>
                <a:path w="85" h="318" extrusionOk="0">
                  <a:moveTo>
                    <a:pt x="51" y="0"/>
                  </a:moveTo>
                  <a:cubicBezTo>
                    <a:pt x="34" y="0"/>
                    <a:pt x="17" y="67"/>
                    <a:pt x="17" y="151"/>
                  </a:cubicBezTo>
                  <a:cubicBezTo>
                    <a:pt x="1" y="251"/>
                    <a:pt x="17" y="318"/>
                    <a:pt x="34" y="318"/>
                  </a:cubicBezTo>
                  <a:cubicBezTo>
                    <a:pt x="51" y="318"/>
                    <a:pt x="67" y="251"/>
                    <a:pt x="84" y="168"/>
                  </a:cubicBezTo>
                  <a:cubicBezTo>
                    <a:pt x="84" y="67"/>
                    <a:pt x="84" y="0"/>
                    <a:pt x="51"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82" name="Google Shape;3973;p60"/>
            <p:cNvSpPr/>
            <p:nvPr/>
          </p:nvSpPr>
          <p:spPr>
            <a:xfrm>
              <a:off x="1145817" y="1533623"/>
              <a:ext cx="2692" cy="10224"/>
            </a:xfrm>
            <a:custGeom>
              <a:avLst/>
              <a:gdLst/>
              <a:ahLst/>
              <a:cxnLst/>
              <a:rect l="l" t="t" r="r" b="b"/>
              <a:pathLst>
                <a:path w="84" h="319" extrusionOk="0">
                  <a:moveTo>
                    <a:pt x="34" y="1"/>
                  </a:moveTo>
                  <a:cubicBezTo>
                    <a:pt x="17" y="1"/>
                    <a:pt x="0" y="68"/>
                    <a:pt x="0" y="168"/>
                  </a:cubicBezTo>
                  <a:cubicBezTo>
                    <a:pt x="17" y="252"/>
                    <a:pt x="34" y="318"/>
                    <a:pt x="50" y="318"/>
                  </a:cubicBezTo>
                  <a:cubicBezTo>
                    <a:pt x="67" y="318"/>
                    <a:pt x="84" y="252"/>
                    <a:pt x="84" y="168"/>
                  </a:cubicBezTo>
                  <a:cubicBezTo>
                    <a:pt x="67" y="68"/>
                    <a:pt x="50" y="1"/>
                    <a:pt x="34"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83" name="Google Shape;3974;p60"/>
            <p:cNvSpPr/>
            <p:nvPr/>
          </p:nvSpPr>
          <p:spPr>
            <a:xfrm>
              <a:off x="1161329" y="1535770"/>
              <a:ext cx="2179" cy="10737"/>
            </a:xfrm>
            <a:custGeom>
              <a:avLst/>
              <a:gdLst/>
              <a:ahLst/>
              <a:cxnLst/>
              <a:rect l="l" t="t" r="r" b="b"/>
              <a:pathLst>
                <a:path w="68" h="335" extrusionOk="0">
                  <a:moveTo>
                    <a:pt x="34" y="1"/>
                  </a:moveTo>
                  <a:cubicBezTo>
                    <a:pt x="18" y="1"/>
                    <a:pt x="1" y="84"/>
                    <a:pt x="1" y="168"/>
                  </a:cubicBezTo>
                  <a:cubicBezTo>
                    <a:pt x="1" y="268"/>
                    <a:pt x="1" y="335"/>
                    <a:pt x="34" y="335"/>
                  </a:cubicBezTo>
                  <a:cubicBezTo>
                    <a:pt x="51" y="335"/>
                    <a:pt x="68" y="268"/>
                    <a:pt x="68" y="168"/>
                  </a:cubicBezTo>
                  <a:cubicBezTo>
                    <a:pt x="68" y="84"/>
                    <a:pt x="51" y="1"/>
                    <a:pt x="34" y="1"/>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84" name="Google Shape;3975;p60"/>
            <p:cNvSpPr/>
            <p:nvPr/>
          </p:nvSpPr>
          <p:spPr>
            <a:xfrm>
              <a:off x="1180078" y="1536315"/>
              <a:ext cx="2724" cy="12339"/>
            </a:xfrm>
            <a:custGeom>
              <a:avLst/>
              <a:gdLst/>
              <a:ahLst/>
              <a:cxnLst/>
              <a:rect l="l" t="t" r="r" b="b"/>
              <a:pathLst>
                <a:path w="85" h="385" extrusionOk="0">
                  <a:moveTo>
                    <a:pt x="51" y="0"/>
                  </a:moveTo>
                  <a:cubicBezTo>
                    <a:pt x="34" y="0"/>
                    <a:pt x="1" y="84"/>
                    <a:pt x="1" y="201"/>
                  </a:cubicBezTo>
                  <a:cubicBezTo>
                    <a:pt x="17" y="301"/>
                    <a:pt x="51" y="385"/>
                    <a:pt x="68" y="385"/>
                  </a:cubicBezTo>
                  <a:cubicBezTo>
                    <a:pt x="84" y="385"/>
                    <a:pt x="84" y="301"/>
                    <a:pt x="68" y="184"/>
                  </a:cubicBezTo>
                  <a:cubicBezTo>
                    <a:pt x="68" y="84"/>
                    <a:pt x="68" y="0"/>
                    <a:pt x="51"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85" name="Google Shape;3976;p60"/>
            <p:cNvSpPr/>
            <p:nvPr/>
          </p:nvSpPr>
          <p:spPr>
            <a:xfrm>
              <a:off x="1196135" y="1536315"/>
              <a:ext cx="3269" cy="12339"/>
            </a:xfrm>
            <a:custGeom>
              <a:avLst/>
              <a:gdLst/>
              <a:ahLst/>
              <a:cxnLst/>
              <a:rect l="l" t="t" r="r" b="b"/>
              <a:pathLst>
                <a:path w="102" h="385" extrusionOk="0">
                  <a:moveTo>
                    <a:pt x="34" y="0"/>
                  </a:moveTo>
                  <a:cubicBezTo>
                    <a:pt x="18" y="0"/>
                    <a:pt x="1" y="84"/>
                    <a:pt x="18" y="201"/>
                  </a:cubicBezTo>
                  <a:cubicBezTo>
                    <a:pt x="34" y="301"/>
                    <a:pt x="68" y="385"/>
                    <a:pt x="84" y="385"/>
                  </a:cubicBezTo>
                  <a:cubicBezTo>
                    <a:pt x="101" y="385"/>
                    <a:pt x="101" y="301"/>
                    <a:pt x="84" y="184"/>
                  </a:cubicBezTo>
                  <a:cubicBezTo>
                    <a:pt x="84" y="84"/>
                    <a:pt x="51" y="0"/>
                    <a:pt x="34" y="0"/>
                  </a:cubicBezTo>
                  <a:close/>
                </a:path>
              </a:pathLst>
            </a:custGeom>
            <a:solidFill>
              <a:srgbClr val="263238"/>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Tree>
    <p:extLst>
      <p:ext uri="{BB962C8B-B14F-4D97-AF65-F5344CB8AC3E}">
        <p14:creationId xmlns:p14="http://schemas.microsoft.com/office/powerpoint/2010/main" val="24942883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p5TxHHX.Rfwe1qGn.7F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5</TotalTime>
  <Words>1196</Words>
  <Application>Microsoft Office PowerPoint</Application>
  <PresentationFormat>Widescreen</PresentationFormat>
  <Paragraphs>88</Paragraphs>
  <Slides>15</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4" baseType="lpstr">
      <vt:lpstr>Arial</vt:lpstr>
      <vt:lpstr>Calibri</vt:lpstr>
      <vt:lpstr>Calibri Light</vt:lpstr>
      <vt:lpstr>Tahoma</vt:lpstr>
      <vt:lpstr>Teko</vt:lpstr>
      <vt:lpstr>Teko Medium</vt:lpstr>
      <vt:lpstr>Times New Roman</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rah F. Alkhamis</dc:creator>
  <cp:lastModifiedBy>Abeer A. Almogren</cp:lastModifiedBy>
  <cp:revision>39</cp:revision>
  <dcterms:created xsi:type="dcterms:W3CDTF">2020-05-22T11:00:30Z</dcterms:created>
  <dcterms:modified xsi:type="dcterms:W3CDTF">2020-05-22T18:35:54Z</dcterms:modified>
</cp:coreProperties>
</file>